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6"/>
  </p:notesMasterIdLst>
  <p:sldIdLst>
    <p:sldId id="308" r:id="rId5"/>
    <p:sldId id="2147138091" r:id="rId6"/>
    <p:sldId id="2147138223" r:id="rId7"/>
    <p:sldId id="275" r:id="rId8"/>
    <p:sldId id="2147138195" r:id="rId9"/>
    <p:sldId id="344" r:id="rId10"/>
    <p:sldId id="2147138230" r:id="rId11"/>
    <p:sldId id="528" r:id="rId12"/>
    <p:sldId id="548" r:id="rId13"/>
    <p:sldId id="2147138228" r:id="rId14"/>
    <p:sldId id="2147138229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59D8547F-B3C6-41B7-AC15-B21357C26C2E}">
          <p14:sldIdLst>
            <p14:sldId id="308"/>
            <p14:sldId id="2147138091"/>
            <p14:sldId id="2147138223"/>
            <p14:sldId id="275"/>
            <p14:sldId id="2147138195"/>
            <p14:sldId id="344"/>
            <p14:sldId id="2147138230"/>
            <p14:sldId id="528"/>
            <p14:sldId id="548"/>
            <p14:sldId id="2147138228"/>
            <p14:sldId id="2147138229"/>
          </p14:sldIdLst>
        </p14:section>
        <p14:section name="Closing slide" id="{11C5BCDD-05AC-405B-8582-D9D1C38F3D19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EB81"/>
    <a:srgbClr val="E6DCFF"/>
    <a:srgbClr val="0041F0"/>
    <a:srgbClr val="DCAFFF"/>
    <a:srgbClr val="FF50A0"/>
    <a:srgbClr val="FF3246"/>
    <a:srgbClr val="00FFFF"/>
    <a:srgbClr val="D4D4D4"/>
    <a:srgbClr val="BE82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B54308E-0C57-4F5C-A252-20A7F62424B9}" v="5" dt="2024-10-29T19:51:00.671"/>
  </p1510:revLst>
</p1510:revInfo>
</file>

<file path=ppt/tableStyles.xml><?xml version="1.0" encoding="utf-8"?>
<a:tblStyleLst xmlns:a="http://schemas.openxmlformats.org/drawingml/2006/main" def="{A0BC3CC4-8867-4C89-9D3F-A6A6B9ED4035}">
  <a:tblStyle styleId="{A0BC3CC4-8867-4C89-9D3F-A6A6B9ED4035}" styleName="Acc_Table_1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rgbClr val="FFFFFF"/>
              </a:solidFill>
            </a:ln>
          </a:left>
          <a:right>
            <a:ln w="0" cmpd="sng">
              <a:solidFill>
                <a:srgbClr val="FFFFFF"/>
              </a:solidFill>
            </a:ln>
          </a:right>
          <a:top>
            <a:ln w="0" cmpd="sng">
              <a:solidFill>
                <a:srgbClr val="FFFFFF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6350" cmpd="sng">
              <a:solidFill>
                <a:srgbClr val="D9D9D9"/>
              </a:solidFill>
            </a:ln>
          </a:insideH>
          <a:insideV>
            <a:ln w="6350" cmpd="sng">
              <a:solidFill>
                <a:srgbClr val="D9D9D9"/>
              </a:solidFill>
            </a:ln>
          </a:insideV>
        </a:tcBdr>
        <a:fill>
          <a:noFill/>
        </a:fill>
      </a:tcStyle>
    </a:wholeTbl>
    <a:band1H>
      <a:tcTxStyle>
        <a:fontRef idx="minor">
          <a:prstClr val="black"/>
        </a:fontRef>
        <a:schemeClr val="dk1"/>
      </a:tcTxStyle>
      <a:tcStyle>
        <a:tcBdr/>
        <a:fill>
          <a:solidFill>
            <a:srgbClr val="F2F2F2"/>
          </a:solidFill>
        </a:fill>
      </a:tcStyle>
    </a:band1H>
    <a:band1V>
      <a:tcTxStyle>
        <a:fontRef idx="minor">
          <a:prstClr val="black"/>
        </a:fontRef>
        <a:schemeClr val="dk1"/>
      </a:tcTxStyle>
      <a:tcStyle>
        <a:tcBdr/>
        <a:fill>
          <a:solidFill>
            <a:srgbClr val="F2F2F2"/>
          </a:solidFill>
        </a:fill>
      </a:tcStyle>
    </a:band1V>
    <a:lastCol>
      <a:tcTxStyle b="on">
        <a:fontRef idx="minor">
          <a:prstClr val="black"/>
        </a:fontRef>
        <a:schemeClr val="dk1"/>
      </a:tcTxStyle>
      <a:tcStyle>
        <a:tcBdr/>
      </a:tcStyle>
    </a:lastCol>
    <a:firstCol>
      <a:tcTxStyle b="on">
        <a:fontRef idx="minor">
          <a:prstClr val="black"/>
        </a:fontRef>
        <a:schemeClr val="dk1"/>
      </a:tcTxStyle>
      <a:tcStyle>
        <a:tcBdr/>
      </a:tcStyle>
    </a:firstCol>
    <a:lastRow>
      <a:tcTxStyle b="on">
        <a:fontRef idx="minor">
          <a:prstClr val="black"/>
        </a:fontRef>
        <a:schemeClr val="dk1"/>
      </a:tcTxStyle>
      <a:tcStyle>
        <a:tcBdr/>
      </a:tcStyle>
    </a:lastRow>
    <a:firstRow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382" autoAdjust="0"/>
    <p:restoredTop sz="92740" autoAdjust="0"/>
  </p:normalViewPr>
  <p:slideViewPr>
    <p:cSldViewPr snapToGrid="0" showGuides="1">
      <p:cViewPr varScale="1">
        <p:scale>
          <a:sx n="106" d="100"/>
          <a:sy n="106" d="100"/>
        </p:scale>
        <p:origin x="808" y="33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81" d="100"/>
          <a:sy n="81" d="100"/>
        </p:scale>
        <p:origin x="3516" y="5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Oehrli, Stefan" userId="3f36891e-f853-43e7-bcbc-2879a2513833" providerId="ADAL" clId="{262C7BF4-86F5-CD49-A8E8-3A77A5D2BB22}"/>
    <pc:docChg chg="undo custSel addSld delSld modSld sldOrd addSection delSection modSection">
      <pc:chgData name="Oehrli, Stefan" userId="3f36891e-f853-43e7-bcbc-2879a2513833" providerId="ADAL" clId="{262C7BF4-86F5-CD49-A8E8-3A77A5D2BB22}" dt="2024-06-17T13:24:04.954" v="3901"/>
      <pc:docMkLst>
        <pc:docMk/>
      </pc:docMkLst>
      <pc:sldChg chg="modSp mod">
        <pc:chgData name="Oehrli, Stefan" userId="3f36891e-f853-43e7-bcbc-2879a2513833" providerId="ADAL" clId="{262C7BF4-86F5-CD49-A8E8-3A77A5D2BB22}" dt="2024-06-16T22:19:55.466" v="39" actId="20577"/>
        <pc:sldMkLst>
          <pc:docMk/>
          <pc:sldMk cId="217193527" sldId="308"/>
        </pc:sldMkLst>
        <pc:spChg chg="mod">
          <ac:chgData name="Oehrli, Stefan" userId="3f36891e-f853-43e7-bcbc-2879a2513833" providerId="ADAL" clId="{262C7BF4-86F5-CD49-A8E8-3A77A5D2BB22}" dt="2024-06-16T17:27:10.043" v="4" actId="20577"/>
          <ac:spMkLst>
            <pc:docMk/>
            <pc:sldMk cId="217193527" sldId="308"/>
            <ac:spMk id="3" creationId="{EDFB5035-7C72-43BF-A8DB-A7280ED54461}"/>
          </ac:spMkLst>
        </pc:spChg>
        <pc:spChg chg="mod">
          <ac:chgData name="Oehrli, Stefan" userId="3f36891e-f853-43e7-bcbc-2879a2513833" providerId="ADAL" clId="{262C7BF4-86F5-CD49-A8E8-3A77A5D2BB22}" dt="2024-06-16T22:19:55.466" v="39" actId="20577"/>
          <ac:spMkLst>
            <pc:docMk/>
            <pc:sldMk cId="217193527" sldId="308"/>
            <ac:spMk id="6" creationId="{61244AFF-6411-4B84-BA88-9244C012597F}"/>
          </ac:spMkLst>
        </pc:spChg>
      </pc:sldChg>
      <pc:sldChg chg="modSp mod">
        <pc:chgData name="Oehrli, Stefan" userId="3f36891e-f853-43e7-bcbc-2879a2513833" providerId="ADAL" clId="{262C7BF4-86F5-CD49-A8E8-3A77A5D2BB22}" dt="2024-06-17T08:42:21.549" v="1142"/>
        <pc:sldMkLst>
          <pc:docMk/>
          <pc:sldMk cId="988469291" sldId="332"/>
        </pc:sldMkLst>
        <pc:spChg chg="mod">
          <ac:chgData name="Oehrli, Stefan" userId="3f36891e-f853-43e7-bcbc-2879a2513833" providerId="ADAL" clId="{262C7BF4-86F5-CD49-A8E8-3A77A5D2BB22}" dt="2024-06-17T08:42:21.549" v="1142"/>
          <ac:spMkLst>
            <pc:docMk/>
            <pc:sldMk cId="988469291" sldId="332"/>
            <ac:spMk id="2" creationId="{6B7D050A-F3DB-4B0A-8C3E-8F4D3EE9CC12}"/>
          </ac:spMkLst>
        </pc:spChg>
      </pc:sldChg>
      <pc:sldChg chg="modSp mod">
        <pc:chgData name="Oehrli, Stefan" userId="3f36891e-f853-43e7-bcbc-2879a2513833" providerId="ADAL" clId="{262C7BF4-86F5-CD49-A8E8-3A77A5D2BB22}" dt="2024-06-17T05:23:42" v="360" actId="20577"/>
        <pc:sldMkLst>
          <pc:docMk/>
          <pc:sldMk cId="3447450657" sldId="344"/>
        </pc:sldMkLst>
        <pc:spChg chg="mod">
          <ac:chgData name="Oehrli, Stefan" userId="3f36891e-f853-43e7-bcbc-2879a2513833" providerId="ADAL" clId="{262C7BF4-86F5-CD49-A8E8-3A77A5D2BB22}" dt="2024-06-17T04:54:15.091" v="138"/>
          <ac:spMkLst>
            <pc:docMk/>
            <pc:sldMk cId="3447450657" sldId="344"/>
            <ac:spMk id="2" creationId="{1F9E552B-AE32-4808-0A30-526769E9FED8}"/>
          </ac:spMkLst>
        </pc:spChg>
        <pc:spChg chg="mod">
          <ac:chgData name="Oehrli, Stefan" userId="3f36891e-f853-43e7-bcbc-2879a2513833" providerId="ADAL" clId="{262C7BF4-86F5-CD49-A8E8-3A77A5D2BB22}" dt="2024-06-17T04:54:24.893" v="152" actId="20577"/>
          <ac:spMkLst>
            <pc:docMk/>
            <pc:sldMk cId="3447450657" sldId="344"/>
            <ac:spMk id="3" creationId="{71629877-83F9-C3AD-1532-9D122387E409}"/>
          </ac:spMkLst>
        </pc:spChg>
        <pc:spChg chg="mod">
          <ac:chgData name="Oehrli, Stefan" userId="3f36891e-f853-43e7-bcbc-2879a2513833" providerId="ADAL" clId="{262C7BF4-86F5-CD49-A8E8-3A77A5D2BB22}" dt="2024-06-17T05:23:42" v="360" actId="20577"/>
          <ac:spMkLst>
            <pc:docMk/>
            <pc:sldMk cId="3447450657" sldId="344"/>
            <ac:spMk id="6" creationId="{FB352734-A1FB-38C6-2A1D-F73070E0CD10}"/>
          </ac:spMkLst>
        </pc:spChg>
        <pc:spChg chg="mod">
          <ac:chgData name="Oehrli, Stefan" userId="3f36891e-f853-43e7-bcbc-2879a2513833" providerId="ADAL" clId="{262C7BF4-86F5-CD49-A8E8-3A77A5D2BB22}" dt="2024-06-17T05:23:31.353" v="351" actId="20577"/>
          <ac:spMkLst>
            <pc:docMk/>
            <pc:sldMk cId="3447450657" sldId="344"/>
            <ac:spMk id="7" creationId="{D9F6E433-F286-B428-87FF-D12488F81E35}"/>
          </ac:spMkLst>
        </pc:spChg>
        <pc:spChg chg="mod">
          <ac:chgData name="Oehrli, Stefan" userId="3f36891e-f853-43e7-bcbc-2879a2513833" providerId="ADAL" clId="{262C7BF4-86F5-CD49-A8E8-3A77A5D2BB22}" dt="2024-06-17T04:57:48.475" v="205"/>
          <ac:spMkLst>
            <pc:docMk/>
            <pc:sldMk cId="3447450657" sldId="344"/>
            <ac:spMk id="8" creationId="{3B72ACB7-875F-88E1-8FF9-E339AB5CEA90}"/>
          </ac:spMkLst>
        </pc:spChg>
        <pc:spChg chg="mod">
          <ac:chgData name="Oehrli, Stefan" userId="3f36891e-f853-43e7-bcbc-2879a2513833" providerId="ADAL" clId="{262C7BF4-86F5-CD49-A8E8-3A77A5D2BB22}" dt="2024-06-17T05:00:13.778" v="229"/>
          <ac:spMkLst>
            <pc:docMk/>
            <pc:sldMk cId="3447450657" sldId="344"/>
            <ac:spMk id="9" creationId="{4722DDC2-84AC-744A-549D-84D37EC6E174}"/>
          </ac:spMkLst>
        </pc:spChg>
        <pc:spChg chg="mod">
          <ac:chgData name="Oehrli, Stefan" userId="3f36891e-f853-43e7-bcbc-2879a2513833" providerId="ADAL" clId="{262C7BF4-86F5-CD49-A8E8-3A77A5D2BB22}" dt="2024-06-17T05:00:12.722" v="228" actId="21"/>
          <ac:spMkLst>
            <pc:docMk/>
            <pc:sldMk cId="3447450657" sldId="344"/>
            <ac:spMk id="10" creationId="{2510B16E-5797-8D5D-1A8B-7AEBFCCACEC2}"/>
          </ac:spMkLst>
        </pc:spChg>
        <pc:spChg chg="mod">
          <ac:chgData name="Oehrli, Stefan" userId="3f36891e-f853-43e7-bcbc-2879a2513833" providerId="ADAL" clId="{262C7BF4-86F5-CD49-A8E8-3A77A5D2BB22}" dt="2024-06-17T04:57:54.087" v="208" actId="20577"/>
          <ac:spMkLst>
            <pc:docMk/>
            <pc:sldMk cId="3447450657" sldId="344"/>
            <ac:spMk id="11" creationId="{5E22572D-86FE-3D93-8F31-CF570714B8BB}"/>
          </ac:spMkLst>
        </pc:spChg>
      </pc:sldChg>
      <pc:sldChg chg="modSp mod">
        <pc:chgData name="Oehrli, Stefan" userId="3f36891e-f853-43e7-bcbc-2879a2513833" providerId="ADAL" clId="{262C7BF4-86F5-CD49-A8E8-3A77A5D2BB22}" dt="2024-06-17T04:53:04.416" v="134" actId="20577"/>
        <pc:sldMkLst>
          <pc:docMk/>
          <pc:sldMk cId="809413988" sldId="461"/>
        </pc:sldMkLst>
        <pc:spChg chg="mod">
          <ac:chgData name="Oehrli, Stefan" userId="3f36891e-f853-43e7-bcbc-2879a2513833" providerId="ADAL" clId="{262C7BF4-86F5-CD49-A8E8-3A77A5D2BB22}" dt="2024-06-17T04:53:04.416" v="134" actId="20577"/>
          <ac:spMkLst>
            <pc:docMk/>
            <pc:sldMk cId="809413988" sldId="461"/>
            <ac:spMk id="40" creationId="{F812FB05-C283-CDA9-B557-B5415BD2668A}"/>
          </ac:spMkLst>
        </pc:spChg>
      </pc:sldChg>
      <pc:sldChg chg="modSp mod modAnim">
        <pc:chgData name="Oehrli, Stefan" userId="3f36891e-f853-43e7-bcbc-2879a2513833" providerId="ADAL" clId="{262C7BF4-86F5-CD49-A8E8-3A77A5D2BB22}" dt="2024-06-17T09:31:27.240" v="2043"/>
        <pc:sldMkLst>
          <pc:docMk/>
          <pc:sldMk cId="1153880397" sldId="470"/>
        </pc:sldMkLst>
        <pc:spChg chg="mod">
          <ac:chgData name="Oehrli, Stefan" userId="3f36891e-f853-43e7-bcbc-2879a2513833" providerId="ADAL" clId="{262C7BF4-86F5-CD49-A8E8-3A77A5D2BB22}" dt="2024-06-17T09:30:42.910" v="2035" actId="108"/>
          <ac:spMkLst>
            <pc:docMk/>
            <pc:sldMk cId="1153880397" sldId="470"/>
            <ac:spMk id="2" creationId="{C0801084-F41C-99CB-6C15-5F3EDECF1FC3}"/>
          </ac:spMkLst>
        </pc:spChg>
        <pc:spChg chg="mod">
          <ac:chgData name="Oehrli, Stefan" userId="3f36891e-f853-43e7-bcbc-2879a2513833" providerId="ADAL" clId="{262C7BF4-86F5-CD49-A8E8-3A77A5D2BB22}" dt="2024-06-17T09:22:56.720" v="1700" actId="20577"/>
          <ac:spMkLst>
            <pc:docMk/>
            <pc:sldMk cId="1153880397" sldId="470"/>
            <ac:spMk id="13" creationId="{9EEEFBE2-D58B-0304-1EEF-C6A93EAE2FDB}"/>
          </ac:spMkLst>
        </pc:spChg>
      </pc:sldChg>
      <pc:sldChg chg="addSp modSp mod ord">
        <pc:chgData name="Oehrli, Stefan" userId="3f36891e-f853-43e7-bcbc-2879a2513833" providerId="ADAL" clId="{262C7BF4-86F5-CD49-A8E8-3A77A5D2BB22}" dt="2024-06-17T13:20:06.141" v="3855" actId="20578"/>
        <pc:sldMkLst>
          <pc:docMk/>
          <pc:sldMk cId="2241462360" sldId="2147138091"/>
        </pc:sldMkLst>
        <pc:picChg chg="add mod">
          <ac:chgData name="Oehrli, Stefan" userId="3f36891e-f853-43e7-bcbc-2879a2513833" providerId="ADAL" clId="{262C7BF4-86F5-CD49-A8E8-3A77A5D2BB22}" dt="2024-06-16T17:30:29.617" v="27" actId="1076"/>
          <ac:picMkLst>
            <pc:docMk/>
            <pc:sldMk cId="2241462360" sldId="2147138091"/>
            <ac:picMk id="5" creationId="{0AB5F226-A75D-71B2-6785-E08CD312BE65}"/>
          </ac:picMkLst>
        </pc:picChg>
      </pc:sldChg>
      <pc:sldChg chg="del">
        <pc:chgData name="Oehrli, Stefan" userId="3f36891e-f853-43e7-bcbc-2879a2513833" providerId="ADAL" clId="{262C7BF4-86F5-CD49-A8E8-3A77A5D2BB22}" dt="2024-06-16T22:20:45.160" v="66" actId="2696"/>
        <pc:sldMkLst>
          <pc:docMk/>
          <pc:sldMk cId="1940722524" sldId="2147138093"/>
        </pc:sldMkLst>
      </pc:sldChg>
      <pc:sldChg chg="del">
        <pc:chgData name="Oehrli, Stefan" userId="3f36891e-f853-43e7-bcbc-2879a2513833" providerId="ADAL" clId="{262C7BF4-86F5-CD49-A8E8-3A77A5D2BB22}" dt="2024-06-16T22:20:28.424" v="48" actId="2696"/>
        <pc:sldMkLst>
          <pc:docMk/>
          <pc:sldMk cId="2229416787" sldId="2147138095"/>
        </pc:sldMkLst>
      </pc:sldChg>
      <pc:sldChg chg="del">
        <pc:chgData name="Oehrli, Stefan" userId="3f36891e-f853-43e7-bcbc-2879a2513833" providerId="ADAL" clId="{262C7BF4-86F5-CD49-A8E8-3A77A5D2BB22}" dt="2024-06-16T22:20:32.593" v="51" actId="2696"/>
        <pc:sldMkLst>
          <pc:docMk/>
          <pc:sldMk cId="3058612435" sldId="2147138096"/>
        </pc:sldMkLst>
      </pc:sldChg>
      <pc:sldChg chg="del">
        <pc:chgData name="Oehrli, Stefan" userId="3f36891e-f853-43e7-bcbc-2879a2513833" providerId="ADAL" clId="{262C7BF4-86F5-CD49-A8E8-3A77A5D2BB22}" dt="2024-06-16T22:20:38.132" v="60" actId="2696"/>
        <pc:sldMkLst>
          <pc:docMk/>
          <pc:sldMk cId="379875072" sldId="2147138097"/>
        </pc:sldMkLst>
      </pc:sldChg>
      <pc:sldChg chg="del">
        <pc:chgData name="Oehrli, Stefan" userId="3f36891e-f853-43e7-bcbc-2879a2513833" providerId="ADAL" clId="{262C7BF4-86F5-CD49-A8E8-3A77A5D2BB22}" dt="2024-06-16T22:20:41.012" v="62" actId="2696"/>
        <pc:sldMkLst>
          <pc:docMk/>
          <pc:sldMk cId="3474791128" sldId="2147138098"/>
        </pc:sldMkLst>
      </pc:sldChg>
      <pc:sldChg chg="del mod ord modShow">
        <pc:chgData name="Oehrli, Stefan" userId="3f36891e-f853-43e7-bcbc-2879a2513833" providerId="ADAL" clId="{262C7BF4-86F5-CD49-A8E8-3A77A5D2BB22}" dt="2024-06-17T05:28:53.678" v="370" actId="2696"/>
        <pc:sldMkLst>
          <pc:docMk/>
          <pc:sldMk cId="3843352936" sldId="2147138100"/>
        </pc:sldMkLst>
      </pc:sldChg>
      <pc:sldChg chg="modSp mod ord modAnim">
        <pc:chgData name="Oehrli, Stefan" userId="3f36891e-f853-43e7-bcbc-2879a2513833" providerId="ADAL" clId="{262C7BF4-86F5-CD49-A8E8-3A77A5D2BB22}" dt="2024-06-17T13:19:55.214" v="3854"/>
        <pc:sldMkLst>
          <pc:docMk/>
          <pc:sldMk cId="288964143" sldId="2147138101"/>
        </pc:sldMkLst>
        <pc:spChg chg="mod">
          <ac:chgData name="Oehrli, Stefan" userId="3f36891e-f853-43e7-bcbc-2879a2513833" providerId="ADAL" clId="{262C7BF4-86F5-CD49-A8E8-3A77A5D2BB22}" dt="2024-06-17T13:15:27.194" v="3521"/>
          <ac:spMkLst>
            <pc:docMk/>
            <pc:sldMk cId="288964143" sldId="2147138101"/>
            <ac:spMk id="7" creationId="{28248BDE-A26B-54FA-B253-9CF5A732A84D}"/>
          </ac:spMkLst>
        </pc:spChg>
        <pc:spChg chg="mod">
          <ac:chgData name="Oehrli, Stefan" userId="3f36891e-f853-43e7-bcbc-2879a2513833" providerId="ADAL" clId="{262C7BF4-86F5-CD49-A8E8-3A77A5D2BB22}" dt="2024-06-17T13:19:34.601" v="3851" actId="20577"/>
          <ac:spMkLst>
            <pc:docMk/>
            <pc:sldMk cId="288964143" sldId="2147138101"/>
            <ac:spMk id="8" creationId="{5EE79F3A-A0A9-701D-5D8B-7F8B130B5732}"/>
          </ac:spMkLst>
        </pc:spChg>
        <pc:spChg chg="mod">
          <ac:chgData name="Oehrli, Stefan" userId="3f36891e-f853-43e7-bcbc-2879a2513833" providerId="ADAL" clId="{262C7BF4-86F5-CD49-A8E8-3A77A5D2BB22}" dt="2024-06-17T13:17:20.694" v="3693"/>
          <ac:spMkLst>
            <pc:docMk/>
            <pc:sldMk cId="288964143" sldId="2147138101"/>
            <ac:spMk id="9" creationId="{8E05A5F2-330F-6A6B-804D-BBD24C560B2E}"/>
          </ac:spMkLst>
        </pc:spChg>
      </pc:sldChg>
      <pc:sldChg chg="del">
        <pc:chgData name="Oehrli, Stefan" userId="3f36891e-f853-43e7-bcbc-2879a2513833" providerId="ADAL" clId="{262C7BF4-86F5-CD49-A8E8-3A77A5D2BB22}" dt="2024-06-16T22:20:38.112" v="58" actId="2696"/>
        <pc:sldMkLst>
          <pc:docMk/>
          <pc:sldMk cId="3530393607" sldId="2147138102"/>
        </pc:sldMkLst>
      </pc:sldChg>
      <pc:sldChg chg="addSp delSp modSp mod modClrScheme modAnim chgLayout">
        <pc:chgData name="Oehrli, Stefan" userId="3f36891e-f853-43e7-bcbc-2879a2513833" providerId="ADAL" clId="{262C7BF4-86F5-CD49-A8E8-3A77A5D2BB22}" dt="2024-06-17T08:49:41.320" v="1181"/>
        <pc:sldMkLst>
          <pc:docMk/>
          <pc:sldMk cId="2475241319" sldId="2147138105"/>
        </pc:sldMkLst>
        <pc:spChg chg="add del mod ord">
          <ac:chgData name="Oehrli, Stefan" userId="3f36891e-f853-43e7-bcbc-2879a2513833" providerId="ADAL" clId="{262C7BF4-86F5-CD49-A8E8-3A77A5D2BB22}" dt="2024-06-17T08:46:40.672" v="1147"/>
          <ac:spMkLst>
            <pc:docMk/>
            <pc:sldMk cId="2475241319" sldId="2147138105"/>
            <ac:spMk id="2" creationId="{07E06C93-D4FC-770F-0C79-F6EE66CEE3D4}"/>
          </ac:spMkLst>
        </pc:spChg>
        <pc:spChg chg="mod ord">
          <ac:chgData name="Oehrli, Stefan" userId="3f36891e-f853-43e7-bcbc-2879a2513833" providerId="ADAL" clId="{262C7BF4-86F5-CD49-A8E8-3A77A5D2BB22}" dt="2024-06-17T08:46:36.079" v="1145" actId="700"/>
          <ac:spMkLst>
            <pc:docMk/>
            <pc:sldMk cId="2475241319" sldId="2147138105"/>
            <ac:spMk id="5" creationId="{3D7F45EE-BA73-A422-CE1F-D4DC06209B58}"/>
          </ac:spMkLst>
        </pc:spChg>
        <pc:spChg chg="mod ord">
          <ac:chgData name="Oehrli, Stefan" userId="3f36891e-f853-43e7-bcbc-2879a2513833" providerId="ADAL" clId="{262C7BF4-86F5-CD49-A8E8-3A77A5D2BB22}" dt="2024-06-17T08:46:36.079" v="1145" actId="700"/>
          <ac:spMkLst>
            <pc:docMk/>
            <pc:sldMk cId="2475241319" sldId="2147138105"/>
            <ac:spMk id="7" creationId="{89044E24-A45A-7A0B-F3B8-C24968E77FD6}"/>
          </ac:spMkLst>
        </pc:spChg>
        <pc:spChg chg="mod ord">
          <ac:chgData name="Oehrli, Stefan" userId="3f36891e-f853-43e7-bcbc-2879a2513833" providerId="ADAL" clId="{262C7BF4-86F5-CD49-A8E8-3A77A5D2BB22}" dt="2024-06-17T08:46:36.079" v="1145" actId="700"/>
          <ac:spMkLst>
            <pc:docMk/>
            <pc:sldMk cId="2475241319" sldId="2147138105"/>
            <ac:spMk id="8" creationId="{11095482-1C48-477A-8085-00A480960AB0}"/>
          </ac:spMkLst>
        </pc:spChg>
        <pc:spChg chg="mod ord">
          <ac:chgData name="Oehrli, Stefan" userId="3f36891e-f853-43e7-bcbc-2879a2513833" providerId="ADAL" clId="{262C7BF4-86F5-CD49-A8E8-3A77A5D2BB22}" dt="2024-06-17T08:49:19.893" v="1178" actId="20577"/>
          <ac:spMkLst>
            <pc:docMk/>
            <pc:sldMk cId="2475241319" sldId="2147138105"/>
            <ac:spMk id="9" creationId="{C7347C64-0348-3831-8B5A-25F65080DF73}"/>
          </ac:spMkLst>
        </pc:spChg>
        <pc:spChg chg="mod ord">
          <ac:chgData name="Oehrli, Stefan" userId="3f36891e-f853-43e7-bcbc-2879a2513833" providerId="ADAL" clId="{262C7BF4-86F5-CD49-A8E8-3A77A5D2BB22}" dt="2024-06-17T08:46:36.079" v="1145" actId="700"/>
          <ac:spMkLst>
            <pc:docMk/>
            <pc:sldMk cId="2475241319" sldId="2147138105"/>
            <ac:spMk id="10" creationId="{A1F0767F-EF95-3D78-8C45-26ADDE420EBC}"/>
          </ac:spMkLst>
        </pc:spChg>
        <pc:picChg chg="add mod">
          <ac:chgData name="Oehrli, Stefan" userId="3f36891e-f853-43e7-bcbc-2879a2513833" providerId="ADAL" clId="{262C7BF4-86F5-CD49-A8E8-3A77A5D2BB22}" dt="2024-06-17T08:49:16.032" v="1176" actId="1076"/>
          <ac:picMkLst>
            <pc:docMk/>
            <pc:sldMk cId="2475241319" sldId="2147138105"/>
            <ac:picMk id="3" creationId="{8F92BD9B-9E13-9B1F-7771-A97BDC1249B5}"/>
          </ac:picMkLst>
        </pc:picChg>
        <pc:picChg chg="del">
          <ac:chgData name="Oehrli, Stefan" userId="3f36891e-f853-43e7-bcbc-2879a2513833" providerId="ADAL" clId="{262C7BF4-86F5-CD49-A8E8-3A77A5D2BB22}" dt="2024-06-17T08:46:38.274" v="1146" actId="21"/>
          <ac:picMkLst>
            <pc:docMk/>
            <pc:sldMk cId="2475241319" sldId="2147138105"/>
            <ac:picMk id="11" creationId="{9D7918C6-DADD-7B4B-F03A-3B51E790D399}"/>
          </ac:picMkLst>
        </pc:picChg>
      </pc:sldChg>
      <pc:sldChg chg="del">
        <pc:chgData name="Oehrli, Stefan" userId="3f36891e-f853-43e7-bcbc-2879a2513833" providerId="ADAL" clId="{262C7BF4-86F5-CD49-A8E8-3A77A5D2BB22}" dt="2024-06-16T22:20:45.172" v="67" actId="2696"/>
        <pc:sldMkLst>
          <pc:docMk/>
          <pc:sldMk cId="4159375980" sldId="2147138110"/>
        </pc:sldMkLst>
      </pc:sldChg>
      <pc:sldChg chg="modSp mod">
        <pc:chgData name="Oehrli, Stefan" userId="3f36891e-f853-43e7-bcbc-2879a2513833" providerId="ADAL" clId="{262C7BF4-86F5-CD49-A8E8-3A77A5D2BB22}" dt="2024-06-17T05:26:52.611" v="369"/>
        <pc:sldMkLst>
          <pc:docMk/>
          <pc:sldMk cId="2774964817" sldId="2147138111"/>
        </pc:sldMkLst>
        <pc:spChg chg="mod">
          <ac:chgData name="Oehrli, Stefan" userId="3f36891e-f853-43e7-bcbc-2879a2513833" providerId="ADAL" clId="{262C7BF4-86F5-CD49-A8E8-3A77A5D2BB22}" dt="2024-06-17T05:26:52.611" v="369"/>
          <ac:spMkLst>
            <pc:docMk/>
            <pc:sldMk cId="2774964817" sldId="2147138111"/>
            <ac:spMk id="10" creationId="{E71E492B-E171-42B1-2E24-469DFA041F48}"/>
          </ac:spMkLst>
        </pc:spChg>
      </pc:sldChg>
      <pc:sldChg chg="del">
        <pc:chgData name="Oehrli, Stefan" userId="3f36891e-f853-43e7-bcbc-2879a2513833" providerId="ADAL" clId="{262C7BF4-86F5-CD49-A8E8-3A77A5D2BB22}" dt="2024-06-16T22:20:28.410" v="45" actId="2696"/>
        <pc:sldMkLst>
          <pc:docMk/>
          <pc:sldMk cId="424518403" sldId="2147138112"/>
        </pc:sldMkLst>
      </pc:sldChg>
      <pc:sldChg chg="del">
        <pc:chgData name="Oehrli, Stefan" userId="3f36891e-f853-43e7-bcbc-2879a2513833" providerId="ADAL" clId="{262C7BF4-86F5-CD49-A8E8-3A77A5D2BB22}" dt="2024-06-16T22:20:32.586" v="49" actId="2696"/>
        <pc:sldMkLst>
          <pc:docMk/>
          <pc:sldMk cId="1136284001" sldId="2147138113"/>
        </pc:sldMkLst>
      </pc:sldChg>
      <pc:sldChg chg="del">
        <pc:chgData name="Oehrli, Stefan" userId="3f36891e-f853-43e7-bcbc-2879a2513833" providerId="ADAL" clId="{262C7BF4-86F5-CD49-A8E8-3A77A5D2BB22}" dt="2024-06-16T22:20:38.110" v="57" actId="2696"/>
        <pc:sldMkLst>
          <pc:docMk/>
          <pc:sldMk cId="2191559807" sldId="2147138114"/>
        </pc:sldMkLst>
      </pc:sldChg>
      <pc:sldChg chg="del">
        <pc:chgData name="Oehrli, Stefan" userId="3f36891e-f853-43e7-bcbc-2879a2513833" providerId="ADAL" clId="{262C7BF4-86F5-CD49-A8E8-3A77A5D2BB22}" dt="2024-06-16T22:20:38.081" v="55" actId="2696"/>
        <pc:sldMkLst>
          <pc:docMk/>
          <pc:sldMk cId="934375759" sldId="2147138115"/>
        </pc:sldMkLst>
      </pc:sldChg>
      <pc:sldChg chg="del">
        <pc:chgData name="Oehrli, Stefan" userId="3f36891e-f853-43e7-bcbc-2879a2513833" providerId="ADAL" clId="{262C7BF4-86F5-CD49-A8E8-3A77A5D2BB22}" dt="2024-06-16T22:20:41.010" v="61" actId="2696"/>
        <pc:sldMkLst>
          <pc:docMk/>
          <pc:sldMk cId="1484047602" sldId="2147138116"/>
        </pc:sldMkLst>
      </pc:sldChg>
      <pc:sldChg chg="del">
        <pc:chgData name="Oehrli, Stefan" userId="3f36891e-f853-43e7-bcbc-2879a2513833" providerId="ADAL" clId="{262C7BF4-86F5-CD49-A8E8-3A77A5D2BB22}" dt="2024-06-16T22:20:45.140" v="65" actId="2696"/>
        <pc:sldMkLst>
          <pc:docMk/>
          <pc:sldMk cId="1497942445" sldId="2147138117"/>
        </pc:sldMkLst>
      </pc:sldChg>
      <pc:sldChg chg="ord">
        <pc:chgData name="Oehrli, Stefan" userId="3f36891e-f853-43e7-bcbc-2879a2513833" providerId="ADAL" clId="{262C7BF4-86F5-CD49-A8E8-3A77A5D2BB22}" dt="2024-06-17T04:52:11.920" v="123" actId="20578"/>
        <pc:sldMkLst>
          <pc:docMk/>
          <pc:sldMk cId="2826333923" sldId="2147138119"/>
        </pc:sldMkLst>
      </pc:sldChg>
      <pc:sldChg chg="addSp modSp mod ord modAnim">
        <pc:chgData name="Oehrli, Stefan" userId="3f36891e-f853-43e7-bcbc-2879a2513833" providerId="ADAL" clId="{262C7BF4-86F5-CD49-A8E8-3A77A5D2BB22}" dt="2024-06-17T04:55:25.377" v="200"/>
        <pc:sldMkLst>
          <pc:docMk/>
          <pc:sldMk cId="3662948178" sldId="2147138120"/>
        </pc:sldMkLst>
        <pc:spChg chg="add mod">
          <ac:chgData name="Oehrli, Stefan" userId="3f36891e-f853-43e7-bcbc-2879a2513833" providerId="ADAL" clId="{262C7BF4-86F5-CD49-A8E8-3A77A5D2BB22}" dt="2024-06-17T04:55:13.840" v="199" actId="207"/>
          <ac:spMkLst>
            <pc:docMk/>
            <pc:sldMk cId="3662948178" sldId="2147138120"/>
            <ac:spMk id="7" creationId="{74628A42-C32E-745C-502E-07FF9383DEF1}"/>
          </ac:spMkLst>
        </pc:spChg>
      </pc:sldChg>
      <pc:sldChg chg="delSp modSp mod ord delAnim modAnim">
        <pc:chgData name="Oehrli, Stefan" userId="3f36891e-f853-43e7-bcbc-2879a2513833" providerId="ADAL" clId="{262C7BF4-86F5-CD49-A8E8-3A77A5D2BB22}" dt="2024-06-17T05:58:12.342" v="1046" actId="113"/>
        <pc:sldMkLst>
          <pc:docMk/>
          <pc:sldMk cId="666160610" sldId="2147138121"/>
        </pc:sldMkLst>
        <pc:spChg chg="mod">
          <ac:chgData name="Oehrli, Stefan" userId="3f36891e-f853-43e7-bcbc-2879a2513833" providerId="ADAL" clId="{262C7BF4-86F5-CD49-A8E8-3A77A5D2BB22}" dt="2024-06-17T05:58:12.342" v="1046" actId="113"/>
          <ac:spMkLst>
            <pc:docMk/>
            <pc:sldMk cId="666160610" sldId="2147138121"/>
            <ac:spMk id="9" creationId="{92860932-76E1-E164-1A33-41CEDE602802}"/>
          </ac:spMkLst>
        </pc:spChg>
        <pc:picChg chg="del">
          <ac:chgData name="Oehrli, Stefan" userId="3f36891e-f853-43e7-bcbc-2879a2513833" providerId="ADAL" clId="{262C7BF4-86F5-CD49-A8E8-3A77A5D2BB22}" dt="2024-06-17T05:36:06.681" v="394" actId="478"/>
          <ac:picMkLst>
            <pc:docMk/>
            <pc:sldMk cId="666160610" sldId="2147138121"/>
            <ac:picMk id="17" creationId="{4D5342C5-1B70-C8E2-457B-621F5981C0DF}"/>
          </ac:picMkLst>
        </pc:picChg>
      </pc:sldChg>
      <pc:sldChg chg="modSp mod">
        <pc:chgData name="Oehrli, Stefan" userId="3f36891e-f853-43e7-bcbc-2879a2513833" providerId="ADAL" clId="{262C7BF4-86F5-CD49-A8E8-3A77A5D2BB22}" dt="2024-06-17T08:50:12.366" v="1186" actId="20577"/>
        <pc:sldMkLst>
          <pc:docMk/>
          <pc:sldMk cId="3069574028" sldId="2147138122"/>
        </pc:sldMkLst>
        <pc:spChg chg="mod">
          <ac:chgData name="Oehrli, Stefan" userId="3f36891e-f853-43e7-bcbc-2879a2513833" providerId="ADAL" clId="{262C7BF4-86F5-CD49-A8E8-3A77A5D2BB22}" dt="2024-06-17T08:50:12.366" v="1186" actId="20577"/>
          <ac:spMkLst>
            <pc:docMk/>
            <pc:sldMk cId="3069574028" sldId="2147138122"/>
            <ac:spMk id="2" creationId="{62E73163-1B94-708C-37BC-35D761D25724}"/>
          </ac:spMkLst>
        </pc:spChg>
      </pc:sldChg>
      <pc:sldChg chg="modSp mod">
        <pc:chgData name="Oehrli, Stefan" userId="3f36891e-f853-43e7-bcbc-2879a2513833" providerId="ADAL" clId="{262C7BF4-86F5-CD49-A8E8-3A77A5D2BB22}" dt="2024-06-17T08:50:28.053" v="1193" actId="20577"/>
        <pc:sldMkLst>
          <pc:docMk/>
          <pc:sldMk cId="764597068" sldId="2147138123"/>
        </pc:sldMkLst>
        <pc:spChg chg="mod">
          <ac:chgData name="Oehrli, Stefan" userId="3f36891e-f853-43e7-bcbc-2879a2513833" providerId="ADAL" clId="{262C7BF4-86F5-CD49-A8E8-3A77A5D2BB22}" dt="2024-06-17T08:50:28.053" v="1193" actId="20577"/>
          <ac:spMkLst>
            <pc:docMk/>
            <pc:sldMk cId="764597068" sldId="2147138123"/>
            <ac:spMk id="2" creationId="{93173BB2-FF72-F38D-B305-3AAB3F55CE4F}"/>
          </ac:spMkLst>
        </pc:spChg>
      </pc:sldChg>
      <pc:sldChg chg="ord">
        <pc:chgData name="Oehrli, Stefan" userId="3f36891e-f853-43e7-bcbc-2879a2513833" providerId="ADAL" clId="{262C7BF4-86F5-CD49-A8E8-3A77A5D2BB22}" dt="2024-06-17T05:31:00.348" v="388" actId="20578"/>
        <pc:sldMkLst>
          <pc:docMk/>
          <pc:sldMk cId="2147595729" sldId="2147138181"/>
        </pc:sldMkLst>
      </pc:sldChg>
      <pc:sldChg chg="ord">
        <pc:chgData name="Oehrli, Stefan" userId="3f36891e-f853-43e7-bcbc-2879a2513833" providerId="ADAL" clId="{262C7BF4-86F5-CD49-A8E8-3A77A5D2BB22}" dt="2024-06-17T05:31:00.348" v="388" actId="20578"/>
        <pc:sldMkLst>
          <pc:docMk/>
          <pc:sldMk cId="2709564194" sldId="2147138182"/>
        </pc:sldMkLst>
      </pc:sldChg>
      <pc:sldChg chg="ord">
        <pc:chgData name="Oehrli, Stefan" userId="3f36891e-f853-43e7-bcbc-2879a2513833" providerId="ADAL" clId="{262C7BF4-86F5-CD49-A8E8-3A77A5D2BB22}" dt="2024-06-17T05:31:00.348" v="388" actId="20578"/>
        <pc:sldMkLst>
          <pc:docMk/>
          <pc:sldMk cId="608967408" sldId="2147138183"/>
        </pc:sldMkLst>
      </pc:sldChg>
      <pc:sldChg chg="ord">
        <pc:chgData name="Oehrli, Stefan" userId="3f36891e-f853-43e7-bcbc-2879a2513833" providerId="ADAL" clId="{262C7BF4-86F5-CD49-A8E8-3A77A5D2BB22}" dt="2024-06-17T05:31:00.348" v="388" actId="20578"/>
        <pc:sldMkLst>
          <pc:docMk/>
          <pc:sldMk cId="1555260919" sldId="2147138184"/>
        </pc:sldMkLst>
      </pc:sldChg>
      <pc:sldChg chg="ord">
        <pc:chgData name="Oehrli, Stefan" userId="3f36891e-f853-43e7-bcbc-2879a2513833" providerId="ADAL" clId="{262C7BF4-86F5-CD49-A8E8-3A77A5D2BB22}" dt="2024-06-17T05:31:00.348" v="388" actId="20578"/>
        <pc:sldMkLst>
          <pc:docMk/>
          <pc:sldMk cId="359752795" sldId="2147138185"/>
        </pc:sldMkLst>
      </pc:sldChg>
      <pc:sldChg chg="del">
        <pc:chgData name="Oehrli, Stefan" userId="3f36891e-f853-43e7-bcbc-2879a2513833" providerId="ADAL" clId="{262C7BF4-86F5-CD49-A8E8-3A77A5D2BB22}" dt="2024-06-16T22:20:38.084" v="56" actId="2696"/>
        <pc:sldMkLst>
          <pc:docMk/>
          <pc:sldMk cId="47853685" sldId="2147138186"/>
        </pc:sldMkLst>
      </pc:sldChg>
      <pc:sldChg chg="del">
        <pc:chgData name="Oehrli, Stefan" userId="3f36891e-f853-43e7-bcbc-2879a2513833" providerId="ADAL" clId="{262C7BF4-86F5-CD49-A8E8-3A77A5D2BB22}" dt="2024-06-16T22:20:28.414" v="47" actId="2696"/>
        <pc:sldMkLst>
          <pc:docMk/>
          <pc:sldMk cId="3736502658" sldId="2147138187"/>
        </pc:sldMkLst>
      </pc:sldChg>
      <pc:sldChg chg="del">
        <pc:chgData name="Oehrli, Stefan" userId="3f36891e-f853-43e7-bcbc-2879a2513833" providerId="ADAL" clId="{262C7BF4-86F5-CD49-A8E8-3A77A5D2BB22}" dt="2024-06-16T22:20:28.413" v="46" actId="2696"/>
        <pc:sldMkLst>
          <pc:docMk/>
          <pc:sldMk cId="529553536" sldId="2147138188"/>
        </pc:sldMkLst>
      </pc:sldChg>
      <pc:sldChg chg="del">
        <pc:chgData name="Oehrli, Stefan" userId="3f36891e-f853-43e7-bcbc-2879a2513833" providerId="ADAL" clId="{262C7BF4-86F5-CD49-A8E8-3A77A5D2BB22}" dt="2024-06-16T22:20:41.014" v="63" actId="2696"/>
        <pc:sldMkLst>
          <pc:docMk/>
          <pc:sldMk cId="3307806032" sldId="2147138189"/>
        </pc:sldMkLst>
      </pc:sldChg>
      <pc:sldChg chg="del">
        <pc:chgData name="Oehrli, Stefan" userId="3f36891e-f853-43e7-bcbc-2879a2513833" providerId="ADAL" clId="{262C7BF4-86F5-CD49-A8E8-3A77A5D2BB22}" dt="2024-06-16T22:20:41.026" v="64" actId="2696"/>
        <pc:sldMkLst>
          <pc:docMk/>
          <pc:sldMk cId="2582172254" sldId="2147138190"/>
        </pc:sldMkLst>
      </pc:sldChg>
      <pc:sldChg chg="del">
        <pc:chgData name="Oehrli, Stefan" userId="3f36891e-f853-43e7-bcbc-2879a2513833" providerId="ADAL" clId="{262C7BF4-86F5-CD49-A8E8-3A77A5D2BB22}" dt="2024-06-16T22:20:32.611" v="53" actId="2696"/>
        <pc:sldMkLst>
          <pc:docMk/>
          <pc:sldMk cId="2312882381" sldId="2147138191"/>
        </pc:sldMkLst>
      </pc:sldChg>
      <pc:sldChg chg="del">
        <pc:chgData name="Oehrli, Stefan" userId="3f36891e-f853-43e7-bcbc-2879a2513833" providerId="ADAL" clId="{262C7BF4-86F5-CD49-A8E8-3A77A5D2BB22}" dt="2024-06-16T22:20:32.595" v="52" actId="2696"/>
        <pc:sldMkLst>
          <pc:docMk/>
          <pc:sldMk cId="3816320732" sldId="2147138192"/>
        </pc:sldMkLst>
      </pc:sldChg>
      <pc:sldChg chg="del">
        <pc:chgData name="Oehrli, Stefan" userId="3f36891e-f853-43e7-bcbc-2879a2513833" providerId="ADAL" clId="{262C7BF4-86F5-CD49-A8E8-3A77A5D2BB22}" dt="2024-06-17T13:10:59.091" v="3520" actId="2696"/>
        <pc:sldMkLst>
          <pc:docMk/>
          <pc:sldMk cId="1007215444" sldId="2147138194"/>
        </pc:sldMkLst>
      </pc:sldChg>
      <pc:sldChg chg="del">
        <pc:chgData name="Oehrli, Stefan" userId="3f36891e-f853-43e7-bcbc-2879a2513833" providerId="ADAL" clId="{262C7BF4-86F5-CD49-A8E8-3A77A5D2BB22}" dt="2024-06-17T13:10:57.692" v="3519" actId="2696"/>
        <pc:sldMkLst>
          <pc:docMk/>
          <pc:sldMk cId="1520814761" sldId="2147138196"/>
        </pc:sldMkLst>
      </pc:sldChg>
      <pc:sldChg chg="del">
        <pc:chgData name="Oehrli, Stefan" userId="3f36891e-f853-43e7-bcbc-2879a2513833" providerId="ADAL" clId="{262C7BF4-86F5-CD49-A8E8-3A77A5D2BB22}" dt="2024-06-17T05:28:58.314" v="371" actId="2696"/>
        <pc:sldMkLst>
          <pc:docMk/>
          <pc:sldMk cId="2500466773" sldId="2147138197"/>
        </pc:sldMkLst>
      </pc:sldChg>
      <pc:sldChg chg="addSp modSp mod ord modAnim">
        <pc:chgData name="Oehrli, Stefan" userId="3f36891e-f853-43e7-bcbc-2879a2513833" providerId="ADAL" clId="{262C7BF4-86F5-CD49-A8E8-3A77A5D2BB22}" dt="2024-06-17T13:23:15.899" v="3898"/>
        <pc:sldMkLst>
          <pc:docMk/>
          <pc:sldMk cId="2326204635" sldId="2147138198"/>
        </pc:sldMkLst>
        <pc:spChg chg="add mod">
          <ac:chgData name="Oehrli, Stefan" userId="3f36891e-f853-43e7-bcbc-2879a2513833" providerId="ADAL" clId="{262C7BF4-86F5-CD49-A8E8-3A77A5D2BB22}" dt="2024-06-17T13:21:40.018" v="3858" actId="14100"/>
          <ac:spMkLst>
            <pc:docMk/>
            <pc:sldMk cId="2326204635" sldId="2147138198"/>
            <ac:spMk id="2" creationId="{6525370A-E3E7-2F8D-04C1-669850FB9888}"/>
          </ac:spMkLst>
        </pc:spChg>
        <pc:spChg chg="add mod">
          <ac:chgData name="Oehrli, Stefan" userId="3f36891e-f853-43e7-bcbc-2879a2513833" providerId="ADAL" clId="{262C7BF4-86F5-CD49-A8E8-3A77A5D2BB22}" dt="2024-06-17T13:21:51.060" v="3863" actId="1076"/>
          <ac:spMkLst>
            <pc:docMk/>
            <pc:sldMk cId="2326204635" sldId="2147138198"/>
            <ac:spMk id="3" creationId="{80EDC28E-68F8-D968-183F-06E49B3C2F45}"/>
          </ac:spMkLst>
        </pc:spChg>
        <pc:spChg chg="add mod">
          <ac:chgData name="Oehrli, Stefan" userId="3f36891e-f853-43e7-bcbc-2879a2513833" providerId="ADAL" clId="{262C7BF4-86F5-CD49-A8E8-3A77A5D2BB22}" dt="2024-06-17T13:21:57.740" v="3866" actId="14100"/>
          <ac:spMkLst>
            <pc:docMk/>
            <pc:sldMk cId="2326204635" sldId="2147138198"/>
            <ac:spMk id="4" creationId="{8227C184-847D-C2B7-0EBF-EB8B5A1A057B}"/>
          </ac:spMkLst>
        </pc:spChg>
        <pc:spChg chg="add mod">
          <ac:chgData name="Oehrli, Stefan" userId="3f36891e-f853-43e7-bcbc-2879a2513833" providerId="ADAL" clId="{262C7BF4-86F5-CD49-A8E8-3A77A5D2BB22}" dt="2024-06-17T13:22:14.192" v="3869" actId="14100"/>
          <ac:spMkLst>
            <pc:docMk/>
            <pc:sldMk cId="2326204635" sldId="2147138198"/>
            <ac:spMk id="8" creationId="{7FFEF1C1-A49A-C089-51E8-A6E7DDF99002}"/>
          </ac:spMkLst>
        </pc:spChg>
        <pc:spChg chg="mod">
          <ac:chgData name="Oehrli, Stefan" userId="3f36891e-f853-43e7-bcbc-2879a2513833" providerId="ADAL" clId="{262C7BF4-86F5-CD49-A8E8-3A77A5D2BB22}" dt="2024-06-17T05:36:44.845" v="438" actId="20577"/>
          <ac:spMkLst>
            <pc:docMk/>
            <pc:sldMk cId="2326204635" sldId="2147138198"/>
            <ac:spMk id="9" creationId="{6865BB4D-871D-6C55-5CA1-11DC3FDC1291}"/>
          </ac:spMkLst>
        </pc:spChg>
        <pc:spChg chg="add mod">
          <ac:chgData name="Oehrli, Stefan" userId="3f36891e-f853-43e7-bcbc-2879a2513833" providerId="ADAL" clId="{262C7BF4-86F5-CD49-A8E8-3A77A5D2BB22}" dt="2024-06-17T13:22:23.555" v="3874" actId="14100"/>
          <ac:spMkLst>
            <pc:docMk/>
            <pc:sldMk cId="2326204635" sldId="2147138198"/>
            <ac:spMk id="10" creationId="{AB761E59-E4CC-9C51-6067-185DDA63BFE8}"/>
          </ac:spMkLst>
        </pc:spChg>
      </pc:sldChg>
      <pc:sldChg chg="addSp delSp modSp new del mod modClrScheme chgLayout">
        <pc:chgData name="Oehrli, Stefan" userId="3f36891e-f853-43e7-bcbc-2879a2513833" providerId="ADAL" clId="{262C7BF4-86F5-CD49-A8E8-3A77A5D2BB22}" dt="2024-06-17T04:59:07.536" v="213" actId="2696"/>
        <pc:sldMkLst>
          <pc:docMk/>
          <pc:sldMk cId="1000675578" sldId="2147138199"/>
        </pc:sldMkLst>
        <pc:spChg chg="del mod ord">
          <ac:chgData name="Oehrli, Stefan" userId="3f36891e-f853-43e7-bcbc-2879a2513833" providerId="ADAL" clId="{262C7BF4-86F5-CD49-A8E8-3A77A5D2BB22}" dt="2024-06-17T04:58:56.998" v="211" actId="700"/>
          <ac:spMkLst>
            <pc:docMk/>
            <pc:sldMk cId="1000675578" sldId="2147138199"/>
            <ac:spMk id="2" creationId="{EE3764D4-2653-2758-0925-3F616A816F58}"/>
          </ac:spMkLst>
        </pc:spChg>
        <pc:spChg chg="add mod ord">
          <ac:chgData name="Oehrli, Stefan" userId="3f36891e-f853-43e7-bcbc-2879a2513833" providerId="ADAL" clId="{262C7BF4-86F5-CD49-A8E8-3A77A5D2BB22}" dt="2024-06-17T04:58:56.998" v="211" actId="700"/>
          <ac:spMkLst>
            <pc:docMk/>
            <pc:sldMk cId="1000675578" sldId="2147138199"/>
            <ac:spMk id="3" creationId="{3776B969-16DD-BB88-F599-7FF913F44AF8}"/>
          </ac:spMkLst>
        </pc:spChg>
        <pc:spChg chg="add mod ord">
          <ac:chgData name="Oehrli, Stefan" userId="3f36891e-f853-43e7-bcbc-2879a2513833" providerId="ADAL" clId="{262C7BF4-86F5-CD49-A8E8-3A77A5D2BB22}" dt="2024-06-17T04:58:56.998" v="211" actId="700"/>
          <ac:spMkLst>
            <pc:docMk/>
            <pc:sldMk cId="1000675578" sldId="2147138199"/>
            <ac:spMk id="4" creationId="{72769DC0-8812-63AF-8FAC-CA3A17A81348}"/>
          </ac:spMkLst>
        </pc:spChg>
        <pc:spChg chg="add mod ord">
          <ac:chgData name="Oehrli, Stefan" userId="3f36891e-f853-43e7-bcbc-2879a2513833" providerId="ADAL" clId="{262C7BF4-86F5-CD49-A8E8-3A77A5D2BB22}" dt="2024-06-17T04:58:56.998" v="211" actId="700"/>
          <ac:spMkLst>
            <pc:docMk/>
            <pc:sldMk cId="1000675578" sldId="2147138199"/>
            <ac:spMk id="5" creationId="{8FCEB29B-66BD-7500-06F0-D0DFEF869E1B}"/>
          </ac:spMkLst>
        </pc:spChg>
      </pc:sldChg>
      <pc:sldChg chg="del">
        <pc:chgData name="Oehrli, Stefan" userId="3f36891e-f853-43e7-bcbc-2879a2513833" providerId="ADAL" clId="{262C7BF4-86F5-CD49-A8E8-3A77A5D2BB22}" dt="2024-06-16T22:20:32.620" v="54" actId="2696"/>
        <pc:sldMkLst>
          <pc:docMk/>
          <pc:sldMk cId="2101678055" sldId="2147138199"/>
        </pc:sldMkLst>
      </pc:sldChg>
      <pc:sldChg chg="del">
        <pc:chgData name="Oehrli, Stefan" userId="3f36891e-f853-43e7-bcbc-2879a2513833" providerId="ADAL" clId="{262C7BF4-86F5-CD49-A8E8-3A77A5D2BB22}" dt="2024-06-16T22:20:38.125" v="59" actId="2696"/>
        <pc:sldMkLst>
          <pc:docMk/>
          <pc:sldMk cId="1125153236" sldId="2147138200"/>
        </pc:sldMkLst>
      </pc:sldChg>
      <pc:sldChg chg="modSp add mod ord">
        <pc:chgData name="Oehrli, Stefan" userId="3f36891e-f853-43e7-bcbc-2879a2513833" providerId="ADAL" clId="{262C7BF4-86F5-CD49-A8E8-3A77A5D2BB22}" dt="2024-06-17T05:11:14.279" v="322"/>
        <pc:sldMkLst>
          <pc:docMk/>
          <pc:sldMk cId="2007375921" sldId="2147138200"/>
        </pc:sldMkLst>
        <pc:spChg chg="mod">
          <ac:chgData name="Oehrli, Stefan" userId="3f36891e-f853-43e7-bcbc-2879a2513833" providerId="ADAL" clId="{262C7BF4-86F5-CD49-A8E8-3A77A5D2BB22}" dt="2024-06-17T05:09:51.356" v="317"/>
          <ac:spMkLst>
            <pc:docMk/>
            <pc:sldMk cId="2007375921" sldId="2147138200"/>
            <ac:spMk id="38" creationId="{81C32163-2FCE-1D0A-32E6-87C45FE8B73F}"/>
          </ac:spMkLst>
        </pc:spChg>
        <pc:spChg chg="mod">
          <ac:chgData name="Oehrli, Stefan" userId="3f36891e-f853-43e7-bcbc-2879a2513833" providerId="ADAL" clId="{262C7BF4-86F5-CD49-A8E8-3A77A5D2BB22}" dt="2024-06-17T05:04:26.637" v="311" actId="20577"/>
          <ac:spMkLst>
            <pc:docMk/>
            <pc:sldMk cId="2007375921" sldId="2147138200"/>
            <ac:spMk id="39" creationId="{A6E29AF1-44F3-982F-705B-C75E1D360B58}"/>
          </ac:spMkLst>
        </pc:spChg>
        <pc:spChg chg="mod">
          <ac:chgData name="Oehrli, Stefan" userId="3f36891e-f853-43e7-bcbc-2879a2513833" providerId="ADAL" clId="{262C7BF4-86F5-CD49-A8E8-3A77A5D2BB22}" dt="2024-06-17T05:11:14.279" v="322"/>
          <ac:spMkLst>
            <pc:docMk/>
            <pc:sldMk cId="2007375921" sldId="2147138200"/>
            <ac:spMk id="40" creationId="{F812FB05-C283-CDA9-B557-B5415BD2668A}"/>
          </ac:spMkLst>
        </pc:spChg>
      </pc:sldChg>
      <pc:sldChg chg="del">
        <pc:chgData name="Oehrli, Stefan" userId="3f36891e-f853-43e7-bcbc-2879a2513833" providerId="ADAL" clId="{262C7BF4-86F5-CD49-A8E8-3A77A5D2BB22}" dt="2024-06-16T22:20:32.589" v="50" actId="2696"/>
        <pc:sldMkLst>
          <pc:docMk/>
          <pc:sldMk cId="2363004670" sldId="2147138201"/>
        </pc:sldMkLst>
      </pc:sldChg>
      <pc:sldChg chg="modSp add mod ord">
        <pc:chgData name="Oehrli, Stefan" userId="3f36891e-f853-43e7-bcbc-2879a2513833" providerId="ADAL" clId="{262C7BF4-86F5-CD49-A8E8-3A77A5D2BB22}" dt="2024-06-17T05:30:09.918" v="385" actId="20578"/>
        <pc:sldMkLst>
          <pc:docMk/>
          <pc:sldMk cId="2659448521" sldId="2147138201"/>
        </pc:sldMkLst>
        <pc:spChg chg="mod">
          <ac:chgData name="Oehrli, Stefan" userId="3f36891e-f853-43e7-bcbc-2879a2513833" providerId="ADAL" clId="{262C7BF4-86F5-CD49-A8E8-3A77A5D2BB22}" dt="2024-06-17T05:04:42" v="312"/>
          <ac:spMkLst>
            <pc:docMk/>
            <pc:sldMk cId="2659448521" sldId="2147138201"/>
            <ac:spMk id="38" creationId="{81C32163-2FCE-1D0A-32E6-87C45FE8B73F}"/>
          </ac:spMkLst>
        </pc:spChg>
        <pc:spChg chg="mod">
          <ac:chgData name="Oehrli, Stefan" userId="3f36891e-f853-43e7-bcbc-2879a2513833" providerId="ADAL" clId="{262C7BF4-86F5-CD49-A8E8-3A77A5D2BB22}" dt="2024-06-17T05:04:22.682" v="310" actId="20577"/>
          <ac:spMkLst>
            <pc:docMk/>
            <pc:sldMk cId="2659448521" sldId="2147138201"/>
            <ac:spMk id="39" creationId="{A6E29AF1-44F3-982F-705B-C75E1D360B58}"/>
          </ac:spMkLst>
        </pc:spChg>
        <pc:spChg chg="mod">
          <ac:chgData name="Oehrli, Stefan" userId="3f36891e-f853-43e7-bcbc-2879a2513833" providerId="ADAL" clId="{262C7BF4-86F5-CD49-A8E8-3A77A5D2BB22}" dt="2024-06-17T05:09:25.185" v="314"/>
          <ac:spMkLst>
            <pc:docMk/>
            <pc:sldMk cId="2659448521" sldId="2147138201"/>
            <ac:spMk id="40" creationId="{F812FB05-C283-CDA9-B557-B5415BD2668A}"/>
          </ac:spMkLst>
        </pc:spChg>
      </pc:sldChg>
      <pc:sldChg chg="modSp add mod">
        <pc:chgData name="Oehrli, Stefan" userId="3f36891e-f853-43e7-bcbc-2879a2513833" providerId="ADAL" clId="{262C7BF4-86F5-CD49-A8E8-3A77A5D2BB22}" dt="2024-06-17T05:24:05.049" v="365"/>
        <pc:sldMkLst>
          <pc:docMk/>
          <pc:sldMk cId="1337759943" sldId="2147138202"/>
        </pc:sldMkLst>
        <pc:spChg chg="mod">
          <ac:chgData name="Oehrli, Stefan" userId="3f36891e-f853-43e7-bcbc-2879a2513833" providerId="ADAL" clId="{262C7BF4-86F5-CD49-A8E8-3A77A5D2BB22}" dt="2024-06-17T05:24:05.049" v="365"/>
          <ac:spMkLst>
            <pc:docMk/>
            <pc:sldMk cId="1337759943" sldId="2147138202"/>
            <ac:spMk id="38" creationId="{81C32163-2FCE-1D0A-32E6-87C45FE8B73F}"/>
          </ac:spMkLst>
        </pc:spChg>
        <pc:spChg chg="mod">
          <ac:chgData name="Oehrli, Stefan" userId="3f36891e-f853-43e7-bcbc-2879a2513833" providerId="ADAL" clId="{262C7BF4-86F5-CD49-A8E8-3A77A5D2BB22}" dt="2024-06-17T05:03:33.536" v="243" actId="20577"/>
          <ac:spMkLst>
            <pc:docMk/>
            <pc:sldMk cId="1337759943" sldId="2147138202"/>
            <ac:spMk id="39" creationId="{A6E29AF1-44F3-982F-705B-C75E1D360B58}"/>
          </ac:spMkLst>
        </pc:spChg>
        <pc:spChg chg="mod">
          <ac:chgData name="Oehrli, Stefan" userId="3f36891e-f853-43e7-bcbc-2879a2513833" providerId="ADAL" clId="{262C7BF4-86F5-CD49-A8E8-3A77A5D2BB22}" dt="2024-06-17T05:20:06.910" v="332"/>
          <ac:spMkLst>
            <pc:docMk/>
            <pc:sldMk cId="1337759943" sldId="2147138202"/>
            <ac:spMk id="40" creationId="{F812FB05-C283-CDA9-B557-B5415BD2668A}"/>
          </ac:spMkLst>
        </pc:spChg>
      </pc:sldChg>
      <pc:sldChg chg="add del">
        <pc:chgData name="Oehrli, Stefan" userId="3f36891e-f853-43e7-bcbc-2879a2513833" providerId="ADAL" clId="{262C7BF4-86F5-CD49-A8E8-3A77A5D2BB22}" dt="2024-06-17T04:59:21.517" v="218" actId="2696"/>
        <pc:sldMkLst>
          <pc:docMk/>
          <pc:sldMk cId="1485534821" sldId="2147138203"/>
        </pc:sldMkLst>
      </pc:sldChg>
      <pc:sldChg chg="modSp add mod ord">
        <pc:chgData name="Oehrli, Stefan" userId="3f36891e-f853-43e7-bcbc-2879a2513833" providerId="ADAL" clId="{262C7BF4-86F5-CD49-A8E8-3A77A5D2BB22}" dt="2024-06-17T05:31:05.994" v="391" actId="20578"/>
        <pc:sldMkLst>
          <pc:docMk/>
          <pc:sldMk cId="4144844284" sldId="2147138204"/>
        </pc:sldMkLst>
        <pc:spChg chg="mod">
          <ac:chgData name="Oehrli, Stefan" userId="3f36891e-f853-43e7-bcbc-2879a2513833" providerId="ADAL" clId="{262C7BF4-86F5-CD49-A8E8-3A77A5D2BB22}" dt="2024-06-17T05:24:01.534" v="364" actId="20577"/>
          <ac:spMkLst>
            <pc:docMk/>
            <pc:sldMk cId="4144844284" sldId="2147138204"/>
            <ac:spMk id="38" creationId="{81C32163-2FCE-1D0A-32E6-87C45FE8B73F}"/>
          </ac:spMkLst>
        </pc:spChg>
        <pc:spChg chg="mod">
          <ac:chgData name="Oehrli, Stefan" userId="3f36891e-f853-43e7-bcbc-2879a2513833" providerId="ADAL" clId="{262C7BF4-86F5-CD49-A8E8-3A77A5D2BB22}" dt="2024-06-17T05:02:17.526" v="236" actId="20577"/>
          <ac:spMkLst>
            <pc:docMk/>
            <pc:sldMk cId="4144844284" sldId="2147138204"/>
            <ac:spMk id="39" creationId="{A6E29AF1-44F3-982F-705B-C75E1D360B58}"/>
          </ac:spMkLst>
        </pc:spChg>
        <pc:spChg chg="mod">
          <ac:chgData name="Oehrli, Stefan" userId="3f36891e-f853-43e7-bcbc-2879a2513833" providerId="ADAL" clId="{262C7BF4-86F5-CD49-A8E8-3A77A5D2BB22}" dt="2024-06-17T05:19:27.373" v="330" actId="114"/>
          <ac:spMkLst>
            <pc:docMk/>
            <pc:sldMk cId="4144844284" sldId="2147138204"/>
            <ac:spMk id="40" creationId="{F812FB05-C283-CDA9-B557-B5415BD2668A}"/>
          </ac:spMkLst>
        </pc:spChg>
      </pc:sldChg>
      <pc:sldChg chg="modSp add mod ord">
        <pc:chgData name="Oehrli, Stefan" userId="3f36891e-f853-43e7-bcbc-2879a2513833" providerId="ADAL" clId="{262C7BF4-86F5-CD49-A8E8-3A77A5D2BB22}" dt="2024-06-17T05:35:20.452" v="392" actId="20578"/>
        <pc:sldMkLst>
          <pc:docMk/>
          <pc:sldMk cId="1476726504" sldId="2147138205"/>
        </pc:sldMkLst>
        <pc:spChg chg="mod">
          <ac:chgData name="Oehrli, Stefan" userId="3f36891e-f853-43e7-bcbc-2879a2513833" providerId="ADAL" clId="{262C7BF4-86F5-CD49-A8E8-3A77A5D2BB22}" dt="2024-06-17T05:00:24.180" v="232"/>
          <ac:spMkLst>
            <pc:docMk/>
            <pc:sldMk cId="1476726504" sldId="2147138205"/>
            <ac:spMk id="38" creationId="{81C32163-2FCE-1D0A-32E6-87C45FE8B73F}"/>
          </ac:spMkLst>
        </pc:spChg>
        <pc:spChg chg="mod">
          <ac:chgData name="Oehrli, Stefan" userId="3f36891e-f853-43e7-bcbc-2879a2513833" providerId="ADAL" clId="{262C7BF4-86F5-CD49-A8E8-3A77A5D2BB22}" dt="2024-06-17T05:00:22.766" v="231" actId="20577"/>
          <ac:spMkLst>
            <pc:docMk/>
            <pc:sldMk cId="1476726504" sldId="2147138205"/>
            <ac:spMk id="39" creationId="{A6E29AF1-44F3-982F-705B-C75E1D360B58}"/>
          </ac:spMkLst>
        </pc:spChg>
        <pc:spChg chg="mod">
          <ac:chgData name="Oehrli, Stefan" userId="3f36891e-f853-43e7-bcbc-2879a2513833" providerId="ADAL" clId="{262C7BF4-86F5-CD49-A8E8-3A77A5D2BB22}" dt="2024-06-17T05:13:28.851" v="323"/>
          <ac:spMkLst>
            <pc:docMk/>
            <pc:sldMk cId="1476726504" sldId="2147138205"/>
            <ac:spMk id="40" creationId="{F812FB05-C283-CDA9-B557-B5415BD2668A}"/>
          </ac:spMkLst>
        </pc:spChg>
      </pc:sldChg>
      <pc:sldChg chg="addSp delSp modSp new mod ord modClrScheme chgLayout">
        <pc:chgData name="Oehrli, Stefan" userId="3f36891e-f853-43e7-bcbc-2879a2513833" providerId="ADAL" clId="{262C7BF4-86F5-CD49-A8E8-3A77A5D2BB22}" dt="2024-06-17T13:00:48.115" v="3518" actId="20577"/>
        <pc:sldMkLst>
          <pc:docMk/>
          <pc:sldMk cId="3919350327" sldId="2147138206"/>
        </pc:sldMkLst>
        <pc:spChg chg="del mod ord">
          <ac:chgData name="Oehrli, Stefan" userId="3f36891e-f853-43e7-bcbc-2879a2513833" providerId="ADAL" clId="{262C7BF4-86F5-CD49-A8E8-3A77A5D2BB22}" dt="2024-06-17T05:29:52.391" v="379" actId="700"/>
          <ac:spMkLst>
            <pc:docMk/>
            <pc:sldMk cId="3919350327" sldId="2147138206"/>
            <ac:spMk id="2" creationId="{6C9C662E-4C23-DAA6-664E-C8CBEB09E42E}"/>
          </ac:spMkLst>
        </pc:spChg>
        <pc:spChg chg="del mod ord">
          <ac:chgData name="Oehrli, Stefan" userId="3f36891e-f853-43e7-bcbc-2879a2513833" providerId="ADAL" clId="{262C7BF4-86F5-CD49-A8E8-3A77A5D2BB22}" dt="2024-06-17T05:29:52.391" v="379" actId="700"/>
          <ac:spMkLst>
            <pc:docMk/>
            <pc:sldMk cId="3919350327" sldId="2147138206"/>
            <ac:spMk id="3" creationId="{3E16BB55-6CCC-8CBF-F68B-4766604FA147}"/>
          </ac:spMkLst>
        </pc:spChg>
        <pc:spChg chg="del mod ord">
          <ac:chgData name="Oehrli, Stefan" userId="3f36891e-f853-43e7-bcbc-2879a2513833" providerId="ADAL" clId="{262C7BF4-86F5-CD49-A8E8-3A77A5D2BB22}" dt="2024-06-17T05:29:52.391" v="379" actId="700"/>
          <ac:spMkLst>
            <pc:docMk/>
            <pc:sldMk cId="3919350327" sldId="2147138206"/>
            <ac:spMk id="4" creationId="{75029A32-EB45-51F5-E2D6-1E67A0863542}"/>
          </ac:spMkLst>
        </pc:spChg>
        <pc:spChg chg="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5" creationId="{4136C58D-15E0-EE3F-3DF2-DE72E8F87D46}"/>
          </ac:spMkLst>
        </pc:spChg>
        <pc:spChg chg="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6" creationId="{6DD1DA18-A6AB-AE46-257F-A63FFA900D03}"/>
          </ac:spMkLst>
        </pc:spChg>
        <pc:spChg chg="add del mod ord">
          <ac:chgData name="Oehrli, Stefan" userId="3f36891e-f853-43e7-bcbc-2879a2513833" providerId="ADAL" clId="{262C7BF4-86F5-CD49-A8E8-3A77A5D2BB22}" dt="2024-06-17T12:46:37.378" v="3124" actId="700"/>
          <ac:spMkLst>
            <pc:docMk/>
            <pc:sldMk cId="3919350327" sldId="2147138206"/>
            <ac:spMk id="7" creationId="{05AFBEC8-CF15-BA1E-092F-8395F3BB9DBA}"/>
          </ac:spMkLst>
        </pc:spChg>
        <pc:spChg chg="add del mod ord">
          <ac:chgData name="Oehrli, Stefan" userId="3f36891e-f853-43e7-bcbc-2879a2513833" providerId="ADAL" clId="{262C7BF4-86F5-CD49-A8E8-3A77A5D2BB22}" dt="2024-06-17T12:46:37.378" v="3124" actId="700"/>
          <ac:spMkLst>
            <pc:docMk/>
            <pc:sldMk cId="3919350327" sldId="2147138206"/>
            <ac:spMk id="8" creationId="{F95CEE0A-AF5A-BE20-773B-D401310D122A}"/>
          </ac:spMkLst>
        </pc:spChg>
        <pc:spChg chg="add del mod ord">
          <ac:chgData name="Oehrli, Stefan" userId="3f36891e-f853-43e7-bcbc-2879a2513833" providerId="ADAL" clId="{262C7BF4-86F5-CD49-A8E8-3A77A5D2BB22}" dt="2024-06-17T12:46:37.378" v="3124" actId="700"/>
          <ac:spMkLst>
            <pc:docMk/>
            <pc:sldMk cId="3919350327" sldId="2147138206"/>
            <ac:spMk id="9" creationId="{3279521D-4FFA-BAE6-3070-246C90D6FF79}"/>
          </ac:spMkLst>
        </pc:spChg>
        <pc:spChg chg="add del 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10" creationId="{CF9D4168-B5F5-2032-2F5E-996E54635671}"/>
          </ac:spMkLst>
        </pc:spChg>
        <pc:spChg chg="add del 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11" creationId="{7AAD82F2-CBB4-933F-FCED-904C77A7A0A6}"/>
          </ac:spMkLst>
        </pc:spChg>
        <pc:spChg chg="add del 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12" creationId="{276408CF-7DE9-7B4E-BD40-84BF3A408875}"/>
          </ac:spMkLst>
        </pc:spChg>
        <pc:spChg chg="add del 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13" creationId="{6AAB5FE3-C856-3CAF-D32C-11DA16F58129}"/>
          </ac:spMkLst>
        </pc:spChg>
        <pc:spChg chg="add del 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14" creationId="{89BD2E23-D7BD-AC4C-678F-95DAE98254E5}"/>
          </ac:spMkLst>
        </pc:spChg>
        <pc:spChg chg="add del mod ord">
          <ac:chgData name="Oehrli, Stefan" userId="3f36891e-f853-43e7-bcbc-2879a2513833" providerId="ADAL" clId="{262C7BF4-86F5-CD49-A8E8-3A77A5D2BB22}" dt="2024-06-17T12:46:41.173" v="3125" actId="700"/>
          <ac:spMkLst>
            <pc:docMk/>
            <pc:sldMk cId="3919350327" sldId="2147138206"/>
            <ac:spMk id="15" creationId="{E3642794-6F29-358A-8B68-66F727BC251A}"/>
          </ac:spMkLst>
        </pc:spChg>
        <pc:spChg chg="add mod ord">
          <ac:chgData name="Oehrli, Stefan" userId="3f36891e-f853-43e7-bcbc-2879a2513833" providerId="ADAL" clId="{262C7BF4-86F5-CD49-A8E8-3A77A5D2BB22}" dt="2024-06-17T12:56:14.854" v="3311"/>
          <ac:spMkLst>
            <pc:docMk/>
            <pc:sldMk cId="3919350327" sldId="2147138206"/>
            <ac:spMk id="16" creationId="{CE950502-B7E8-7791-B218-DAAFBE22A012}"/>
          </ac:spMkLst>
        </pc:spChg>
        <pc:spChg chg="add mod ord">
          <ac:chgData name="Oehrli, Stefan" userId="3f36891e-f853-43e7-bcbc-2879a2513833" providerId="ADAL" clId="{262C7BF4-86F5-CD49-A8E8-3A77A5D2BB22}" dt="2024-06-17T13:00:48.115" v="3518" actId="20577"/>
          <ac:spMkLst>
            <pc:docMk/>
            <pc:sldMk cId="3919350327" sldId="2147138206"/>
            <ac:spMk id="17" creationId="{3D2E9805-E45D-4CD5-B19C-0B9DCFB22375}"/>
          </ac:spMkLst>
        </pc:spChg>
        <pc:spChg chg="add mod ord">
          <ac:chgData name="Oehrli, Stefan" userId="3f36891e-f853-43e7-bcbc-2879a2513833" providerId="ADAL" clId="{262C7BF4-86F5-CD49-A8E8-3A77A5D2BB22}" dt="2024-06-17T12:56:43.901" v="3324"/>
          <ac:spMkLst>
            <pc:docMk/>
            <pc:sldMk cId="3919350327" sldId="2147138206"/>
            <ac:spMk id="18" creationId="{FB531463-B9B9-C63A-1702-0DD229803848}"/>
          </ac:spMkLst>
        </pc:spChg>
        <pc:spChg chg="add del mod ord">
          <ac:chgData name="Oehrli, Stefan" userId="3f36891e-f853-43e7-bcbc-2879a2513833" providerId="ADAL" clId="{262C7BF4-86F5-CD49-A8E8-3A77A5D2BB22}" dt="2024-06-17T12:55:47.838" v="3306"/>
          <ac:spMkLst>
            <pc:docMk/>
            <pc:sldMk cId="3919350327" sldId="2147138206"/>
            <ac:spMk id="19" creationId="{00BA811F-9C33-20E2-330D-5DB755C13087}"/>
          </ac:spMkLst>
        </pc:spChg>
        <pc:spChg chg="add mod">
          <ac:chgData name="Oehrli, Stefan" userId="3f36891e-f853-43e7-bcbc-2879a2513833" providerId="ADAL" clId="{262C7BF4-86F5-CD49-A8E8-3A77A5D2BB22}" dt="2024-06-17T12:57:21.796" v="3392" actId="767"/>
          <ac:spMkLst>
            <pc:docMk/>
            <pc:sldMk cId="3919350327" sldId="2147138206"/>
            <ac:spMk id="21" creationId="{0D2AFEEE-5F90-0AB7-EE90-7FEB4D1A5345}"/>
          </ac:spMkLst>
        </pc:spChg>
        <pc:spChg chg="add del mod">
          <ac:chgData name="Oehrli, Stefan" userId="3f36891e-f853-43e7-bcbc-2879a2513833" providerId="ADAL" clId="{262C7BF4-86F5-CD49-A8E8-3A77A5D2BB22}" dt="2024-06-17T12:58:50.373" v="3398"/>
          <ac:spMkLst>
            <pc:docMk/>
            <pc:sldMk cId="3919350327" sldId="2147138206"/>
            <ac:spMk id="23" creationId="{5A70E15E-447E-8CCF-DE72-2695D888E77C}"/>
          </ac:spMkLst>
        </pc:spChg>
        <pc:picChg chg="add del mod">
          <ac:chgData name="Oehrli, Stefan" userId="3f36891e-f853-43e7-bcbc-2879a2513833" providerId="ADAL" clId="{262C7BF4-86F5-CD49-A8E8-3A77A5D2BB22}" dt="2024-06-17T12:58:49.344" v="3397" actId="478"/>
          <ac:picMkLst>
            <pc:docMk/>
            <pc:sldMk cId="3919350327" sldId="2147138206"/>
            <ac:picMk id="20" creationId="{8859F016-107F-C231-5766-926950A614C9}"/>
          </ac:picMkLst>
        </pc:picChg>
        <pc:picChg chg="add mod">
          <ac:chgData name="Oehrli, Stefan" userId="3f36891e-f853-43e7-bcbc-2879a2513833" providerId="ADAL" clId="{262C7BF4-86F5-CD49-A8E8-3A77A5D2BB22}" dt="2024-06-17T12:58:56.566" v="3404" actId="1076"/>
          <ac:picMkLst>
            <pc:docMk/>
            <pc:sldMk cId="3919350327" sldId="2147138206"/>
            <ac:picMk id="24" creationId="{0D754E0D-7D50-ED25-9460-A50719D195B3}"/>
          </ac:picMkLst>
        </pc:picChg>
      </pc:sldChg>
      <pc:sldChg chg="addSp delSp modSp add mod">
        <pc:chgData name="Oehrli, Stefan" userId="3f36891e-f853-43e7-bcbc-2879a2513833" providerId="ADAL" clId="{262C7BF4-86F5-CD49-A8E8-3A77A5D2BB22}" dt="2024-06-17T09:01:58.823" v="1217" actId="1076"/>
        <pc:sldMkLst>
          <pc:docMk/>
          <pc:sldMk cId="2842768397" sldId="2147138207"/>
        </pc:sldMkLst>
        <pc:spChg chg="add mod">
          <ac:chgData name="Oehrli, Stefan" userId="3f36891e-f853-43e7-bcbc-2879a2513833" providerId="ADAL" clId="{262C7BF4-86F5-CD49-A8E8-3A77A5D2BB22}" dt="2024-06-17T09:01:58.823" v="1217" actId="1076"/>
          <ac:spMkLst>
            <pc:docMk/>
            <pc:sldMk cId="2842768397" sldId="2147138207"/>
            <ac:spMk id="3" creationId="{DC8303DC-0904-C614-4E46-DD627B804599}"/>
          </ac:spMkLst>
        </pc:spChg>
        <pc:spChg chg="mod">
          <ac:chgData name="Oehrli, Stefan" userId="3f36891e-f853-43e7-bcbc-2879a2513833" providerId="ADAL" clId="{262C7BF4-86F5-CD49-A8E8-3A77A5D2BB22}" dt="2024-06-17T08:56:04.448" v="1196"/>
          <ac:spMkLst>
            <pc:docMk/>
            <pc:sldMk cId="2842768397" sldId="2147138207"/>
            <ac:spMk id="7" creationId="{05AFBEC8-CF15-BA1E-092F-8395F3BB9DBA}"/>
          </ac:spMkLst>
        </pc:spChg>
        <pc:spChg chg="del mod">
          <ac:chgData name="Oehrli, Stefan" userId="3f36891e-f853-43e7-bcbc-2879a2513833" providerId="ADAL" clId="{262C7BF4-86F5-CD49-A8E8-3A77A5D2BB22}" dt="2024-06-17T09:01:05.523" v="1198"/>
          <ac:spMkLst>
            <pc:docMk/>
            <pc:sldMk cId="2842768397" sldId="2147138207"/>
            <ac:spMk id="8" creationId="{F95CEE0A-AF5A-BE20-773B-D401310D122A}"/>
          </ac:spMkLst>
        </pc:spChg>
        <pc:spChg chg="mod">
          <ac:chgData name="Oehrli, Stefan" userId="3f36891e-f853-43e7-bcbc-2879a2513833" providerId="ADAL" clId="{262C7BF4-86F5-CD49-A8E8-3A77A5D2BB22}" dt="2024-06-17T08:55:59.359" v="1195" actId="20577"/>
          <ac:spMkLst>
            <pc:docMk/>
            <pc:sldMk cId="2842768397" sldId="2147138207"/>
            <ac:spMk id="9" creationId="{3279521D-4FFA-BAE6-3070-246C90D6FF79}"/>
          </ac:spMkLst>
        </pc:spChg>
        <pc:picChg chg="add mod">
          <ac:chgData name="Oehrli, Stefan" userId="3f36891e-f853-43e7-bcbc-2879a2513833" providerId="ADAL" clId="{262C7BF4-86F5-CD49-A8E8-3A77A5D2BB22}" dt="2024-06-17T09:01:16.026" v="1200" actId="1076"/>
          <ac:picMkLst>
            <pc:docMk/>
            <pc:sldMk cId="2842768397" sldId="2147138207"/>
            <ac:picMk id="2" creationId="{26A9FEC2-6FC7-0DE9-AAAB-8E7353D2AB7B}"/>
          </ac:picMkLst>
        </pc:picChg>
      </pc:sldChg>
      <pc:sldChg chg="addSp delSp modSp add mod ord modClrScheme chgLayout">
        <pc:chgData name="Oehrli, Stefan" userId="3f36891e-f853-43e7-bcbc-2879a2513833" providerId="ADAL" clId="{262C7BF4-86F5-CD49-A8E8-3A77A5D2BB22}" dt="2024-06-17T12:51:43.822" v="3276" actId="14100"/>
        <pc:sldMkLst>
          <pc:docMk/>
          <pc:sldMk cId="1826387027" sldId="2147138208"/>
        </pc:sldMkLst>
        <pc:spChg chg="add mod ord">
          <ac:chgData name="Oehrli, Stefan" userId="3f36891e-f853-43e7-bcbc-2879a2513833" providerId="ADAL" clId="{262C7BF4-86F5-CD49-A8E8-3A77A5D2BB22}" dt="2024-06-17T12:49:34.177" v="3207" actId="700"/>
          <ac:spMkLst>
            <pc:docMk/>
            <pc:sldMk cId="1826387027" sldId="2147138208"/>
            <ac:spMk id="2" creationId="{C01E0DD3-9545-9315-F9C7-C62682DC6EAB}"/>
          </ac:spMkLst>
        </pc:spChg>
        <pc:spChg chg="add del mod ord">
          <ac:chgData name="Oehrli, Stefan" userId="3f36891e-f853-43e7-bcbc-2879a2513833" providerId="ADAL" clId="{262C7BF4-86F5-CD49-A8E8-3A77A5D2BB22}" dt="2024-06-17T12:49:34.177" v="3207" actId="700"/>
          <ac:spMkLst>
            <pc:docMk/>
            <pc:sldMk cId="1826387027" sldId="2147138208"/>
            <ac:spMk id="3" creationId="{E8B8BC52-9286-42E6-8D21-C3814DADD2B9}"/>
          </ac:spMkLst>
        </pc:spChg>
        <pc:spChg chg="add mod ord">
          <ac:chgData name="Oehrli, Stefan" userId="3f36891e-f853-43e7-bcbc-2879a2513833" providerId="ADAL" clId="{262C7BF4-86F5-CD49-A8E8-3A77A5D2BB22}" dt="2024-06-17T12:49:34.177" v="3207" actId="700"/>
          <ac:spMkLst>
            <pc:docMk/>
            <pc:sldMk cId="1826387027" sldId="2147138208"/>
            <ac:spMk id="4" creationId="{5D88C90C-F13E-E913-3334-BC1F538C5495}"/>
          </ac:spMkLst>
        </pc:spChg>
        <pc:spChg chg="mod ord">
          <ac:chgData name="Oehrli, Stefan" userId="3f36891e-f853-43e7-bcbc-2879a2513833" providerId="ADAL" clId="{262C7BF4-86F5-CD49-A8E8-3A77A5D2BB22}" dt="2024-06-17T12:49:34.177" v="3207" actId="700"/>
          <ac:spMkLst>
            <pc:docMk/>
            <pc:sldMk cId="1826387027" sldId="2147138208"/>
            <ac:spMk id="5" creationId="{4136C58D-15E0-EE3F-3DF2-DE72E8F87D46}"/>
          </ac:spMkLst>
        </pc:spChg>
        <pc:spChg chg="mod ord">
          <ac:chgData name="Oehrli, Stefan" userId="3f36891e-f853-43e7-bcbc-2879a2513833" providerId="ADAL" clId="{262C7BF4-86F5-CD49-A8E8-3A77A5D2BB22}" dt="2024-06-17T12:49:34.177" v="3207" actId="700"/>
          <ac:spMkLst>
            <pc:docMk/>
            <pc:sldMk cId="1826387027" sldId="2147138208"/>
            <ac:spMk id="6" creationId="{6DD1DA18-A6AB-AE46-257F-A63FFA900D03}"/>
          </ac:spMkLst>
        </pc:spChg>
        <pc:spChg chg="del mod ord">
          <ac:chgData name="Oehrli, Stefan" userId="3f36891e-f853-43e7-bcbc-2879a2513833" providerId="ADAL" clId="{262C7BF4-86F5-CD49-A8E8-3A77A5D2BB22}" dt="2024-06-17T12:29:01.517" v="2779" actId="700"/>
          <ac:spMkLst>
            <pc:docMk/>
            <pc:sldMk cId="1826387027" sldId="2147138208"/>
            <ac:spMk id="7" creationId="{05AFBEC8-CF15-BA1E-092F-8395F3BB9DBA}"/>
          </ac:spMkLst>
        </pc:spChg>
        <pc:spChg chg="del mod ord">
          <ac:chgData name="Oehrli, Stefan" userId="3f36891e-f853-43e7-bcbc-2879a2513833" providerId="ADAL" clId="{262C7BF4-86F5-CD49-A8E8-3A77A5D2BB22}" dt="2024-06-17T12:29:01.517" v="2779" actId="700"/>
          <ac:spMkLst>
            <pc:docMk/>
            <pc:sldMk cId="1826387027" sldId="2147138208"/>
            <ac:spMk id="8" creationId="{F95CEE0A-AF5A-BE20-773B-D401310D122A}"/>
          </ac:spMkLst>
        </pc:spChg>
        <pc:spChg chg="del mod ord">
          <ac:chgData name="Oehrli, Stefan" userId="3f36891e-f853-43e7-bcbc-2879a2513833" providerId="ADAL" clId="{262C7BF4-86F5-CD49-A8E8-3A77A5D2BB22}" dt="2024-06-17T12:29:01.517" v="2779" actId="700"/>
          <ac:spMkLst>
            <pc:docMk/>
            <pc:sldMk cId="1826387027" sldId="2147138208"/>
            <ac:spMk id="9" creationId="{3279521D-4FFA-BAE6-3070-246C90D6FF79}"/>
          </ac:spMkLst>
        </pc:spChg>
        <pc:spChg chg="add mod ord">
          <ac:chgData name="Oehrli, Stefan" userId="3f36891e-f853-43e7-bcbc-2879a2513833" providerId="ADAL" clId="{262C7BF4-86F5-CD49-A8E8-3A77A5D2BB22}" dt="2024-06-17T12:51:41.023" v="3275" actId="1076"/>
          <ac:spMkLst>
            <pc:docMk/>
            <pc:sldMk cId="1826387027" sldId="2147138208"/>
            <ac:spMk id="10" creationId="{BC83AAD8-4162-6508-AF2C-89CF10E331B6}"/>
          </ac:spMkLst>
        </pc:spChg>
        <pc:spChg chg="add mod ord">
          <ac:chgData name="Oehrli, Stefan" userId="3f36891e-f853-43e7-bcbc-2879a2513833" providerId="ADAL" clId="{262C7BF4-86F5-CD49-A8E8-3A77A5D2BB22}" dt="2024-06-17T12:50:37.039" v="3237" actId="14100"/>
          <ac:spMkLst>
            <pc:docMk/>
            <pc:sldMk cId="1826387027" sldId="2147138208"/>
            <ac:spMk id="11" creationId="{985BF40E-437F-2325-EA70-48DE6B5633E5}"/>
          </ac:spMkLst>
        </pc:spChg>
        <pc:spChg chg="add mod ord">
          <ac:chgData name="Oehrli, Stefan" userId="3f36891e-f853-43e7-bcbc-2879a2513833" providerId="ADAL" clId="{262C7BF4-86F5-CD49-A8E8-3A77A5D2BB22}" dt="2024-06-17T12:51:43.822" v="3276" actId="14100"/>
          <ac:spMkLst>
            <pc:docMk/>
            <pc:sldMk cId="1826387027" sldId="2147138208"/>
            <ac:spMk id="12" creationId="{A821F9FE-742F-7D85-2EFC-41A1B2352B7B}"/>
          </ac:spMkLst>
        </pc:spChg>
        <pc:spChg chg="add mod ord">
          <ac:chgData name="Oehrli, Stefan" userId="3f36891e-f853-43e7-bcbc-2879a2513833" providerId="ADAL" clId="{262C7BF4-86F5-CD49-A8E8-3A77A5D2BB22}" dt="2024-06-17T12:51:07.651" v="3245" actId="20577"/>
          <ac:spMkLst>
            <pc:docMk/>
            <pc:sldMk cId="1826387027" sldId="2147138208"/>
            <ac:spMk id="13" creationId="{416717D2-C129-C4BA-E326-312196736047}"/>
          </ac:spMkLst>
        </pc:spChg>
      </pc:sldChg>
      <pc:sldChg chg="addSp delSp modSp new mod chgLayout">
        <pc:chgData name="Oehrli, Stefan" userId="3f36891e-f853-43e7-bcbc-2879a2513833" providerId="ADAL" clId="{262C7BF4-86F5-CD49-A8E8-3A77A5D2BB22}" dt="2024-06-17T11:41:35.815" v="2778" actId="5793"/>
        <pc:sldMkLst>
          <pc:docMk/>
          <pc:sldMk cId="2070604102" sldId="2147138209"/>
        </pc:sldMkLst>
        <pc:spChg chg="del mod ord">
          <ac:chgData name="Oehrli, Stefan" userId="3f36891e-f853-43e7-bcbc-2879a2513833" providerId="ADAL" clId="{262C7BF4-86F5-CD49-A8E8-3A77A5D2BB22}" dt="2024-06-17T05:30:14.912" v="387" actId="700"/>
          <ac:spMkLst>
            <pc:docMk/>
            <pc:sldMk cId="2070604102" sldId="2147138209"/>
            <ac:spMk id="2" creationId="{F8CFDA45-EDE5-B712-732F-5F42E0A4E38E}"/>
          </ac:spMkLst>
        </pc:spChg>
        <pc:spChg chg="del mod ord">
          <ac:chgData name="Oehrli, Stefan" userId="3f36891e-f853-43e7-bcbc-2879a2513833" providerId="ADAL" clId="{262C7BF4-86F5-CD49-A8E8-3A77A5D2BB22}" dt="2024-06-17T05:30:14.912" v="387" actId="700"/>
          <ac:spMkLst>
            <pc:docMk/>
            <pc:sldMk cId="2070604102" sldId="2147138209"/>
            <ac:spMk id="3" creationId="{0B31D8AB-EF7B-809B-1857-CE32EBE7C92C}"/>
          </ac:spMkLst>
        </pc:spChg>
        <pc:spChg chg="del mod ord">
          <ac:chgData name="Oehrli, Stefan" userId="3f36891e-f853-43e7-bcbc-2879a2513833" providerId="ADAL" clId="{262C7BF4-86F5-CD49-A8E8-3A77A5D2BB22}" dt="2024-06-17T05:30:14.912" v="387" actId="700"/>
          <ac:spMkLst>
            <pc:docMk/>
            <pc:sldMk cId="2070604102" sldId="2147138209"/>
            <ac:spMk id="4" creationId="{FA513180-2FCE-57F8-27DD-B155738ADA3C}"/>
          </ac:spMkLst>
        </pc:spChg>
        <pc:spChg chg="mod ord">
          <ac:chgData name="Oehrli, Stefan" userId="3f36891e-f853-43e7-bcbc-2879a2513833" providerId="ADAL" clId="{262C7BF4-86F5-CD49-A8E8-3A77A5D2BB22}" dt="2024-06-17T05:30:14.912" v="387" actId="700"/>
          <ac:spMkLst>
            <pc:docMk/>
            <pc:sldMk cId="2070604102" sldId="2147138209"/>
            <ac:spMk id="5" creationId="{B08AC496-66BE-601C-9E61-A5FB43899202}"/>
          </ac:spMkLst>
        </pc:spChg>
        <pc:spChg chg="mod ord">
          <ac:chgData name="Oehrli, Stefan" userId="3f36891e-f853-43e7-bcbc-2879a2513833" providerId="ADAL" clId="{262C7BF4-86F5-CD49-A8E8-3A77A5D2BB22}" dt="2024-06-17T05:30:14.912" v="387" actId="700"/>
          <ac:spMkLst>
            <pc:docMk/>
            <pc:sldMk cId="2070604102" sldId="2147138209"/>
            <ac:spMk id="6" creationId="{EB1EC2E4-3962-6505-749D-FDA9D9670184}"/>
          </ac:spMkLst>
        </pc:spChg>
        <pc:spChg chg="add mod ord">
          <ac:chgData name="Oehrli, Stefan" userId="3f36891e-f853-43e7-bcbc-2879a2513833" providerId="ADAL" clId="{262C7BF4-86F5-CD49-A8E8-3A77A5D2BB22}" dt="2024-06-17T11:33:57.952" v="2428"/>
          <ac:spMkLst>
            <pc:docMk/>
            <pc:sldMk cId="2070604102" sldId="2147138209"/>
            <ac:spMk id="7" creationId="{776D7566-C180-61E1-2FCA-FC3766DF6DE4}"/>
          </ac:spMkLst>
        </pc:spChg>
        <pc:spChg chg="add mod ord">
          <ac:chgData name="Oehrli, Stefan" userId="3f36891e-f853-43e7-bcbc-2879a2513833" providerId="ADAL" clId="{262C7BF4-86F5-CD49-A8E8-3A77A5D2BB22}" dt="2024-06-17T11:41:35.815" v="2778" actId="5793"/>
          <ac:spMkLst>
            <pc:docMk/>
            <pc:sldMk cId="2070604102" sldId="2147138209"/>
            <ac:spMk id="8" creationId="{8EA27A76-69F8-D510-A846-C44CF22CE67A}"/>
          </ac:spMkLst>
        </pc:spChg>
        <pc:spChg chg="add mod ord">
          <ac:chgData name="Oehrli, Stefan" userId="3f36891e-f853-43e7-bcbc-2879a2513833" providerId="ADAL" clId="{262C7BF4-86F5-CD49-A8E8-3A77A5D2BB22}" dt="2024-06-17T11:34:28.659" v="2433" actId="20577"/>
          <ac:spMkLst>
            <pc:docMk/>
            <pc:sldMk cId="2070604102" sldId="2147138209"/>
            <ac:spMk id="9" creationId="{CD6AEFC0-C316-B855-602B-BF09C6FB7327}"/>
          </ac:spMkLst>
        </pc:spChg>
        <pc:picChg chg="add mod">
          <ac:chgData name="Oehrli, Stefan" userId="3f36891e-f853-43e7-bcbc-2879a2513833" providerId="ADAL" clId="{262C7BF4-86F5-CD49-A8E8-3A77A5D2BB22}" dt="2024-06-17T11:40:50.699" v="2683" actId="1440"/>
          <ac:picMkLst>
            <pc:docMk/>
            <pc:sldMk cId="2070604102" sldId="2147138209"/>
            <ac:picMk id="10" creationId="{DA0FC02F-87E3-37C4-FBAE-6925F530DB32}"/>
          </ac:picMkLst>
        </pc:picChg>
      </pc:sldChg>
      <pc:sldChg chg="addSp delSp modSp add mod addAnim delAnim modAnim">
        <pc:chgData name="Oehrli, Stefan" userId="3f36891e-f853-43e7-bcbc-2879a2513833" providerId="ADAL" clId="{262C7BF4-86F5-CD49-A8E8-3A77A5D2BB22}" dt="2024-06-17T13:24:04.954" v="3901"/>
        <pc:sldMkLst>
          <pc:docMk/>
          <pc:sldMk cId="4029458114" sldId="2147138210"/>
        </pc:sldMkLst>
        <pc:spChg chg="mod">
          <ac:chgData name="Oehrli, Stefan" userId="3f36891e-f853-43e7-bcbc-2879a2513833" providerId="ADAL" clId="{262C7BF4-86F5-CD49-A8E8-3A77A5D2BB22}" dt="2024-06-17T05:38:06.005" v="447"/>
          <ac:spMkLst>
            <pc:docMk/>
            <pc:sldMk cId="4029458114" sldId="2147138210"/>
            <ac:spMk id="7" creationId="{370701DC-A45B-E549-24ED-868B1C20E7F9}"/>
          </ac:spMkLst>
        </pc:spChg>
        <pc:spChg chg="mod">
          <ac:chgData name="Oehrli, Stefan" userId="3f36891e-f853-43e7-bcbc-2879a2513833" providerId="ADAL" clId="{262C7BF4-86F5-CD49-A8E8-3A77A5D2BB22}" dt="2024-06-17T05:39:34.860" v="491"/>
          <ac:spMkLst>
            <pc:docMk/>
            <pc:sldMk cId="4029458114" sldId="2147138210"/>
            <ac:spMk id="8" creationId="{7B7C21A9-BA8E-8035-8AF7-8D125C866046}"/>
          </ac:spMkLst>
        </pc:spChg>
        <pc:spChg chg="mod">
          <ac:chgData name="Oehrli, Stefan" userId="3f36891e-f853-43e7-bcbc-2879a2513833" providerId="ADAL" clId="{262C7BF4-86F5-CD49-A8E8-3A77A5D2BB22}" dt="2024-06-17T05:58:26.578" v="1049" actId="114"/>
          <ac:spMkLst>
            <pc:docMk/>
            <pc:sldMk cId="4029458114" sldId="2147138210"/>
            <ac:spMk id="9" creationId="{92860932-76E1-E164-1A33-41CEDE602802}"/>
          </ac:spMkLst>
        </pc:spChg>
        <pc:picChg chg="add del mod">
          <ac:chgData name="Oehrli, Stefan" userId="3f36891e-f853-43e7-bcbc-2879a2513833" providerId="ADAL" clId="{262C7BF4-86F5-CD49-A8E8-3A77A5D2BB22}" dt="2024-06-17T05:38:12.904" v="451" actId="478"/>
          <ac:picMkLst>
            <pc:docMk/>
            <pc:sldMk cId="4029458114" sldId="2147138210"/>
            <ac:picMk id="3" creationId="{F9E8B32B-B8C3-59EF-245D-9176DA9519A5}"/>
          </ac:picMkLst>
        </pc:picChg>
        <pc:picChg chg="add mod">
          <ac:chgData name="Oehrli, Stefan" userId="3f36891e-f853-43e7-bcbc-2879a2513833" providerId="ADAL" clId="{262C7BF4-86F5-CD49-A8E8-3A77A5D2BB22}" dt="2024-06-17T05:37:49.019" v="443"/>
          <ac:picMkLst>
            <pc:docMk/>
            <pc:sldMk cId="4029458114" sldId="2147138210"/>
            <ac:picMk id="4" creationId="{F61775C2-3042-8D6C-4C2E-43BC06B55185}"/>
          </ac:picMkLst>
        </pc:picChg>
        <pc:picChg chg="del">
          <ac:chgData name="Oehrli, Stefan" userId="3f36891e-f853-43e7-bcbc-2879a2513833" providerId="ADAL" clId="{262C7BF4-86F5-CD49-A8E8-3A77A5D2BB22}" dt="2024-06-17T05:37:43.523" v="440" actId="21"/>
          <ac:picMkLst>
            <pc:docMk/>
            <pc:sldMk cId="4029458114" sldId="2147138210"/>
            <ac:picMk id="17" creationId="{4D5342C5-1B70-C8E2-457B-621F5981C0DF}"/>
          </ac:picMkLst>
        </pc:picChg>
        <pc:picChg chg="add del mod">
          <ac:chgData name="Oehrli, Stefan" userId="3f36891e-f853-43e7-bcbc-2879a2513833" providerId="ADAL" clId="{262C7BF4-86F5-CD49-A8E8-3A77A5D2BB22}" dt="2024-06-17T05:38:28.692" v="457" actId="1076"/>
          <ac:picMkLst>
            <pc:docMk/>
            <pc:sldMk cId="4029458114" sldId="2147138210"/>
            <ac:picMk id="19" creationId="{5B4FC075-4F81-DA69-730F-84B41EA31162}"/>
          </ac:picMkLst>
        </pc:picChg>
      </pc:sldChg>
      <pc:sldChg chg="addSp delSp modSp new mod">
        <pc:chgData name="Oehrli, Stefan" userId="3f36891e-f853-43e7-bcbc-2879a2513833" providerId="ADAL" clId="{262C7BF4-86F5-CD49-A8E8-3A77A5D2BB22}" dt="2024-06-17T08:38:48.324" v="1138" actId="5793"/>
        <pc:sldMkLst>
          <pc:docMk/>
          <pc:sldMk cId="3920533897" sldId="2147138211"/>
        </pc:sldMkLst>
        <pc:spChg chg="mod">
          <ac:chgData name="Oehrli, Stefan" userId="3f36891e-f853-43e7-bcbc-2879a2513833" providerId="ADAL" clId="{262C7BF4-86F5-CD49-A8E8-3A77A5D2BB22}" dt="2024-06-17T08:37:53.834" v="1132" actId="20577"/>
          <ac:spMkLst>
            <pc:docMk/>
            <pc:sldMk cId="3920533897" sldId="2147138211"/>
            <ac:spMk id="2" creationId="{A36F5AD9-10D8-BC44-0FF3-C76E7E9A87E4}"/>
          </ac:spMkLst>
        </pc:spChg>
        <pc:spChg chg="del">
          <ac:chgData name="Oehrli, Stefan" userId="3f36891e-f853-43e7-bcbc-2879a2513833" providerId="ADAL" clId="{262C7BF4-86F5-CD49-A8E8-3A77A5D2BB22}" dt="2024-06-17T08:31:09.643" v="1062"/>
          <ac:spMkLst>
            <pc:docMk/>
            <pc:sldMk cId="3920533897" sldId="2147138211"/>
            <ac:spMk id="3" creationId="{2EC3D5E1-11BA-BE0B-E92C-628BB47C797F}"/>
          </ac:spMkLst>
        </pc:spChg>
        <pc:spChg chg="del">
          <ac:chgData name="Oehrli, Stefan" userId="3f36891e-f853-43e7-bcbc-2879a2513833" providerId="ADAL" clId="{262C7BF4-86F5-CD49-A8E8-3A77A5D2BB22}" dt="2024-06-17T08:28:48.829" v="1054"/>
          <ac:spMkLst>
            <pc:docMk/>
            <pc:sldMk cId="3920533897" sldId="2147138211"/>
            <ac:spMk id="4" creationId="{9A125643-D374-222A-DF23-8483B60A0C3D}"/>
          </ac:spMkLst>
        </pc:spChg>
        <pc:spChg chg="mod">
          <ac:chgData name="Oehrli, Stefan" userId="3f36891e-f853-43e7-bcbc-2879a2513833" providerId="ADAL" clId="{262C7BF4-86F5-CD49-A8E8-3A77A5D2BB22}" dt="2024-06-17T08:38:48.324" v="1138" actId="5793"/>
          <ac:spMkLst>
            <pc:docMk/>
            <pc:sldMk cId="3920533897" sldId="2147138211"/>
            <ac:spMk id="6" creationId="{4313CE09-F1B2-655C-F772-CB52A35357C2}"/>
          </ac:spMkLst>
        </pc:spChg>
        <pc:spChg chg="add del mod">
          <ac:chgData name="Oehrli, Stefan" userId="3f36891e-f853-43e7-bcbc-2879a2513833" providerId="ADAL" clId="{262C7BF4-86F5-CD49-A8E8-3A77A5D2BB22}" dt="2024-06-17T08:28:50.528" v="1055"/>
          <ac:spMkLst>
            <pc:docMk/>
            <pc:sldMk cId="3920533897" sldId="2147138211"/>
            <ac:spMk id="8" creationId="{08A0D8CF-C178-2374-33B2-6C31F91E42A7}"/>
          </ac:spMkLst>
        </pc:spChg>
        <pc:spChg chg="add del mod">
          <ac:chgData name="Oehrli, Stefan" userId="3f36891e-f853-43e7-bcbc-2879a2513833" providerId="ADAL" clId="{262C7BF4-86F5-CD49-A8E8-3A77A5D2BB22}" dt="2024-06-17T08:28:55.354" v="1056"/>
          <ac:spMkLst>
            <pc:docMk/>
            <pc:sldMk cId="3920533897" sldId="2147138211"/>
            <ac:spMk id="9" creationId="{6FF15F16-0220-3610-06D6-84401626E5E1}"/>
          </ac:spMkLst>
        </pc:spChg>
        <pc:spChg chg="add del mod">
          <ac:chgData name="Oehrli, Stefan" userId="3f36891e-f853-43e7-bcbc-2879a2513833" providerId="ADAL" clId="{262C7BF4-86F5-CD49-A8E8-3A77A5D2BB22}" dt="2024-06-17T08:28:58.998" v="1057"/>
          <ac:spMkLst>
            <pc:docMk/>
            <pc:sldMk cId="3920533897" sldId="2147138211"/>
            <ac:spMk id="10" creationId="{1C2D6D46-786C-333F-7E9C-66979B44BD7B}"/>
          </ac:spMkLst>
        </pc:spChg>
        <pc:spChg chg="add del mod">
          <ac:chgData name="Oehrli, Stefan" userId="3f36891e-f853-43e7-bcbc-2879a2513833" providerId="ADAL" clId="{262C7BF4-86F5-CD49-A8E8-3A77A5D2BB22}" dt="2024-06-17T08:29:06.772" v="1058"/>
          <ac:spMkLst>
            <pc:docMk/>
            <pc:sldMk cId="3920533897" sldId="2147138211"/>
            <ac:spMk id="11" creationId="{63DF92E3-5B75-D14E-63DE-BA3D8590EF2B}"/>
          </ac:spMkLst>
        </pc:spChg>
        <pc:spChg chg="add mod">
          <ac:chgData name="Oehrli, Stefan" userId="3f36891e-f853-43e7-bcbc-2879a2513833" providerId="ADAL" clId="{262C7BF4-86F5-CD49-A8E8-3A77A5D2BB22}" dt="2024-06-17T08:37:22.903" v="1108" actId="20577"/>
          <ac:spMkLst>
            <pc:docMk/>
            <pc:sldMk cId="3920533897" sldId="2147138211"/>
            <ac:spMk id="12" creationId="{01B9A350-814E-0973-F16B-3A8DF81B4DE4}"/>
          </ac:spMkLst>
        </pc:spChg>
        <pc:picChg chg="add mod">
          <ac:chgData name="Oehrli, Stefan" userId="3f36891e-f853-43e7-bcbc-2879a2513833" providerId="ADAL" clId="{262C7BF4-86F5-CD49-A8E8-3A77A5D2BB22}" dt="2024-06-17T08:37:25.787" v="1109" actId="1076"/>
          <ac:picMkLst>
            <pc:docMk/>
            <pc:sldMk cId="3920533897" sldId="2147138211"/>
            <ac:picMk id="13" creationId="{58208DD4-ACF0-E2C7-9FA4-F963D564462D}"/>
          </ac:picMkLst>
        </pc:picChg>
        <pc:picChg chg="add mod modCrop">
          <ac:chgData name="Oehrli, Stefan" userId="3f36891e-f853-43e7-bcbc-2879a2513833" providerId="ADAL" clId="{262C7BF4-86F5-CD49-A8E8-3A77A5D2BB22}" dt="2024-06-17T08:31:46.610" v="1066" actId="1440"/>
          <ac:picMkLst>
            <pc:docMk/>
            <pc:sldMk cId="3920533897" sldId="2147138211"/>
            <ac:picMk id="14" creationId="{E98588BF-7691-5094-7590-A1BFE2589CEF}"/>
          </ac:picMkLst>
        </pc:picChg>
      </pc:sldChg>
      <pc:sldChg chg="add">
        <pc:chgData name="Oehrli, Stefan" userId="3f36891e-f853-43e7-bcbc-2879a2513833" providerId="ADAL" clId="{262C7BF4-86F5-CD49-A8E8-3A77A5D2BB22}" dt="2024-06-17T08:46:08.456" v="1143" actId="2890"/>
        <pc:sldMkLst>
          <pc:docMk/>
          <pc:sldMk cId="704376869" sldId="2147138212"/>
        </pc:sldMkLst>
      </pc:sldChg>
      <pc:sldChg chg="addSp modSp new mod">
        <pc:chgData name="Oehrli, Stefan" userId="3f36891e-f853-43e7-bcbc-2879a2513833" providerId="ADAL" clId="{262C7BF4-86F5-CD49-A8E8-3A77A5D2BB22}" dt="2024-06-17T09:32:13.922" v="2044" actId="1076"/>
        <pc:sldMkLst>
          <pc:docMk/>
          <pc:sldMk cId="955525368" sldId="2147138213"/>
        </pc:sldMkLst>
        <pc:spChg chg="mod">
          <ac:chgData name="Oehrli, Stefan" userId="3f36891e-f853-43e7-bcbc-2879a2513833" providerId="ADAL" clId="{262C7BF4-86F5-CD49-A8E8-3A77A5D2BB22}" dt="2024-06-17T09:03:21.712" v="1221"/>
          <ac:spMkLst>
            <pc:docMk/>
            <pc:sldMk cId="955525368" sldId="2147138213"/>
            <ac:spMk id="2" creationId="{07AB36A7-7A95-15C7-65CD-1E7A3D85D409}"/>
          </ac:spMkLst>
        </pc:spChg>
        <pc:spChg chg="mod">
          <ac:chgData name="Oehrli, Stefan" userId="3f36891e-f853-43e7-bcbc-2879a2513833" providerId="ADAL" clId="{262C7BF4-86F5-CD49-A8E8-3A77A5D2BB22}" dt="2024-06-17T09:10:28.350" v="1634"/>
          <ac:spMkLst>
            <pc:docMk/>
            <pc:sldMk cId="955525368" sldId="2147138213"/>
            <ac:spMk id="3" creationId="{31CB8383-7FEF-020F-CAF5-1C9E96472BB1}"/>
          </ac:spMkLst>
        </pc:spChg>
        <pc:spChg chg="mod">
          <ac:chgData name="Oehrli, Stefan" userId="3f36891e-f853-43e7-bcbc-2879a2513833" providerId="ADAL" clId="{262C7BF4-86F5-CD49-A8E8-3A77A5D2BB22}" dt="2024-06-17T09:03:17.001" v="1220" actId="20577"/>
          <ac:spMkLst>
            <pc:docMk/>
            <pc:sldMk cId="955525368" sldId="2147138213"/>
            <ac:spMk id="4" creationId="{36F27975-E574-DB7C-06BB-EA51F0CBF044}"/>
          </ac:spMkLst>
        </pc:spChg>
        <pc:picChg chg="add mod">
          <ac:chgData name="Oehrli, Stefan" userId="3f36891e-f853-43e7-bcbc-2879a2513833" providerId="ADAL" clId="{262C7BF4-86F5-CD49-A8E8-3A77A5D2BB22}" dt="2024-06-17T09:32:13.922" v="2044" actId="1076"/>
          <ac:picMkLst>
            <pc:docMk/>
            <pc:sldMk cId="955525368" sldId="2147138213"/>
            <ac:picMk id="7" creationId="{098AC65C-050B-C6CA-C1B3-298E87490168}"/>
          </ac:picMkLst>
        </pc:picChg>
      </pc:sldChg>
      <pc:sldChg chg="addSp delSp modSp new mod">
        <pc:chgData name="Oehrli, Stefan" userId="3f36891e-f853-43e7-bcbc-2879a2513833" providerId="ADAL" clId="{262C7BF4-86F5-CD49-A8E8-3A77A5D2BB22}" dt="2024-06-17T12:52:36.079" v="3284" actId="1076"/>
        <pc:sldMkLst>
          <pc:docMk/>
          <pc:sldMk cId="989959712" sldId="2147138214"/>
        </pc:sldMkLst>
        <pc:spChg chg="mod">
          <ac:chgData name="Oehrli, Stefan" userId="3f36891e-f853-43e7-bcbc-2879a2513833" providerId="ADAL" clId="{262C7BF4-86F5-CD49-A8E8-3A77A5D2BB22}" dt="2024-06-17T12:51:58.097" v="3280"/>
          <ac:spMkLst>
            <pc:docMk/>
            <pc:sldMk cId="989959712" sldId="2147138214"/>
            <ac:spMk id="2" creationId="{E3160FDC-6D48-1CEA-85F0-1C59A78A1F9A}"/>
          </ac:spMkLst>
        </pc:spChg>
        <pc:spChg chg="del mod">
          <ac:chgData name="Oehrli, Stefan" userId="3f36891e-f853-43e7-bcbc-2879a2513833" providerId="ADAL" clId="{262C7BF4-86F5-CD49-A8E8-3A77A5D2BB22}" dt="2024-06-17T12:52:27.109" v="3281"/>
          <ac:spMkLst>
            <pc:docMk/>
            <pc:sldMk cId="989959712" sldId="2147138214"/>
            <ac:spMk id="3" creationId="{F26004C9-9BB0-5724-A061-1EB3455EBFA4}"/>
          </ac:spMkLst>
        </pc:spChg>
        <pc:spChg chg="mod">
          <ac:chgData name="Oehrli, Stefan" userId="3f36891e-f853-43e7-bcbc-2879a2513833" providerId="ADAL" clId="{262C7BF4-86F5-CD49-A8E8-3A77A5D2BB22}" dt="2024-06-17T12:45:43.607" v="3120"/>
          <ac:spMkLst>
            <pc:docMk/>
            <pc:sldMk cId="989959712" sldId="2147138214"/>
            <ac:spMk id="4" creationId="{7DD9C46A-4852-6BCE-BCFF-84059F489FEC}"/>
          </ac:spMkLst>
        </pc:spChg>
        <pc:picChg chg="add mod">
          <ac:chgData name="Oehrli, Stefan" userId="3f36891e-f853-43e7-bcbc-2879a2513833" providerId="ADAL" clId="{262C7BF4-86F5-CD49-A8E8-3A77A5D2BB22}" dt="2024-06-17T12:52:36.079" v="3284" actId="1076"/>
          <ac:picMkLst>
            <pc:docMk/>
            <pc:sldMk cId="989959712" sldId="2147138214"/>
            <ac:picMk id="7" creationId="{32BAA13B-6563-21BD-8630-D2E30E46A310}"/>
          </ac:picMkLst>
        </pc:picChg>
      </pc:sldChg>
      <pc:sldChg chg="addSp delSp modSp new mod">
        <pc:chgData name="Oehrli, Stefan" userId="3f36891e-f853-43e7-bcbc-2879a2513833" providerId="ADAL" clId="{262C7BF4-86F5-CD49-A8E8-3A77A5D2BB22}" dt="2024-06-17T11:13:13.184" v="2266" actId="207"/>
        <pc:sldMkLst>
          <pc:docMk/>
          <pc:sldMk cId="2385701130" sldId="2147138215"/>
        </pc:sldMkLst>
        <pc:spChg chg="mod">
          <ac:chgData name="Oehrli, Stefan" userId="3f36891e-f853-43e7-bcbc-2879a2513833" providerId="ADAL" clId="{262C7BF4-86F5-CD49-A8E8-3A77A5D2BB22}" dt="2024-06-17T11:09:24.443" v="2070" actId="20577"/>
          <ac:spMkLst>
            <pc:docMk/>
            <pc:sldMk cId="2385701130" sldId="2147138215"/>
            <ac:spMk id="2" creationId="{5DC0F130-8AAF-DC78-C713-B9BAB6417BF2}"/>
          </ac:spMkLst>
        </pc:spChg>
        <pc:spChg chg="del mod">
          <ac:chgData name="Oehrli, Stefan" userId="3f36891e-f853-43e7-bcbc-2879a2513833" providerId="ADAL" clId="{262C7BF4-86F5-CD49-A8E8-3A77A5D2BB22}" dt="2024-06-17T11:09:14.351" v="2049"/>
          <ac:spMkLst>
            <pc:docMk/>
            <pc:sldMk cId="2385701130" sldId="2147138215"/>
            <ac:spMk id="3" creationId="{8533CDFF-AFC1-CEC9-D223-24668C83B559}"/>
          </ac:spMkLst>
        </pc:spChg>
        <pc:spChg chg="mod">
          <ac:chgData name="Oehrli, Stefan" userId="3f36891e-f853-43e7-bcbc-2879a2513833" providerId="ADAL" clId="{262C7BF4-86F5-CD49-A8E8-3A77A5D2BB22}" dt="2024-06-17T11:09:31.522" v="2091" actId="20577"/>
          <ac:spMkLst>
            <pc:docMk/>
            <pc:sldMk cId="2385701130" sldId="2147138215"/>
            <ac:spMk id="4" creationId="{26B7EB10-E642-50CC-8D8D-81C41478FF4D}"/>
          </ac:spMkLst>
        </pc:spChg>
        <pc:spChg chg="add mod">
          <ac:chgData name="Oehrli, Stefan" userId="3f36891e-f853-43e7-bcbc-2879a2513833" providerId="ADAL" clId="{262C7BF4-86F5-CD49-A8E8-3A77A5D2BB22}" dt="2024-06-17T11:13:13.184" v="2266" actId="207"/>
          <ac:spMkLst>
            <pc:docMk/>
            <pc:sldMk cId="2385701130" sldId="2147138215"/>
            <ac:spMk id="9" creationId="{37A517CF-DDE9-A547-AA82-5991161720F5}"/>
          </ac:spMkLst>
        </pc:spChg>
        <pc:picChg chg="add mod">
          <ac:chgData name="Oehrli, Stefan" userId="3f36891e-f853-43e7-bcbc-2879a2513833" providerId="ADAL" clId="{262C7BF4-86F5-CD49-A8E8-3A77A5D2BB22}" dt="2024-06-17T11:09:39.033" v="2093" actId="1076"/>
          <ac:picMkLst>
            <pc:docMk/>
            <pc:sldMk cId="2385701130" sldId="2147138215"/>
            <ac:picMk id="8" creationId="{4A89EC64-66B9-2ECF-48CE-D260AD7B6EAF}"/>
          </ac:picMkLst>
        </pc:picChg>
      </pc:sldChg>
      <pc:sldChg chg="addSp delSp modSp new mod modAnim modNotes">
        <pc:chgData name="Oehrli, Stefan" userId="3f36891e-f853-43e7-bcbc-2879a2513833" providerId="ADAL" clId="{262C7BF4-86F5-CD49-A8E8-3A77A5D2BB22}" dt="2024-06-17T11:18:39.846" v="2285" actId="1440"/>
        <pc:sldMkLst>
          <pc:docMk/>
          <pc:sldMk cId="614591922" sldId="2147138216"/>
        </pc:sldMkLst>
        <pc:spChg chg="mod">
          <ac:chgData name="Oehrli, Stefan" userId="3f36891e-f853-43e7-bcbc-2879a2513833" providerId="ADAL" clId="{262C7BF4-86F5-CD49-A8E8-3A77A5D2BB22}" dt="2024-06-17T11:10:37.652" v="2167" actId="20577"/>
          <ac:spMkLst>
            <pc:docMk/>
            <pc:sldMk cId="614591922" sldId="2147138216"/>
            <ac:spMk id="2" creationId="{889A773F-95DB-4C85-2502-1322F9700704}"/>
          </ac:spMkLst>
        </pc:spChg>
        <pc:spChg chg="del">
          <ac:chgData name="Oehrli, Stefan" userId="3f36891e-f853-43e7-bcbc-2879a2513833" providerId="ADAL" clId="{262C7BF4-86F5-CD49-A8E8-3A77A5D2BB22}" dt="2024-06-17T11:12:43.076" v="2238"/>
          <ac:spMkLst>
            <pc:docMk/>
            <pc:sldMk cId="614591922" sldId="2147138216"/>
            <ac:spMk id="3" creationId="{B6860DA1-9BE8-A6A8-A30B-A517C61621F3}"/>
          </ac:spMkLst>
        </pc:spChg>
        <pc:spChg chg="mod">
          <ac:chgData name="Oehrli, Stefan" userId="3f36891e-f853-43e7-bcbc-2879a2513833" providerId="ADAL" clId="{262C7BF4-86F5-CD49-A8E8-3A77A5D2BB22}" dt="2024-06-17T11:12:07.818" v="2237" actId="20577"/>
          <ac:spMkLst>
            <pc:docMk/>
            <pc:sldMk cId="614591922" sldId="2147138216"/>
            <ac:spMk id="4" creationId="{16FB163C-F6DB-24DF-39A5-079283F7AA9A}"/>
          </ac:spMkLst>
        </pc:spChg>
        <pc:spChg chg="add mod">
          <ac:chgData name="Oehrli, Stefan" userId="3f36891e-f853-43e7-bcbc-2879a2513833" providerId="ADAL" clId="{262C7BF4-86F5-CD49-A8E8-3A77A5D2BB22}" dt="2024-06-17T11:13:18.878" v="2267" actId="207"/>
          <ac:spMkLst>
            <pc:docMk/>
            <pc:sldMk cId="614591922" sldId="2147138216"/>
            <ac:spMk id="8" creationId="{3616FDED-C5D5-5E90-A39F-61D1FF7AC822}"/>
          </ac:spMkLst>
        </pc:spChg>
        <pc:picChg chg="add mod">
          <ac:chgData name="Oehrli, Stefan" userId="3f36891e-f853-43e7-bcbc-2879a2513833" providerId="ADAL" clId="{262C7BF4-86F5-CD49-A8E8-3A77A5D2BB22}" dt="2024-06-17T11:12:44.894" v="2239" actId="14100"/>
          <ac:picMkLst>
            <pc:docMk/>
            <pc:sldMk cId="614591922" sldId="2147138216"/>
            <ac:picMk id="7" creationId="{7E43F65D-7C60-79FC-D4D1-3FE5E4B80B0F}"/>
          </ac:picMkLst>
        </pc:picChg>
        <pc:picChg chg="add mod">
          <ac:chgData name="Oehrli, Stefan" userId="3f36891e-f853-43e7-bcbc-2879a2513833" providerId="ADAL" clId="{262C7BF4-86F5-CD49-A8E8-3A77A5D2BB22}" dt="2024-06-17T11:18:39.846" v="2285" actId="1440"/>
          <ac:picMkLst>
            <pc:docMk/>
            <pc:sldMk cId="614591922" sldId="2147138216"/>
            <ac:picMk id="9" creationId="{C29B9BE4-B161-C43B-DE7E-84E010F998DD}"/>
          </ac:picMkLst>
        </pc:picChg>
      </pc:sldChg>
      <pc:sldChg chg="addSp delSp modSp add mod">
        <pc:chgData name="Oehrli, Stefan" userId="3f36891e-f853-43e7-bcbc-2879a2513833" providerId="ADAL" clId="{262C7BF4-86F5-CD49-A8E8-3A77A5D2BB22}" dt="2024-06-17T11:18:52.889" v="2295" actId="20577"/>
        <pc:sldMkLst>
          <pc:docMk/>
          <pc:sldMk cId="2773844335" sldId="2147138217"/>
        </pc:sldMkLst>
        <pc:spChg chg="mod">
          <ac:chgData name="Oehrli, Stefan" userId="3f36891e-f853-43e7-bcbc-2879a2513833" providerId="ADAL" clId="{262C7BF4-86F5-CD49-A8E8-3A77A5D2BB22}" dt="2024-06-17T11:18:52.889" v="2295" actId="20577"/>
          <ac:spMkLst>
            <pc:docMk/>
            <pc:sldMk cId="2773844335" sldId="2147138217"/>
            <ac:spMk id="2" creationId="{889A773F-95DB-4C85-2502-1322F9700704}"/>
          </ac:spMkLst>
        </pc:spChg>
        <pc:spChg chg="del">
          <ac:chgData name="Oehrli, Stefan" userId="3f36891e-f853-43e7-bcbc-2879a2513833" providerId="ADAL" clId="{262C7BF4-86F5-CD49-A8E8-3A77A5D2BB22}" dt="2024-06-17T11:13:39.916" v="2273" actId="478"/>
          <ac:spMkLst>
            <pc:docMk/>
            <pc:sldMk cId="2773844335" sldId="2147138217"/>
            <ac:spMk id="8" creationId="{3616FDED-C5D5-5E90-A39F-61D1FF7AC822}"/>
          </ac:spMkLst>
        </pc:spChg>
        <pc:spChg chg="add del mod">
          <ac:chgData name="Oehrli, Stefan" userId="3f36891e-f853-43e7-bcbc-2879a2513833" providerId="ADAL" clId="{262C7BF4-86F5-CD49-A8E8-3A77A5D2BB22}" dt="2024-06-17T11:13:38.466" v="2272" actId="478"/>
          <ac:spMkLst>
            <pc:docMk/>
            <pc:sldMk cId="2773844335" sldId="2147138217"/>
            <ac:spMk id="9" creationId="{8AB5AFB2-396C-8A33-5A3A-90564CE7E783}"/>
          </ac:spMkLst>
        </pc:spChg>
        <pc:spChg chg="add del mod">
          <ac:chgData name="Oehrli, Stefan" userId="3f36891e-f853-43e7-bcbc-2879a2513833" providerId="ADAL" clId="{262C7BF4-86F5-CD49-A8E8-3A77A5D2BB22}" dt="2024-06-17T11:18:31.655" v="2281"/>
          <ac:spMkLst>
            <pc:docMk/>
            <pc:sldMk cId="2773844335" sldId="2147138217"/>
            <ac:spMk id="11" creationId="{8D115B9F-7399-608A-6196-BA0EE806AF1A}"/>
          </ac:spMkLst>
        </pc:spChg>
        <pc:picChg chg="add del">
          <ac:chgData name="Oehrli, Stefan" userId="3f36891e-f853-43e7-bcbc-2879a2513833" providerId="ADAL" clId="{262C7BF4-86F5-CD49-A8E8-3A77A5D2BB22}" dt="2024-06-17T11:13:41.113" v="2274" actId="478"/>
          <ac:picMkLst>
            <pc:docMk/>
            <pc:sldMk cId="2773844335" sldId="2147138217"/>
            <ac:picMk id="7" creationId="{7E43F65D-7C60-79FC-D4D1-3FE5E4B80B0F}"/>
          </ac:picMkLst>
        </pc:picChg>
        <pc:picChg chg="add mod">
          <ac:chgData name="Oehrli, Stefan" userId="3f36891e-f853-43e7-bcbc-2879a2513833" providerId="ADAL" clId="{262C7BF4-86F5-CD49-A8E8-3A77A5D2BB22}" dt="2024-06-17T11:18:27.029" v="2280"/>
          <ac:picMkLst>
            <pc:docMk/>
            <pc:sldMk cId="2773844335" sldId="2147138217"/>
            <ac:picMk id="12" creationId="{82EFB2FD-AF74-CFC2-1F37-F8701E1E6B11}"/>
          </ac:picMkLst>
        </pc:picChg>
        <pc:picChg chg="add mod">
          <ac:chgData name="Oehrli, Stefan" userId="3f36891e-f853-43e7-bcbc-2879a2513833" providerId="ADAL" clId="{262C7BF4-86F5-CD49-A8E8-3A77A5D2BB22}" dt="2024-06-17T11:18:35.544" v="2284" actId="962"/>
          <ac:picMkLst>
            <pc:docMk/>
            <pc:sldMk cId="2773844335" sldId="2147138217"/>
            <ac:picMk id="14" creationId="{F871682A-7FE1-80F6-A79B-26741EFC4265}"/>
          </ac:picMkLst>
        </pc:picChg>
      </pc:sldChg>
      <pc:sldChg chg="addSp delSp modSp new mod">
        <pc:chgData name="Oehrli, Stefan" userId="3f36891e-f853-43e7-bcbc-2879a2513833" providerId="ADAL" clId="{262C7BF4-86F5-CD49-A8E8-3A77A5D2BB22}" dt="2024-06-17T11:20:32.322" v="2366" actId="207"/>
        <pc:sldMkLst>
          <pc:docMk/>
          <pc:sldMk cId="2620656052" sldId="2147138218"/>
        </pc:sldMkLst>
        <pc:spChg chg="mod">
          <ac:chgData name="Oehrli, Stefan" userId="3f36891e-f853-43e7-bcbc-2879a2513833" providerId="ADAL" clId="{262C7BF4-86F5-CD49-A8E8-3A77A5D2BB22}" dt="2024-06-17T11:20:08.470" v="2324" actId="20577"/>
          <ac:spMkLst>
            <pc:docMk/>
            <pc:sldMk cId="2620656052" sldId="2147138218"/>
            <ac:spMk id="2" creationId="{51476560-D8B3-981F-30EF-89F7A2C5AD54}"/>
          </ac:spMkLst>
        </pc:spChg>
        <pc:spChg chg="del">
          <ac:chgData name="Oehrli, Stefan" userId="3f36891e-f853-43e7-bcbc-2879a2513833" providerId="ADAL" clId="{262C7BF4-86F5-CD49-A8E8-3A77A5D2BB22}" dt="2024-06-17T11:19:56.381" v="2297"/>
          <ac:spMkLst>
            <pc:docMk/>
            <pc:sldMk cId="2620656052" sldId="2147138218"/>
            <ac:spMk id="3" creationId="{19744DA5-92FC-2DBA-98F2-A9196590D09B}"/>
          </ac:spMkLst>
        </pc:spChg>
        <pc:spChg chg="mod">
          <ac:chgData name="Oehrli, Stefan" userId="3f36891e-f853-43e7-bcbc-2879a2513833" providerId="ADAL" clId="{262C7BF4-86F5-CD49-A8E8-3A77A5D2BB22}" dt="2024-06-17T11:20:19.354" v="2364" actId="20577"/>
          <ac:spMkLst>
            <pc:docMk/>
            <pc:sldMk cId="2620656052" sldId="2147138218"/>
            <ac:spMk id="4" creationId="{0F06EBF3-7142-8023-A938-E8D6522C0D0E}"/>
          </ac:spMkLst>
        </pc:spChg>
        <pc:spChg chg="add mod">
          <ac:chgData name="Oehrli, Stefan" userId="3f36891e-f853-43e7-bcbc-2879a2513833" providerId="ADAL" clId="{262C7BF4-86F5-CD49-A8E8-3A77A5D2BB22}" dt="2024-06-17T11:20:32.322" v="2366" actId="207"/>
          <ac:spMkLst>
            <pc:docMk/>
            <pc:sldMk cId="2620656052" sldId="2147138218"/>
            <ac:spMk id="8" creationId="{9E02FEB1-313A-4E05-669F-74118FB0464C}"/>
          </ac:spMkLst>
        </pc:spChg>
        <pc:picChg chg="add mod">
          <ac:chgData name="Oehrli, Stefan" userId="3f36891e-f853-43e7-bcbc-2879a2513833" providerId="ADAL" clId="{262C7BF4-86F5-CD49-A8E8-3A77A5D2BB22}" dt="2024-06-17T11:20:00.962" v="2298" actId="1440"/>
          <ac:picMkLst>
            <pc:docMk/>
            <pc:sldMk cId="2620656052" sldId="2147138218"/>
            <ac:picMk id="7" creationId="{1FF70D3C-9B0D-D40D-589B-12CD029A02EB}"/>
          </ac:picMkLst>
        </pc:picChg>
      </pc:sldChg>
      <pc:sldChg chg="addSp delSp modSp new mod">
        <pc:chgData name="Oehrli, Stefan" userId="3f36891e-f853-43e7-bcbc-2879a2513833" providerId="ADAL" clId="{262C7BF4-86F5-CD49-A8E8-3A77A5D2BB22}" dt="2024-06-17T11:33:32.179" v="2427" actId="20577"/>
        <pc:sldMkLst>
          <pc:docMk/>
          <pc:sldMk cId="1976441411" sldId="2147138219"/>
        </pc:sldMkLst>
        <pc:spChg chg="mod">
          <ac:chgData name="Oehrli, Stefan" userId="3f36891e-f853-43e7-bcbc-2879a2513833" providerId="ADAL" clId="{262C7BF4-86F5-CD49-A8E8-3A77A5D2BB22}" dt="2024-06-17T11:33:24.672" v="2401" actId="20577"/>
          <ac:spMkLst>
            <pc:docMk/>
            <pc:sldMk cId="1976441411" sldId="2147138219"/>
            <ac:spMk id="2" creationId="{002AFA19-48B5-50F0-5A97-7BFC519E3684}"/>
          </ac:spMkLst>
        </pc:spChg>
        <pc:spChg chg="del mod">
          <ac:chgData name="Oehrli, Stefan" userId="3f36891e-f853-43e7-bcbc-2879a2513833" providerId="ADAL" clId="{262C7BF4-86F5-CD49-A8E8-3A77A5D2BB22}" dt="2024-06-17T11:33:08.533" v="2370"/>
          <ac:spMkLst>
            <pc:docMk/>
            <pc:sldMk cId="1976441411" sldId="2147138219"/>
            <ac:spMk id="3" creationId="{37F629EC-B20B-1F60-9D08-A632540BF578}"/>
          </ac:spMkLst>
        </pc:spChg>
        <pc:spChg chg="mod">
          <ac:chgData name="Oehrli, Stefan" userId="3f36891e-f853-43e7-bcbc-2879a2513833" providerId="ADAL" clId="{262C7BF4-86F5-CD49-A8E8-3A77A5D2BB22}" dt="2024-06-17T11:33:32.179" v="2427" actId="20577"/>
          <ac:spMkLst>
            <pc:docMk/>
            <pc:sldMk cId="1976441411" sldId="2147138219"/>
            <ac:spMk id="4" creationId="{25A44455-AE52-1113-52F9-496DB3BE4B08}"/>
          </ac:spMkLst>
        </pc:spChg>
        <pc:picChg chg="add mod">
          <ac:chgData name="Oehrli, Stefan" userId="3f36891e-f853-43e7-bcbc-2879a2513833" providerId="ADAL" clId="{262C7BF4-86F5-CD49-A8E8-3A77A5D2BB22}" dt="2024-06-17T11:33:14.366" v="2375" actId="1440"/>
          <ac:picMkLst>
            <pc:docMk/>
            <pc:sldMk cId="1976441411" sldId="2147138219"/>
            <ac:picMk id="8" creationId="{A86D0B7F-819E-5273-5058-043B215ACAB1}"/>
          </ac:picMkLst>
        </pc:picChg>
      </pc:sldChg>
      <pc:sldChg chg="addSp delSp modSp new mod modClrScheme chgLayout">
        <pc:chgData name="Oehrli, Stefan" userId="3f36891e-f853-43e7-bcbc-2879a2513833" providerId="ADAL" clId="{262C7BF4-86F5-CD49-A8E8-3A77A5D2BB22}" dt="2024-06-17T12:44:02.481" v="3024" actId="1076"/>
        <pc:sldMkLst>
          <pc:docMk/>
          <pc:sldMk cId="1314013640" sldId="2147138220"/>
        </pc:sldMkLst>
        <pc:spChg chg="del mod ord">
          <ac:chgData name="Oehrli, Stefan" userId="3f36891e-f853-43e7-bcbc-2879a2513833" providerId="ADAL" clId="{262C7BF4-86F5-CD49-A8E8-3A77A5D2BB22}" dt="2024-06-17T12:30:00.638" v="2782" actId="700"/>
          <ac:spMkLst>
            <pc:docMk/>
            <pc:sldMk cId="1314013640" sldId="2147138220"/>
            <ac:spMk id="2" creationId="{7B77B0E8-58DD-D2A1-5FCB-05FF7A9D01D5}"/>
          </ac:spMkLst>
        </pc:spChg>
        <pc:spChg chg="del mod ord">
          <ac:chgData name="Oehrli, Stefan" userId="3f36891e-f853-43e7-bcbc-2879a2513833" providerId="ADAL" clId="{262C7BF4-86F5-CD49-A8E8-3A77A5D2BB22}" dt="2024-06-17T12:30:00.638" v="2782" actId="700"/>
          <ac:spMkLst>
            <pc:docMk/>
            <pc:sldMk cId="1314013640" sldId="2147138220"/>
            <ac:spMk id="3" creationId="{8E13DF6F-3CF9-2563-97A4-211EF4DA6608}"/>
          </ac:spMkLst>
        </pc:spChg>
        <pc:spChg chg="del">
          <ac:chgData name="Oehrli, Stefan" userId="3f36891e-f853-43e7-bcbc-2879a2513833" providerId="ADAL" clId="{262C7BF4-86F5-CD49-A8E8-3A77A5D2BB22}" dt="2024-06-17T12:30:00.638" v="2782" actId="700"/>
          <ac:spMkLst>
            <pc:docMk/>
            <pc:sldMk cId="1314013640" sldId="2147138220"/>
            <ac:spMk id="4" creationId="{2FD41B9E-758B-CC47-6ADF-B0806A7D0ECB}"/>
          </ac:spMkLst>
        </pc:spChg>
        <pc:spChg chg="mod ord">
          <ac:chgData name="Oehrli, Stefan" userId="3f36891e-f853-43e7-bcbc-2879a2513833" providerId="ADAL" clId="{262C7BF4-86F5-CD49-A8E8-3A77A5D2BB22}" dt="2024-06-17T12:31:11.366" v="2783" actId="700"/>
          <ac:spMkLst>
            <pc:docMk/>
            <pc:sldMk cId="1314013640" sldId="2147138220"/>
            <ac:spMk id="5" creationId="{7A1F44DE-4BB6-D7ED-6E10-D33EB7A158BA}"/>
          </ac:spMkLst>
        </pc:spChg>
        <pc:spChg chg="del mod ord">
          <ac:chgData name="Oehrli, Stefan" userId="3f36891e-f853-43e7-bcbc-2879a2513833" providerId="ADAL" clId="{262C7BF4-86F5-CD49-A8E8-3A77A5D2BB22}" dt="2024-06-17T12:30:00.638" v="2782" actId="700"/>
          <ac:spMkLst>
            <pc:docMk/>
            <pc:sldMk cId="1314013640" sldId="2147138220"/>
            <ac:spMk id="6" creationId="{E19F2409-0E66-467A-731F-010D46DD3A35}"/>
          </ac:spMkLst>
        </pc:spChg>
        <pc:spChg chg="mod ord">
          <ac:chgData name="Oehrli, Stefan" userId="3f36891e-f853-43e7-bcbc-2879a2513833" providerId="ADAL" clId="{262C7BF4-86F5-CD49-A8E8-3A77A5D2BB22}" dt="2024-06-17T12:31:11.366" v="2783" actId="700"/>
          <ac:spMkLst>
            <pc:docMk/>
            <pc:sldMk cId="1314013640" sldId="2147138220"/>
            <ac:spMk id="7" creationId="{7F613F2D-1892-4F74-9077-1A20E2362420}"/>
          </ac:spMkLst>
        </pc:spChg>
        <pc:spChg chg="add del mod ord">
          <ac:chgData name="Oehrli, Stefan" userId="3f36891e-f853-43e7-bcbc-2879a2513833" providerId="ADAL" clId="{262C7BF4-86F5-CD49-A8E8-3A77A5D2BB22}" dt="2024-06-17T12:31:11.366" v="2783" actId="700"/>
          <ac:spMkLst>
            <pc:docMk/>
            <pc:sldMk cId="1314013640" sldId="2147138220"/>
            <ac:spMk id="8" creationId="{C181DE9D-79F5-DCC7-FB45-CCBD91A6168D}"/>
          </ac:spMkLst>
        </pc:spChg>
        <pc:spChg chg="add del mod ord">
          <ac:chgData name="Oehrli, Stefan" userId="3f36891e-f853-43e7-bcbc-2879a2513833" providerId="ADAL" clId="{262C7BF4-86F5-CD49-A8E8-3A77A5D2BB22}" dt="2024-06-17T12:31:11.366" v="2783" actId="700"/>
          <ac:spMkLst>
            <pc:docMk/>
            <pc:sldMk cId="1314013640" sldId="2147138220"/>
            <ac:spMk id="9" creationId="{1E45E771-195B-AE68-5FA7-907FEB0EE10B}"/>
          </ac:spMkLst>
        </pc:spChg>
        <pc:spChg chg="add del mod ord">
          <ac:chgData name="Oehrli, Stefan" userId="3f36891e-f853-43e7-bcbc-2879a2513833" providerId="ADAL" clId="{262C7BF4-86F5-CD49-A8E8-3A77A5D2BB22}" dt="2024-06-17T12:31:11.366" v="2783" actId="700"/>
          <ac:spMkLst>
            <pc:docMk/>
            <pc:sldMk cId="1314013640" sldId="2147138220"/>
            <ac:spMk id="10" creationId="{418BE84F-47A8-5BFB-0A94-CFB6724829EF}"/>
          </ac:spMkLst>
        </pc:spChg>
        <pc:spChg chg="add mod ord">
          <ac:chgData name="Oehrli, Stefan" userId="3f36891e-f853-43e7-bcbc-2879a2513833" providerId="ADAL" clId="{262C7BF4-86F5-CD49-A8E8-3A77A5D2BB22}" dt="2024-06-17T12:39:10.396" v="2814"/>
          <ac:spMkLst>
            <pc:docMk/>
            <pc:sldMk cId="1314013640" sldId="2147138220"/>
            <ac:spMk id="11" creationId="{6D0D4BEF-9776-A6AC-D9A6-67A600E284C7}"/>
          </ac:spMkLst>
        </pc:spChg>
        <pc:spChg chg="add mod ord">
          <ac:chgData name="Oehrli, Stefan" userId="3f36891e-f853-43e7-bcbc-2879a2513833" providerId="ADAL" clId="{262C7BF4-86F5-CD49-A8E8-3A77A5D2BB22}" dt="2024-06-17T12:43:57.363" v="3023" actId="113"/>
          <ac:spMkLst>
            <pc:docMk/>
            <pc:sldMk cId="1314013640" sldId="2147138220"/>
            <ac:spMk id="12" creationId="{82774E65-2DB0-C487-A97C-68657EC1EB43}"/>
          </ac:spMkLst>
        </pc:spChg>
        <pc:spChg chg="add mod ord">
          <ac:chgData name="Oehrli, Stefan" userId="3f36891e-f853-43e7-bcbc-2879a2513833" providerId="ADAL" clId="{262C7BF4-86F5-CD49-A8E8-3A77A5D2BB22}" dt="2024-06-17T12:39:18.368" v="2841" actId="20577"/>
          <ac:spMkLst>
            <pc:docMk/>
            <pc:sldMk cId="1314013640" sldId="2147138220"/>
            <ac:spMk id="13" creationId="{DE3C6942-B1F5-C514-8331-37B8D7A61B39}"/>
          </ac:spMkLst>
        </pc:spChg>
        <pc:spChg chg="add del mod ord">
          <ac:chgData name="Oehrli, Stefan" userId="3f36891e-f853-43e7-bcbc-2879a2513833" providerId="ADAL" clId="{262C7BF4-86F5-CD49-A8E8-3A77A5D2BB22}" dt="2024-06-17T12:31:13.235" v="2784"/>
          <ac:spMkLst>
            <pc:docMk/>
            <pc:sldMk cId="1314013640" sldId="2147138220"/>
            <ac:spMk id="14" creationId="{F03FF957-6C7E-A5AE-6A39-6D715392A3AC}"/>
          </ac:spMkLst>
        </pc:spChg>
        <pc:spChg chg="add del mod">
          <ac:chgData name="Oehrli, Stefan" userId="3f36891e-f853-43e7-bcbc-2879a2513833" providerId="ADAL" clId="{262C7BF4-86F5-CD49-A8E8-3A77A5D2BB22}" dt="2024-06-17T12:38:21.283" v="2786"/>
          <ac:spMkLst>
            <pc:docMk/>
            <pc:sldMk cId="1314013640" sldId="2147138220"/>
            <ac:spMk id="17" creationId="{98E6385E-9566-28D4-4FD5-AD4CCE1F33AE}"/>
          </ac:spMkLst>
        </pc:spChg>
        <pc:spChg chg="add del mod">
          <ac:chgData name="Oehrli, Stefan" userId="3f36891e-f853-43e7-bcbc-2879a2513833" providerId="ADAL" clId="{262C7BF4-86F5-CD49-A8E8-3A77A5D2BB22}" dt="2024-06-17T12:42:33.985" v="2993"/>
          <ac:spMkLst>
            <pc:docMk/>
            <pc:sldMk cId="1314013640" sldId="2147138220"/>
            <ac:spMk id="20" creationId="{1DFEBDD2-B822-A611-21A1-4CA534113EFE}"/>
          </ac:spMkLst>
        </pc:spChg>
        <pc:picChg chg="add del mod">
          <ac:chgData name="Oehrli, Stefan" userId="3f36891e-f853-43e7-bcbc-2879a2513833" providerId="ADAL" clId="{262C7BF4-86F5-CD49-A8E8-3A77A5D2BB22}" dt="2024-06-17T12:38:20.217" v="2785" actId="478"/>
          <ac:picMkLst>
            <pc:docMk/>
            <pc:sldMk cId="1314013640" sldId="2147138220"/>
            <ac:picMk id="15" creationId="{C8B3FDCB-8074-FC10-DAC5-A8BA7A2DD1FB}"/>
          </ac:picMkLst>
        </pc:picChg>
        <pc:picChg chg="add del mod">
          <ac:chgData name="Oehrli, Stefan" userId="3f36891e-f853-43e7-bcbc-2879a2513833" providerId="ADAL" clId="{262C7BF4-86F5-CD49-A8E8-3A77A5D2BB22}" dt="2024-06-17T12:42:19.038" v="2992" actId="478"/>
          <ac:picMkLst>
            <pc:docMk/>
            <pc:sldMk cId="1314013640" sldId="2147138220"/>
            <ac:picMk id="18" creationId="{49C84472-2E8B-63F4-1FBD-5A663DA8CD3A}"/>
          </ac:picMkLst>
        </pc:picChg>
        <pc:picChg chg="add mod">
          <ac:chgData name="Oehrli, Stefan" userId="3f36891e-f853-43e7-bcbc-2879a2513833" providerId="ADAL" clId="{262C7BF4-86F5-CD49-A8E8-3A77A5D2BB22}" dt="2024-06-17T12:44:02.481" v="3024" actId="1076"/>
          <ac:picMkLst>
            <pc:docMk/>
            <pc:sldMk cId="1314013640" sldId="2147138220"/>
            <ac:picMk id="21" creationId="{051DC85D-9DA7-E410-A008-FF710DEA97B2}"/>
          </ac:picMkLst>
        </pc:picChg>
      </pc:sldChg>
      <pc:sldChg chg="addSp delSp modSp add mod">
        <pc:chgData name="Oehrli, Stefan" userId="3f36891e-f853-43e7-bcbc-2879a2513833" providerId="ADAL" clId="{262C7BF4-86F5-CD49-A8E8-3A77A5D2BB22}" dt="2024-06-17T12:53:28.796" v="3292" actId="962"/>
        <pc:sldMkLst>
          <pc:docMk/>
          <pc:sldMk cId="795588102" sldId="2147138221"/>
        </pc:sldMkLst>
        <pc:spChg chg="add del mod">
          <ac:chgData name="Oehrli, Stefan" userId="3f36891e-f853-43e7-bcbc-2879a2513833" providerId="ADAL" clId="{262C7BF4-86F5-CD49-A8E8-3A77A5D2BB22}" dt="2024-06-17T12:53:21.719" v="3287"/>
          <ac:spMkLst>
            <pc:docMk/>
            <pc:sldMk cId="795588102" sldId="2147138221"/>
            <ac:spMk id="8" creationId="{788AF783-A1CF-FDEF-D120-45EDDB360160}"/>
          </ac:spMkLst>
        </pc:spChg>
        <pc:picChg chg="del">
          <ac:chgData name="Oehrli, Stefan" userId="3f36891e-f853-43e7-bcbc-2879a2513833" providerId="ADAL" clId="{262C7BF4-86F5-CD49-A8E8-3A77A5D2BB22}" dt="2024-06-17T12:52:41.433" v="3286" actId="478"/>
          <ac:picMkLst>
            <pc:docMk/>
            <pc:sldMk cId="795588102" sldId="2147138221"/>
            <ac:picMk id="7" creationId="{32BAA13B-6563-21BD-8630-D2E30E46A310}"/>
          </ac:picMkLst>
        </pc:picChg>
        <pc:picChg chg="add mod">
          <ac:chgData name="Oehrli, Stefan" userId="3f36891e-f853-43e7-bcbc-2879a2513833" providerId="ADAL" clId="{262C7BF4-86F5-CD49-A8E8-3A77A5D2BB22}" dt="2024-06-17T12:53:28.796" v="3292" actId="962"/>
          <ac:picMkLst>
            <pc:docMk/>
            <pc:sldMk cId="795588102" sldId="2147138221"/>
            <ac:picMk id="10" creationId="{35D3FE43-1BB0-7138-C967-164A64D7EFB9}"/>
          </ac:picMkLst>
        </pc:picChg>
      </pc:sldChg>
      <pc:sldChg chg="addSp delSp modSp add mod">
        <pc:chgData name="Oehrli, Stefan" userId="3f36891e-f853-43e7-bcbc-2879a2513833" providerId="ADAL" clId="{262C7BF4-86F5-CD49-A8E8-3A77A5D2BB22}" dt="2024-06-17T12:54:42.207" v="3305" actId="1076"/>
        <pc:sldMkLst>
          <pc:docMk/>
          <pc:sldMk cId="2145004029" sldId="2147138222"/>
        </pc:sldMkLst>
        <pc:spChg chg="add del mod">
          <ac:chgData name="Oehrli, Stefan" userId="3f36891e-f853-43e7-bcbc-2879a2513833" providerId="ADAL" clId="{262C7BF4-86F5-CD49-A8E8-3A77A5D2BB22}" dt="2024-06-17T12:54:31.761" v="3300"/>
          <ac:spMkLst>
            <pc:docMk/>
            <pc:sldMk cId="2145004029" sldId="2147138222"/>
            <ac:spMk id="7" creationId="{280D4057-5528-122B-F9FE-6396BC7D8FCD}"/>
          </ac:spMkLst>
        </pc:spChg>
        <pc:picChg chg="add mod">
          <ac:chgData name="Oehrli, Stefan" userId="3f36891e-f853-43e7-bcbc-2879a2513833" providerId="ADAL" clId="{262C7BF4-86F5-CD49-A8E8-3A77A5D2BB22}" dt="2024-06-17T12:54:08.620" v="3299"/>
          <ac:picMkLst>
            <pc:docMk/>
            <pc:sldMk cId="2145004029" sldId="2147138222"/>
            <ac:picMk id="9" creationId="{DA482E46-D128-A265-3EC5-90787365FB5C}"/>
          </ac:picMkLst>
        </pc:picChg>
        <pc:picChg chg="del">
          <ac:chgData name="Oehrli, Stefan" userId="3f36891e-f853-43e7-bcbc-2879a2513833" providerId="ADAL" clId="{262C7BF4-86F5-CD49-A8E8-3A77A5D2BB22}" dt="2024-06-17T12:53:38.863" v="3294" actId="478"/>
          <ac:picMkLst>
            <pc:docMk/>
            <pc:sldMk cId="2145004029" sldId="2147138222"/>
            <ac:picMk id="10" creationId="{35D3FE43-1BB0-7138-C967-164A64D7EFB9}"/>
          </ac:picMkLst>
        </pc:picChg>
        <pc:picChg chg="add mod">
          <ac:chgData name="Oehrli, Stefan" userId="3f36891e-f853-43e7-bcbc-2879a2513833" providerId="ADAL" clId="{262C7BF4-86F5-CD49-A8E8-3A77A5D2BB22}" dt="2024-06-17T12:54:42.207" v="3305" actId="1076"/>
          <ac:picMkLst>
            <pc:docMk/>
            <pc:sldMk cId="2145004029" sldId="2147138222"/>
            <ac:picMk id="12" creationId="{DF53B545-934E-FE18-47A6-F488A649B971}"/>
          </ac:picMkLst>
        </pc:picChg>
      </pc:sldChg>
    </pc:docChg>
  </pc:docChgLst>
  <pc:docChgLst>
    <pc:chgData name="Berger, Martin" userId="2dce5e24-1af4-4f49-bc50-80b59c8dc36b" providerId="ADAL" clId="{5B54308E-0C57-4F5C-A252-20A7F62424B9}"/>
    <pc:docChg chg="undo custSel addSld modSld">
      <pc:chgData name="Berger, Martin" userId="2dce5e24-1af4-4f49-bc50-80b59c8dc36b" providerId="ADAL" clId="{5B54308E-0C57-4F5C-A252-20A7F62424B9}" dt="2024-10-29T19:52:07.259" v="39" actId="14861"/>
      <pc:docMkLst>
        <pc:docMk/>
      </pc:docMkLst>
      <pc:sldChg chg="addSp delSp modSp add mod">
        <pc:chgData name="Berger, Martin" userId="2dce5e24-1af4-4f49-bc50-80b59c8dc36b" providerId="ADAL" clId="{5B54308E-0C57-4F5C-A252-20A7F62424B9}" dt="2024-10-29T19:52:07.259" v="39" actId="14861"/>
        <pc:sldMkLst>
          <pc:docMk/>
          <pc:sldMk cId="3387637765" sldId="528"/>
        </pc:sldMkLst>
        <pc:spChg chg="add mod ord">
          <ac:chgData name="Berger, Martin" userId="2dce5e24-1af4-4f49-bc50-80b59c8dc36b" providerId="ADAL" clId="{5B54308E-0C57-4F5C-A252-20A7F62424B9}" dt="2024-10-29T19:51:41.071" v="32" actId="14861"/>
          <ac:spMkLst>
            <pc:docMk/>
            <pc:sldMk cId="3387637765" sldId="528"/>
            <ac:spMk id="2" creationId="{E2A405E7-A2E5-1655-9887-83CD2E355864}"/>
          </ac:spMkLst>
        </pc:spChg>
        <pc:spChg chg="add mod ord">
          <ac:chgData name="Berger, Martin" userId="2dce5e24-1af4-4f49-bc50-80b59c8dc36b" providerId="ADAL" clId="{5B54308E-0C57-4F5C-A252-20A7F62424B9}" dt="2024-10-29T19:51:47.651" v="33" actId="14861"/>
          <ac:spMkLst>
            <pc:docMk/>
            <pc:sldMk cId="3387637765" sldId="528"/>
            <ac:spMk id="3" creationId="{95D5E440-FEA2-88E4-70FD-8C1DE140306E}"/>
          </ac:spMkLst>
        </pc:spChg>
        <pc:spChg chg="mod">
          <ac:chgData name="Berger, Martin" userId="2dce5e24-1af4-4f49-bc50-80b59c8dc36b" providerId="ADAL" clId="{5B54308E-0C57-4F5C-A252-20A7F62424B9}" dt="2024-10-29T19:50:23.076" v="16" actId="1076"/>
          <ac:spMkLst>
            <pc:docMk/>
            <pc:sldMk cId="3387637765" sldId="528"/>
            <ac:spMk id="4" creationId="{D90F2E1C-38BD-816C-13E0-E5ECA0C8FD47}"/>
          </ac:spMkLst>
        </pc:spChg>
        <pc:spChg chg="add mod ord">
          <ac:chgData name="Berger, Martin" userId="2dce5e24-1af4-4f49-bc50-80b59c8dc36b" providerId="ADAL" clId="{5B54308E-0C57-4F5C-A252-20A7F62424B9}" dt="2024-10-29T19:52:01.060" v="38" actId="1035"/>
          <ac:spMkLst>
            <pc:docMk/>
            <pc:sldMk cId="3387637765" sldId="528"/>
            <ac:spMk id="6" creationId="{91BC9EEC-7A5A-F1D4-E181-7EE44B5E6C73}"/>
          </ac:spMkLst>
        </pc:spChg>
        <pc:spChg chg="mod">
          <ac:chgData name="Berger, Martin" userId="2dce5e24-1af4-4f49-bc50-80b59c8dc36b" providerId="ADAL" clId="{5B54308E-0C57-4F5C-A252-20A7F62424B9}" dt="2024-10-29T19:50:58.569" v="28" actId="1076"/>
          <ac:spMkLst>
            <pc:docMk/>
            <pc:sldMk cId="3387637765" sldId="528"/>
            <ac:spMk id="8" creationId="{8D75D515-1782-1305-10E9-E2EE0B9F4842}"/>
          </ac:spMkLst>
        </pc:spChg>
        <pc:spChg chg="add mod ord">
          <ac:chgData name="Berger, Martin" userId="2dce5e24-1af4-4f49-bc50-80b59c8dc36b" providerId="ADAL" clId="{5B54308E-0C57-4F5C-A252-20A7F62424B9}" dt="2024-10-29T19:51:58.552" v="35" actId="14861"/>
          <ac:spMkLst>
            <pc:docMk/>
            <pc:sldMk cId="3387637765" sldId="528"/>
            <ac:spMk id="10" creationId="{03E9CF95-07BD-3A8E-D8A1-A360815F437B}"/>
          </ac:spMkLst>
        </pc:spChg>
        <pc:spChg chg="add mod ord">
          <ac:chgData name="Berger, Martin" userId="2dce5e24-1af4-4f49-bc50-80b59c8dc36b" providerId="ADAL" clId="{5B54308E-0C57-4F5C-A252-20A7F62424B9}" dt="2024-10-29T19:52:07.259" v="39" actId="14861"/>
          <ac:spMkLst>
            <pc:docMk/>
            <pc:sldMk cId="3387637765" sldId="528"/>
            <ac:spMk id="11" creationId="{8848400A-6E28-9F32-0A9F-BBB645085677}"/>
          </ac:spMkLst>
        </pc:spChg>
        <pc:spChg chg="del">
          <ac:chgData name="Berger, Martin" userId="2dce5e24-1af4-4f49-bc50-80b59c8dc36b" providerId="ADAL" clId="{5B54308E-0C57-4F5C-A252-20A7F62424B9}" dt="2024-10-29T19:49:44.831" v="5" actId="478"/>
          <ac:spMkLst>
            <pc:docMk/>
            <pc:sldMk cId="3387637765" sldId="528"/>
            <ac:spMk id="325" creationId="{80852583-4462-1F06-9422-67A68AAC6EE4}"/>
          </ac:spMkLst>
        </pc:spChg>
        <pc:spChg chg="del">
          <ac:chgData name="Berger, Martin" userId="2dce5e24-1af4-4f49-bc50-80b59c8dc36b" providerId="ADAL" clId="{5B54308E-0C57-4F5C-A252-20A7F62424B9}" dt="2024-10-29T19:50:11.600" v="12" actId="478"/>
          <ac:spMkLst>
            <pc:docMk/>
            <pc:sldMk cId="3387637765" sldId="528"/>
            <ac:spMk id="326" creationId="{6CB70BE5-0474-6630-7C36-7A111BDD7694}"/>
          </ac:spMkLst>
        </pc:spChg>
        <pc:spChg chg="del">
          <ac:chgData name="Berger, Martin" userId="2dce5e24-1af4-4f49-bc50-80b59c8dc36b" providerId="ADAL" clId="{5B54308E-0C57-4F5C-A252-20A7F62424B9}" dt="2024-10-29T19:50:12.942" v="13" actId="478"/>
          <ac:spMkLst>
            <pc:docMk/>
            <pc:sldMk cId="3387637765" sldId="528"/>
            <ac:spMk id="327" creationId="{1E42CBC8-F4EB-A3F2-7FB8-8E28A6AF5D05}"/>
          </ac:spMkLst>
        </pc:spChg>
        <pc:spChg chg="del">
          <ac:chgData name="Berger, Martin" userId="2dce5e24-1af4-4f49-bc50-80b59c8dc36b" providerId="ADAL" clId="{5B54308E-0C57-4F5C-A252-20A7F62424B9}" dt="2024-10-29T19:50:14.048" v="14" actId="478"/>
          <ac:spMkLst>
            <pc:docMk/>
            <pc:sldMk cId="3387637765" sldId="528"/>
            <ac:spMk id="328" creationId="{80DC9C2C-9CB6-1651-89AB-E28FEB9FA40F}"/>
          </ac:spMkLst>
        </pc:spChg>
        <pc:spChg chg="del">
          <ac:chgData name="Berger, Martin" userId="2dce5e24-1af4-4f49-bc50-80b59c8dc36b" providerId="ADAL" clId="{5B54308E-0C57-4F5C-A252-20A7F62424B9}" dt="2024-10-29T19:50:15.035" v="15" actId="478"/>
          <ac:spMkLst>
            <pc:docMk/>
            <pc:sldMk cId="3387637765" sldId="528"/>
            <ac:spMk id="329" creationId="{C222E8C8-3D9F-BC98-49AB-AE8110D914E8}"/>
          </ac:spMkLst>
        </pc:spChg>
        <pc:grpChg chg="add del">
          <ac:chgData name="Berger, Martin" userId="2dce5e24-1af4-4f49-bc50-80b59c8dc36b" providerId="ADAL" clId="{5B54308E-0C57-4F5C-A252-20A7F62424B9}" dt="2024-10-29T19:49:42.419" v="4" actId="478"/>
          <ac:grpSpMkLst>
            <pc:docMk/>
            <pc:sldMk cId="3387637765" sldId="528"/>
            <ac:grpSpMk id="330" creationId="{B0BE61AF-70AC-6BF1-9ADF-CF352D744E6A}"/>
          </ac:grpSpMkLst>
        </pc:grpChg>
      </pc:sldChg>
      <pc:sldChg chg="modSp add">
        <pc:chgData name="Berger, Martin" userId="2dce5e24-1af4-4f49-bc50-80b59c8dc36b" providerId="ADAL" clId="{5B54308E-0C57-4F5C-A252-20A7F62424B9}" dt="2024-10-29T19:49:36.061" v="2"/>
        <pc:sldMkLst>
          <pc:docMk/>
          <pc:sldMk cId="491441592" sldId="548"/>
        </pc:sldMkLst>
        <pc:spChg chg="mod">
          <ac:chgData name="Berger, Martin" userId="2dce5e24-1af4-4f49-bc50-80b59c8dc36b" providerId="ADAL" clId="{5B54308E-0C57-4F5C-A252-20A7F62424B9}" dt="2024-10-29T19:49:36.061" v="2"/>
          <ac:spMkLst>
            <pc:docMk/>
            <pc:sldMk cId="491441592" sldId="548"/>
            <ac:spMk id="4" creationId="{AE831892-C135-3529-0BEE-7C063757F143}"/>
          </ac:spMkLst>
        </pc:spChg>
      </pc:sldChg>
      <pc:sldChg chg="modNotes">
        <pc:chgData name="Berger, Martin" userId="2dce5e24-1af4-4f49-bc50-80b59c8dc36b" providerId="ADAL" clId="{5B54308E-0C57-4F5C-A252-20A7F62424B9}" dt="2024-10-29T19:49:36.061" v="2"/>
        <pc:sldMkLst>
          <pc:docMk/>
          <pc:sldMk cId="1126948066" sldId="2147138228"/>
        </pc:sldMkLst>
      </pc:sldChg>
      <pc:sldChg chg="addSp delSp mod">
        <pc:chgData name="Berger, Martin" userId="2dce5e24-1af4-4f49-bc50-80b59c8dc36b" providerId="ADAL" clId="{5B54308E-0C57-4F5C-A252-20A7F62424B9}" dt="2024-10-29T19:49:29.700" v="1" actId="22"/>
        <pc:sldMkLst>
          <pc:docMk/>
          <pc:sldMk cId="1204918186" sldId="2147138230"/>
        </pc:sldMkLst>
        <pc:spChg chg="add del">
          <ac:chgData name="Berger, Martin" userId="2dce5e24-1af4-4f49-bc50-80b59c8dc36b" providerId="ADAL" clId="{5B54308E-0C57-4F5C-A252-20A7F62424B9}" dt="2024-10-29T19:49:29.700" v="1" actId="22"/>
          <ac:spMkLst>
            <pc:docMk/>
            <pc:sldMk cId="1204918186" sldId="2147138230"/>
            <ac:spMk id="4" creationId="{194756A4-D4A3-C164-69A7-AC0A0EE1ECF1}"/>
          </ac:spMkLst>
        </pc:spChg>
      </pc:sldChg>
    </pc:docChg>
  </pc:docChgLst>
  <pc:docChgLst>
    <pc:chgData name="Oehrli, Stefan" userId="3f36891e-f853-43e7-bcbc-2879a2513833" providerId="ADAL" clId="{BEB5DB81-D722-724F-85CE-75021972ADA7}"/>
    <pc:docChg chg="undo custSel addSld delSld modSld sldOrd modSection">
      <pc:chgData name="Oehrli, Stefan" userId="3f36891e-f853-43e7-bcbc-2879a2513833" providerId="ADAL" clId="{BEB5DB81-D722-724F-85CE-75021972ADA7}" dt="2023-04-04T18:33:52.092" v="6260" actId="20577"/>
      <pc:docMkLst>
        <pc:docMk/>
      </pc:docMkLst>
      <pc:sldChg chg="modSp mod">
        <pc:chgData name="Oehrli, Stefan" userId="3f36891e-f853-43e7-bcbc-2879a2513833" providerId="ADAL" clId="{BEB5DB81-D722-724F-85CE-75021972ADA7}" dt="2023-04-03T20:39:26.762" v="1290" actId="20577"/>
        <pc:sldMkLst>
          <pc:docMk/>
          <pc:sldMk cId="3447450657" sldId="344"/>
        </pc:sldMkLst>
        <pc:spChg chg="mod">
          <ac:chgData name="Oehrli, Stefan" userId="3f36891e-f853-43e7-bcbc-2879a2513833" providerId="ADAL" clId="{BEB5DB81-D722-724F-85CE-75021972ADA7}" dt="2023-04-03T20:38:45.488" v="1279"/>
          <ac:spMkLst>
            <pc:docMk/>
            <pc:sldMk cId="3447450657" sldId="344"/>
            <ac:spMk id="8" creationId="{3B72ACB7-875F-88E1-8FF9-E339AB5CEA90}"/>
          </ac:spMkLst>
        </pc:spChg>
        <pc:spChg chg="mod">
          <ac:chgData name="Oehrli, Stefan" userId="3f36891e-f853-43e7-bcbc-2879a2513833" providerId="ADAL" clId="{BEB5DB81-D722-724F-85CE-75021972ADA7}" dt="2023-04-03T20:38:44.193" v="1278" actId="21"/>
          <ac:spMkLst>
            <pc:docMk/>
            <pc:sldMk cId="3447450657" sldId="344"/>
            <ac:spMk id="9" creationId="{4722DDC2-84AC-744A-549D-84D37EC6E174}"/>
          </ac:spMkLst>
        </pc:spChg>
        <pc:spChg chg="mod">
          <ac:chgData name="Oehrli, Stefan" userId="3f36891e-f853-43e7-bcbc-2879a2513833" providerId="ADAL" clId="{BEB5DB81-D722-724F-85CE-75021972ADA7}" dt="2023-04-03T20:39:26.762" v="1290" actId="20577"/>
          <ac:spMkLst>
            <pc:docMk/>
            <pc:sldMk cId="3447450657" sldId="344"/>
            <ac:spMk id="10" creationId="{2510B16E-5797-8D5D-1A8B-7AEBFCCACEC2}"/>
          </ac:spMkLst>
        </pc:spChg>
      </pc:sldChg>
      <pc:sldChg chg="mod modShow">
        <pc:chgData name="Oehrli, Stefan" userId="3f36891e-f853-43e7-bcbc-2879a2513833" providerId="ADAL" clId="{BEB5DB81-D722-724F-85CE-75021972ADA7}" dt="2023-04-03T21:43:43.924" v="2892" actId="729"/>
        <pc:sldMkLst>
          <pc:docMk/>
          <pc:sldMk cId="2850394091" sldId="458"/>
        </pc:sldMkLst>
      </pc:sldChg>
      <pc:sldChg chg="modSp mod">
        <pc:chgData name="Oehrli, Stefan" userId="3f36891e-f853-43e7-bcbc-2879a2513833" providerId="ADAL" clId="{BEB5DB81-D722-724F-85CE-75021972ADA7}" dt="2023-04-03T20:38:55.777" v="1280" actId="20577"/>
        <pc:sldMkLst>
          <pc:docMk/>
          <pc:sldMk cId="472890992" sldId="463"/>
        </pc:sldMkLst>
        <pc:spChg chg="mod">
          <ac:chgData name="Oehrli, Stefan" userId="3f36891e-f853-43e7-bcbc-2879a2513833" providerId="ADAL" clId="{BEB5DB81-D722-724F-85CE-75021972ADA7}" dt="2023-04-03T20:38:55.777" v="1280" actId="20577"/>
          <ac:spMkLst>
            <pc:docMk/>
            <pc:sldMk cId="472890992" sldId="463"/>
            <ac:spMk id="3" creationId="{321964B1-400E-60C1-07DD-E5DA125F2DE4}"/>
          </ac:spMkLst>
        </pc:spChg>
      </pc:sldChg>
      <pc:sldChg chg="modSp mod">
        <pc:chgData name="Oehrli, Stefan" userId="3f36891e-f853-43e7-bcbc-2879a2513833" providerId="ADAL" clId="{BEB5DB81-D722-724F-85CE-75021972ADA7}" dt="2023-04-03T20:49:19.881" v="1825"/>
        <pc:sldMkLst>
          <pc:docMk/>
          <pc:sldMk cId="1625272212" sldId="464"/>
        </pc:sldMkLst>
        <pc:spChg chg="mod">
          <ac:chgData name="Oehrli, Stefan" userId="3f36891e-f853-43e7-bcbc-2879a2513833" providerId="ADAL" clId="{BEB5DB81-D722-724F-85CE-75021972ADA7}" dt="2023-04-03T20:39:00.333" v="1282" actId="20577"/>
          <ac:spMkLst>
            <pc:docMk/>
            <pc:sldMk cId="1625272212" sldId="464"/>
            <ac:spMk id="3" creationId="{D13591C9-121C-8337-ED36-8FBC79879363}"/>
          </ac:spMkLst>
        </pc:spChg>
        <pc:spChg chg="mod">
          <ac:chgData name="Oehrli, Stefan" userId="3f36891e-f853-43e7-bcbc-2879a2513833" providerId="ADAL" clId="{BEB5DB81-D722-724F-85CE-75021972ADA7}" dt="2023-04-03T20:49:19.881" v="1825"/>
          <ac:spMkLst>
            <pc:docMk/>
            <pc:sldMk cId="1625272212" sldId="464"/>
            <ac:spMk id="4" creationId="{BA0812C7-5101-1582-9B26-0594EDDF2511}"/>
          </ac:spMkLst>
        </pc:spChg>
      </pc:sldChg>
      <pc:sldChg chg="modSp mod ord">
        <pc:chgData name="Oehrli, Stefan" userId="3f36891e-f853-43e7-bcbc-2879a2513833" providerId="ADAL" clId="{BEB5DB81-D722-724F-85CE-75021972ADA7}" dt="2023-04-03T20:38:09.730" v="1270" actId="20577"/>
        <pc:sldMkLst>
          <pc:docMk/>
          <pc:sldMk cId="3850440555" sldId="465"/>
        </pc:sldMkLst>
        <pc:spChg chg="mod">
          <ac:chgData name="Oehrli, Stefan" userId="3f36891e-f853-43e7-bcbc-2879a2513833" providerId="ADAL" clId="{BEB5DB81-D722-724F-85CE-75021972ADA7}" dt="2023-04-03T20:38:09.730" v="1270" actId="20577"/>
          <ac:spMkLst>
            <pc:docMk/>
            <pc:sldMk cId="3850440555" sldId="465"/>
            <ac:spMk id="3" creationId="{32EC780A-CC4D-8F17-D824-D04A8B01C89D}"/>
          </ac:spMkLst>
        </pc:spChg>
      </pc:sldChg>
      <pc:sldChg chg="modSp mod">
        <pc:chgData name="Oehrli, Stefan" userId="3f36891e-f853-43e7-bcbc-2879a2513833" providerId="ADAL" clId="{BEB5DB81-D722-724F-85CE-75021972ADA7}" dt="2023-04-03T20:39:06.798" v="1287" actId="20577"/>
        <pc:sldMkLst>
          <pc:docMk/>
          <pc:sldMk cId="936731009" sldId="466"/>
        </pc:sldMkLst>
        <pc:spChg chg="mod">
          <ac:chgData name="Oehrli, Stefan" userId="3f36891e-f853-43e7-bcbc-2879a2513833" providerId="ADAL" clId="{BEB5DB81-D722-724F-85CE-75021972ADA7}" dt="2023-04-03T20:39:06.798" v="1287" actId="20577"/>
          <ac:spMkLst>
            <pc:docMk/>
            <pc:sldMk cId="936731009" sldId="466"/>
            <ac:spMk id="3" creationId="{E134B6D7-B842-E873-0FF6-6DFB153E459D}"/>
          </ac:spMkLst>
        </pc:spChg>
      </pc:sldChg>
      <pc:sldChg chg="modSp mod">
        <pc:chgData name="Oehrli, Stefan" userId="3f36891e-f853-43e7-bcbc-2879a2513833" providerId="ADAL" clId="{BEB5DB81-D722-724F-85CE-75021972ADA7}" dt="2023-04-03T20:39:14.595" v="1288" actId="20577"/>
        <pc:sldMkLst>
          <pc:docMk/>
          <pc:sldMk cId="3156609275" sldId="467"/>
        </pc:sldMkLst>
        <pc:spChg chg="mod">
          <ac:chgData name="Oehrli, Stefan" userId="3f36891e-f853-43e7-bcbc-2879a2513833" providerId="ADAL" clId="{BEB5DB81-D722-724F-85CE-75021972ADA7}" dt="2023-04-03T20:39:14.595" v="1288" actId="20577"/>
          <ac:spMkLst>
            <pc:docMk/>
            <pc:sldMk cId="3156609275" sldId="467"/>
            <ac:spMk id="3" creationId="{6FB3999A-3DD6-F5F6-F341-1E8F7EBCF858}"/>
          </ac:spMkLst>
        </pc:spChg>
      </pc:sldChg>
      <pc:sldChg chg="modSp mod">
        <pc:chgData name="Oehrli, Stefan" userId="3f36891e-f853-43e7-bcbc-2879a2513833" providerId="ADAL" clId="{BEB5DB81-D722-724F-85CE-75021972ADA7}" dt="2023-04-03T21:43:21.992" v="2891" actId="122"/>
        <pc:sldMkLst>
          <pc:docMk/>
          <pc:sldMk cId="2714054722" sldId="469"/>
        </pc:sldMkLst>
        <pc:spChg chg="mod">
          <ac:chgData name="Oehrli, Stefan" userId="3f36891e-f853-43e7-bcbc-2879a2513833" providerId="ADAL" clId="{BEB5DB81-D722-724F-85CE-75021972ADA7}" dt="2023-04-03T21:43:21.992" v="2891" actId="122"/>
          <ac:spMkLst>
            <pc:docMk/>
            <pc:sldMk cId="2714054722" sldId="469"/>
            <ac:spMk id="12" creationId="{9DA62D43-749B-A9B4-A7EA-2CF16A7C81B2}"/>
          </ac:spMkLst>
        </pc:spChg>
      </pc:sldChg>
      <pc:sldChg chg="addSp delSp modSp mod modClrScheme modAnim chgLayout">
        <pc:chgData name="Oehrli, Stefan" userId="3f36891e-f853-43e7-bcbc-2879a2513833" providerId="ADAL" clId="{BEB5DB81-D722-724F-85CE-75021972ADA7}" dt="2023-04-04T03:54:02.474" v="3160"/>
        <pc:sldMkLst>
          <pc:docMk/>
          <pc:sldMk cId="1153880397" sldId="470"/>
        </pc:sldMkLst>
        <pc:spChg chg="add del mod ord">
          <ac:chgData name="Oehrli, Stefan" userId="3f36891e-f853-43e7-bcbc-2879a2513833" providerId="ADAL" clId="{BEB5DB81-D722-724F-85CE-75021972ADA7}" dt="2023-04-04T03:53:23.379" v="3157" actId="113"/>
          <ac:spMkLst>
            <pc:docMk/>
            <pc:sldMk cId="1153880397" sldId="470"/>
            <ac:spMk id="2" creationId="{C0801084-F41C-99CB-6C15-5F3EDECF1FC3}"/>
          </ac:spMkLst>
        </pc:spChg>
        <pc:spChg chg="add del mod ord">
          <ac:chgData name="Oehrli, Stefan" userId="3f36891e-f853-43e7-bcbc-2879a2513833" providerId="ADAL" clId="{BEB5DB81-D722-724F-85CE-75021972ADA7}" dt="2023-04-03T21:31:56.432" v="2641"/>
          <ac:spMkLst>
            <pc:docMk/>
            <pc:sldMk cId="1153880397" sldId="470"/>
            <ac:spMk id="3" creationId="{BCCE1CC0-F57C-7F9B-24E6-41280894A2BC}"/>
          </ac:spMkLst>
        </pc:spChg>
        <pc:spChg chg="mod ord">
          <ac:chgData name="Oehrli, Stefan" userId="3f36891e-f853-43e7-bcbc-2879a2513833" providerId="ADAL" clId="{BEB5DB81-D722-724F-85CE-75021972ADA7}" dt="2023-04-03T21:31:30.722" v="2630" actId="700"/>
          <ac:spMkLst>
            <pc:docMk/>
            <pc:sldMk cId="1153880397" sldId="470"/>
            <ac:spMk id="5" creationId="{DBE92217-B413-080C-A813-C2F89A18A9DA}"/>
          </ac:spMkLst>
        </pc:spChg>
        <pc:spChg chg="mod ord">
          <ac:chgData name="Oehrli, Stefan" userId="3f36891e-f853-43e7-bcbc-2879a2513833" providerId="ADAL" clId="{BEB5DB81-D722-724F-85CE-75021972ADA7}" dt="2023-04-03T21:31:30.722" v="2630" actId="700"/>
          <ac:spMkLst>
            <pc:docMk/>
            <pc:sldMk cId="1153880397" sldId="470"/>
            <ac:spMk id="6" creationId="{8604E253-9CB3-1D9D-F062-FB7A11242BE1}"/>
          </ac:spMkLst>
        </pc:spChg>
        <pc:spChg chg="mod ord">
          <ac:chgData name="Oehrli, Stefan" userId="3f36891e-f853-43e7-bcbc-2879a2513833" providerId="ADAL" clId="{BEB5DB81-D722-724F-85CE-75021972ADA7}" dt="2023-04-03T21:31:30.722" v="2630" actId="700"/>
          <ac:spMkLst>
            <pc:docMk/>
            <pc:sldMk cId="1153880397" sldId="470"/>
            <ac:spMk id="11" creationId="{F85A845C-DC77-5A80-9D42-5143A7A9A73C}"/>
          </ac:spMkLst>
        </pc:spChg>
        <pc:spChg chg="del mod ord">
          <ac:chgData name="Oehrli, Stefan" userId="3f36891e-f853-43e7-bcbc-2879a2513833" providerId="ADAL" clId="{BEB5DB81-D722-724F-85CE-75021972ADA7}" dt="2023-04-03T21:31:30.722" v="2630" actId="700"/>
          <ac:spMkLst>
            <pc:docMk/>
            <pc:sldMk cId="1153880397" sldId="470"/>
            <ac:spMk id="12" creationId="{9DA62D43-749B-A9B4-A7EA-2CF16A7C81B2}"/>
          </ac:spMkLst>
        </pc:spChg>
        <pc:spChg chg="mod ord">
          <ac:chgData name="Oehrli, Stefan" userId="3f36891e-f853-43e7-bcbc-2879a2513833" providerId="ADAL" clId="{BEB5DB81-D722-724F-85CE-75021972ADA7}" dt="2023-04-03T21:31:30.722" v="2630" actId="700"/>
          <ac:spMkLst>
            <pc:docMk/>
            <pc:sldMk cId="1153880397" sldId="470"/>
            <ac:spMk id="13" creationId="{9EEEFBE2-D58B-0304-1EEF-C6A93EAE2FDB}"/>
          </ac:spMkLst>
        </pc:spChg>
        <pc:picChg chg="add del mod">
          <ac:chgData name="Oehrli, Stefan" userId="3f36891e-f853-43e7-bcbc-2879a2513833" providerId="ADAL" clId="{BEB5DB81-D722-724F-85CE-75021972ADA7}" dt="2023-04-03T21:31:38.975" v="2635"/>
          <ac:picMkLst>
            <pc:docMk/>
            <pc:sldMk cId="1153880397" sldId="470"/>
            <ac:picMk id="7" creationId="{6EF06718-C002-4AB9-7E35-D60C9B0C975A}"/>
          </ac:picMkLst>
        </pc:picChg>
        <pc:picChg chg="add mod">
          <ac:chgData name="Oehrli, Stefan" userId="3f36891e-f853-43e7-bcbc-2879a2513833" providerId="ADAL" clId="{BEB5DB81-D722-724F-85CE-75021972ADA7}" dt="2023-04-03T21:32:21.143" v="2652" actId="1076"/>
          <ac:picMkLst>
            <pc:docMk/>
            <pc:sldMk cId="1153880397" sldId="470"/>
            <ac:picMk id="9" creationId="{A61FEC2F-D7C6-91D8-7B41-414E7F4BD194}"/>
          </ac:picMkLst>
        </pc:picChg>
      </pc:sldChg>
      <pc:sldChg chg="addSp delSp modSp mod ord modClrScheme chgLayout">
        <pc:chgData name="Oehrli, Stefan" userId="3f36891e-f853-43e7-bcbc-2879a2513833" providerId="ADAL" clId="{BEB5DB81-D722-724F-85CE-75021972ADA7}" dt="2023-04-03T20:32:24.775" v="1214" actId="114"/>
        <pc:sldMkLst>
          <pc:docMk/>
          <pc:sldMk cId="545680952" sldId="471"/>
        </pc:sldMkLst>
        <pc:spChg chg="add del mod ord">
          <ac:chgData name="Oehrli, Stefan" userId="3f36891e-f853-43e7-bcbc-2879a2513833" providerId="ADAL" clId="{BEB5DB81-D722-724F-85CE-75021972ADA7}" dt="2023-04-03T19:54:53.805" v="734"/>
          <ac:spMkLst>
            <pc:docMk/>
            <pc:sldMk cId="545680952" sldId="471"/>
            <ac:spMk id="2" creationId="{7E42747D-2794-A346-07CE-5E2586BDA1F5}"/>
          </ac:spMkLst>
        </pc:spChg>
        <pc:spChg chg="mod ord">
          <ac:chgData name="Oehrli, Stefan" userId="3f36891e-f853-43e7-bcbc-2879a2513833" providerId="ADAL" clId="{BEB5DB81-D722-724F-85CE-75021972ADA7}" dt="2023-04-03T19:54:50.207" v="733" actId="700"/>
          <ac:spMkLst>
            <pc:docMk/>
            <pc:sldMk cId="545680952" sldId="471"/>
            <ac:spMk id="5" creationId="{3DA20614-23DB-259A-331D-99757A344804}"/>
          </ac:spMkLst>
        </pc:spChg>
        <pc:spChg chg="mod ord">
          <ac:chgData name="Oehrli, Stefan" userId="3f36891e-f853-43e7-bcbc-2879a2513833" providerId="ADAL" clId="{BEB5DB81-D722-724F-85CE-75021972ADA7}" dt="2023-04-03T19:54:50.207" v="733" actId="700"/>
          <ac:spMkLst>
            <pc:docMk/>
            <pc:sldMk cId="545680952" sldId="471"/>
            <ac:spMk id="6" creationId="{876B435F-1241-E387-0E3B-C759EDCB74A2}"/>
          </ac:spMkLst>
        </pc:spChg>
        <pc:spChg chg="mod ord">
          <ac:chgData name="Oehrli, Stefan" userId="3f36891e-f853-43e7-bcbc-2879a2513833" providerId="ADAL" clId="{BEB5DB81-D722-724F-85CE-75021972ADA7}" dt="2023-04-03T19:54:50.207" v="733" actId="700"/>
          <ac:spMkLst>
            <pc:docMk/>
            <pc:sldMk cId="545680952" sldId="471"/>
            <ac:spMk id="7" creationId="{54344B74-8186-A6F7-4C9A-6FB029B1170F}"/>
          </ac:spMkLst>
        </pc:spChg>
        <pc:spChg chg="mod ord">
          <ac:chgData name="Oehrli, Stefan" userId="3f36891e-f853-43e7-bcbc-2879a2513833" providerId="ADAL" clId="{BEB5DB81-D722-724F-85CE-75021972ADA7}" dt="2023-04-03T20:32:24.775" v="1214" actId="114"/>
          <ac:spMkLst>
            <pc:docMk/>
            <pc:sldMk cId="545680952" sldId="471"/>
            <ac:spMk id="8" creationId="{AD765B08-EA1F-9773-F4D5-4A7378FF2C80}"/>
          </ac:spMkLst>
        </pc:spChg>
        <pc:spChg chg="mod ord">
          <ac:chgData name="Oehrli, Stefan" userId="3f36891e-f853-43e7-bcbc-2879a2513833" providerId="ADAL" clId="{BEB5DB81-D722-724F-85CE-75021972ADA7}" dt="2023-04-03T19:54:50.207" v="733" actId="700"/>
          <ac:spMkLst>
            <pc:docMk/>
            <pc:sldMk cId="545680952" sldId="471"/>
            <ac:spMk id="9" creationId="{41C1E998-12B4-EED0-C537-424C19392290}"/>
          </ac:spMkLst>
        </pc:spChg>
        <pc:spChg chg="add del mod">
          <ac:chgData name="Oehrli, Stefan" userId="3f36891e-f853-43e7-bcbc-2879a2513833" providerId="ADAL" clId="{BEB5DB81-D722-724F-85CE-75021972ADA7}" dt="2023-04-03T19:55:54.411" v="736"/>
          <ac:spMkLst>
            <pc:docMk/>
            <pc:sldMk cId="545680952" sldId="471"/>
            <ac:spMk id="10" creationId="{08F8DD7B-AFD2-348A-6CF2-3196E51295EC}"/>
          </ac:spMkLst>
        </pc:spChg>
        <pc:picChg chg="add del mod">
          <ac:chgData name="Oehrli, Stefan" userId="3f36891e-f853-43e7-bcbc-2879a2513833" providerId="ADAL" clId="{BEB5DB81-D722-724F-85CE-75021972ADA7}" dt="2023-04-03T19:55:53.299" v="735" actId="478"/>
          <ac:picMkLst>
            <pc:docMk/>
            <pc:sldMk cId="545680952" sldId="471"/>
            <ac:picMk id="3" creationId="{3F5D0FA2-7FDC-C88E-AEEA-53901A28AE3C}"/>
          </ac:picMkLst>
        </pc:picChg>
        <pc:picChg chg="add mod">
          <ac:chgData name="Oehrli, Stefan" userId="3f36891e-f853-43e7-bcbc-2879a2513833" providerId="ADAL" clId="{BEB5DB81-D722-724F-85CE-75021972ADA7}" dt="2023-04-03T20:01:10.905" v="933" actId="1076"/>
          <ac:picMkLst>
            <pc:docMk/>
            <pc:sldMk cId="545680952" sldId="471"/>
            <ac:picMk id="11" creationId="{F0244582-1FE8-291E-0000-8C885F39FC47}"/>
          </ac:picMkLst>
        </pc:picChg>
      </pc:sldChg>
      <pc:sldChg chg="addSp delSp modSp mod modClrScheme modAnim chgLayout">
        <pc:chgData name="Oehrli, Stefan" userId="3f36891e-f853-43e7-bcbc-2879a2513833" providerId="ADAL" clId="{BEB5DB81-D722-724F-85CE-75021972ADA7}" dt="2023-04-04T05:27:07.432" v="4258"/>
        <pc:sldMkLst>
          <pc:docMk/>
          <pc:sldMk cId="3036863141" sldId="472"/>
        </pc:sldMkLst>
        <pc:spChg chg="add mod ord">
          <ac:chgData name="Oehrli, Stefan" userId="3f36891e-f853-43e7-bcbc-2879a2513833" providerId="ADAL" clId="{BEB5DB81-D722-724F-85CE-75021972ADA7}" dt="2023-04-03T21:28:55.815" v="2628"/>
          <ac:spMkLst>
            <pc:docMk/>
            <pc:sldMk cId="3036863141" sldId="472"/>
            <ac:spMk id="2" creationId="{5B6A190F-E3F2-F6C0-EB51-368535B6210E}"/>
          </ac:spMkLst>
        </pc:spChg>
        <pc:spChg chg="add mod ord">
          <ac:chgData name="Oehrli, Stefan" userId="3f36891e-f853-43e7-bcbc-2879a2513833" providerId="ADAL" clId="{BEB5DB81-D722-724F-85CE-75021972ADA7}" dt="2023-04-03T21:29:17.567" v="2629"/>
          <ac:spMkLst>
            <pc:docMk/>
            <pc:sldMk cId="3036863141" sldId="472"/>
            <ac:spMk id="3" creationId="{B0901ECB-D5A0-0003-363D-35910B4E5326}"/>
          </ac:spMkLst>
        </pc:spChg>
        <pc:spChg chg="add del mod ord">
          <ac:chgData name="Oehrli, Stefan" userId="3f36891e-f853-43e7-bcbc-2879a2513833" providerId="ADAL" clId="{BEB5DB81-D722-724F-85CE-75021972ADA7}" dt="2023-04-03T21:28:27.765" v="2622"/>
          <ac:spMkLst>
            <pc:docMk/>
            <pc:sldMk cId="3036863141" sldId="472"/>
            <ac:spMk id="4" creationId="{380DA253-ABFA-1BD8-18C5-911396FEF62C}"/>
          </ac:spMkLst>
        </pc:spChg>
        <pc:spChg chg="mod ord">
          <ac:chgData name="Oehrli, Stefan" userId="3f36891e-f853-43e7-bcbc-2879a2513833" providerId="ADAL" clId="{BEB5DB81-D722-724F-85CE-75021972ADA7}" dt="2023-04-03T21:28:24.871" v="2621" actId="700"/>
          <ac:spMkLst>
            <pc:docMk/>
            <pc:sldMk cId="3036863141" sldId="472"/>
            <ac:spMk id="5" creationId="{12029315-EA9E-D291-2100-43D1174BA458}"/>
          </ac:spMkLst>
        </pc:spChg>
        <pc:spChg chg="mod ord">
          <ac:chgData name="Oehrli, Stefan" userId="3f36891e-f853-43e7-bcbc-2879a2513833" providerId="ADAL" clId="{BEB5DB81-D722-724F-85CE-75021972ADA7}" dt="2023-04-03T21:28:24.871" v="2621" actId="700"/>
          <ac:spMkLst>
            <pc:docMk/>
            <pc:sldMk cId="3036863141" sldId="472"/>
            <ac:spMk id="6" creationId="{8B1D37E2-BBEE-F900-072C-3FF3F33A9497}"/>
          </ac:spMkLst>
        </pc:spChg>
        <pc:spChg chg="del mod ord">
          <ac:chgData name="Oehrli, Stefan" userId="3f36891e-f853-43e7-bcbc-2879a2513833" providerId="ADAL" clId="{BEB5DB81-D722-724F-85CE-75021972ADA7}" dt="2023-04-03T21:28:24.871" v="2621" actId="700"/>
          <ac:spMkLst>
            <pc:docMk/>
            <pc:sldMk cId="3036863141" sldId="472"/>
            <ac:spMk id="7" creationId="{7AB64799-9857-3A1D-5502-8B28474D5315}"/>
          </ac:spMkLst>
        </pc:spChg>
        <pc:spChg chg="mod ord">
          <ac:chgData name="Oehrli, Stefan" userId="3f36891e-f853-43e7-bcbc-2879a2513833" providerId="ADAL" clId="{BEB5DB81-D722-724F-85CE-75021972ADA7}" dt="2023-04-04T05:27:00.374" v="4257" actId="404"/>
          <ac:spMkLst>
            <pc:docMk/>
            <pc:sldMk cId="3036863141" sldId="472"/>
            <ac:spMk id="8" creationId="{3138A1FC-DE2E-C99D-2FEE-ECEC2F901B58}"/>
          </ac:spMkLst>
        </pc:spChg>
        <pc:spChg chg="del mod ord">
          <ac:chgData name="Oehrli, Stefan" userId="3f36891e-f853-43e7-bcbc-2879a2513833" providerId="ADAL" clId="{BEB5DB81-D722-724F-85CE-75021972ADA7}" dt="2023-04-03T21:28:24.871" v="2621" actId="700"/>
          <ac:spMkLst>
            <pc:docMk/>
            <pc:sldMk cId="3036863141" sldId="472"/>
            <ac:spMk id="9" creationId="{461A9EF2-0A24-6C2E-E326-21C0D1E4802B}"/>
          </ac:spMkLst>
        </pc:spChg>
        <pc:picChg chg="add mod">
          <ac:chgData name="Oehrli, Stefan" userId="3f36891e-f853-43e7-bcbc-2879a2513833" providerId="ADAL" clId="{BEB5DB81-D722-724F-85CE-75021972ADA7}" dt="2023-04-03T21:28:38.769" v="2626" actId="1076"/>
          <ac:picMkLst>
            <pc:docMk/>
            <pc:sldMk cId="3036863141" sldId="472"/>
            <ac:picMk id="10" creationId="{0040DD61-E931-C2A0-C23A-69E299BB9403}"/>
          </ac:picMkLst>
        </pc:picChg>
      </pc:sldChg>
      <pc:sldChg chg="addSp delSp modSp del mod ord">
        <pc:chgData name="Oehrli, Stefan" userId="3f36891e-f853-43e7-bcbc-2879a2513833" providerId="ADAL" clId="{BEB5DB81-D722-724F-85CE-75021972ADA7}" dt="2023-04-04T07:33:13.574" v="5306" actId="2696"/>
        <pc:sldMkLst>
          <pc:docMk/>
          <pc:sldMk cId="2405720067" sldId="473"/>
        </pc:sldMkLst>
        <pc:spChg chg="add del mod">
          <ac:chgData name="Oehrli, Stefan" userId="3f36891e-f853-43e7-bcbc-2879a2513833" providerId="ADAL" clId="{BEB5DB81-D722-724F-85CE-75021972ADA7}" dt="2023-04-04T06:38:03.616" v="4402"/>
          <ac:spMkLst>
            <pc:docMk/>
            <pc:sldMk cId="2405720067" sldId="473"/>
            <ac:spMk id="2" creationId="{8C0C0734-D1D7-BBED-CED6-823BA76A7AD0}"/>
          </ac:spMkLst>
        </pc:spChg>
        <pc:spChg chg="mod">
          <ac:chgData name="Oehrli, Stefan" userId="3f36891e-f853-43e7-bcbc-2879a2513833" providerId="ADAL" clId="{BEB5DB81-D722-724F-85CE-75021972ADA7}" dt="2023-04-04T06:38:41.846" v="4449"/>
          <ac:spMkLst>
            <pc:docMk/>
            <pc:sldMk cId="2405720067" sldId="473"/>
            <ac:spMk id="7" creationId="{85B50D58-ADDC-D86F-1B86-FFD7746AF8B2}"/>
          </ac:spMkLst>
        </pc:spChg>
        <pc:spChg chg="del">
          <ac:chgData name="Oehrli, Stefan" userId="3f36891e-f853-43e7-bcbc-2879a2513833" providerId="ADAL" clId="{BEB5DB81-D722-724F-85CE-75021972ADA7}" dt="2023-04-03T20:36:13.658" v="1265"/>
          <ac:spMkLst>
            <pc:docMk/>
            <pc:sldMk cId="2405720067" sldId="473"/>
            <ac:spMk id="8" creationId="{DF6ADF7D-FF4F-5826-62C5-DD0E8DE620CD}"/>
          </ac:spMkLst>
        </pc:spChg>
        <pc:spChg chg="mod">
          <ac:chgData name="Oehrli, Stefan" userId="3f36891e-f853-43e7-bcbc-2879a2513833" providerId="ADAL" clId="{BEB5DB81-D722-724F-85CE-75021972ADA7}" dt="2023-04-04T06:39:52.086" v="4460"/>
          <ac:spMkLst>
            <pc:docMk/>
            <pc:sldMk cId="2405720067" sldId="473"/>
            <ac:spMk id="9" creationId="{F62B89D5-A706-6766-E77E-FAA051C79F0F}"/>
          </ac:spMkLst>
        </pc:spChg>
        <pc:spChg chg="add del mod">
          <ac:chgData name="Oehrli, Stefan" userId="3f36891e-f853-43e7-bcbc-2879a2513833" providerId="ADAL" clId="{BEB5DB81-D722-724F-85CE-75021972ADA7}" dt="2023-04-04T06:47:49.773" v="4464"/>
          <ac:spMkLst>
            <pc:docMk/>
            <pc:sldMk cId="2405720067" sldId="473"/>
            <ac:spMk id="10" creationId="{590486D5-F0F0-1DB3-BC95-14048CA6DA06}"/>
          </ac:spMkLst>
        </pc:spChg>
        <pc:spChg chg="add mod">
          <ac:chgData name="Oehrli, Stefan" userId="3f36891e-f853-43e7-bcbc-2879a2513833" providerId="ADAL" clId="{BEB5DB81-D722-724F-85CE-75021972ADA7}" dt="2023-04-04T07:25:25.301" v="5305"/>
          <ac:spMkLst>
            <pc:docMk/>
            <pc:sldMk cId="2405720067" sldId="473"/>
            <ac:spMk id="14" creationId="{49A31C2A-055B-D0A8-0498-8BFD1984C8EA}"/>
          </ac:spMkLst>
        </pc:spChg>
        <pc:picChg chg="add del mod">
          <ac:chgData name="Oehrli, Stefan" userId="3f36891e-f853-43e7-bcbc-2879a2513833" providerId="ADAL" clId="{BEB5DB81-D722-724F-85CE-75021972ADA7}" dt="2023-04-04T06:47:44.303" v="4461" actId="478"/>
          <ac:picMkLst>
            <pc:docMk/>
            <pc:sldMk cId="2405720067" sldId="473"/>
            <ac:picMk id="3" creationId="{A7A35FE7-6840-AA81-898F-DBEBA520D63D}"/>
          </ac:picMkLst>
        </pc:picChg>
        <pc:picChg chg="add del mod">
          <ac:chgData name="Oehrli, Stefan" userId="3f36891e-f853-43e7-bcbc-2879a2513833" providerId="ADAL" clId="{BEB5DB81-D722-724F-85CE-75021972ADA7}" dt="2023-04-04T06:47:48.043" v="4463"/>
          <ac:picMkLst>
            <pc:docMk/>
            <pc:sldMk cId="2405720067" sldId="473"/>
            <ac:picMk id="11" creationId="{39B81051-499E-82A5-E87E-3EEF97D8DB8B}"/>
          </ac:picMkLst>
        </pc:picChg>
        <pc:picChg chg="add del mod">
          <ac:chgData name="Oehrli, Stefan" userId="3f36891e-f853-43e7-bcbc-2879a2513833" providerId="ADAL" clId="{BEB5DB81-D722-724F-85CE-75021972ADA7}" dt="2023-04-04T07:25:13.698" v="5304" actId="478"/>
          <ac:picMkLst>
            <pc:docMk/>
            <pc:sldMk cId="2405720067" sldId="473"/>
            <ac:picMk id="12" creationId="{E95E7727-AEAD-7ED4-ADE1-E6DF5EC7539F}"/>
          </ac:picMkLst>
        </pc:picChg>
        <pc:picChg chg="add del mod">
          <ac:chgData name="Oehrli, Stefan" userId="3f36891e-f853-43e7-bcbc-2879a2513833" providerId="ADAL" clId="{BEB5DB81-D722-724F-85CE-75021972ADA7}" dt="2023-04-04T06:38:02.249" v="4401" actId="478"/>
          <ac:picMkLst>
            <pc:docMk/>
            <pc:sldMk cId="2405720067" sldId="473"/>
            <ac:picMk id="1026" creationId="{C119AC10-D50D-C11F-5827-DB0DF2660F01}"/>
          </ac:picMkLst>
        </pc:picChg>
      </pc:sldChg>
      <pc:sldChg chg="modSp del mod">
        <pc:chgData name="Oehrli, Stefan" userId="3f36891e-f853-43e7-bcbc-2879a2513833" providerId="ADAL" clId="{BEB5DB81-D722-724F-85CE-75021972ADA7}" dt="2023-04-04T08:35:50.479" v="6092" actId="2696"/>
        <pc:sldMkLst>
          <pc:docMk/>
          <pc:sldMk cId="2977534450" sldId="474"/>
        </pc:sldMkLst>
        <pc:spChg chg="mod">
          <ac:chgData name="Oehrli, Stefan" userId="3f36891e-f853-43e7-bcbc-2879a2513833" providerId="ADAL" clId="{BEB5DB81-D722-724F-85CE-75021972ADA7}" dt="2023-04-04T08:29:52.258" v="5741"/>
          <ac:spMkLst>
            <pc:docMk/>
            <pc:sldMk cId="2977534450" sldId="474"/>
            <ac:spMk id="7" creationId="{C124A808-16DB-889A-9FA2-0EC159F08028}"/>
          </ac:spMkLst>
        </pc:spChg>
        <pc:spChg chg="mod">
          <ac:chgData name="Oehrli, Stefan" userId="3f36891e-f853-43e7-bcbc-2879a2513833" providerId="ADAL" clId="{BEB5DB81-D722-724F-85CE-75021972ADA7}" dt="2023-04-04T08:35:45.510" v="6090" actId="21"/>
          <ac:spMkLst>
            <pc:docMk/>
            <pc:sldMk cId="2977534450" sldId="474"/>
            <ac:spMk id="8" creationId="{D6C69559-AFCC-9F44-3767-14E98B80048D}"/>
          </ac:spMkLst>
        </pc:spChg>
        <pc:spChg chg="mod">
          <ac:chgData name="Oehrli, Stefan" userId="3f36891e-f853-43e7-bcbc-2879a2513833" providerId="ADAL" clId="{BEB5DB81-D722-724F-85CE-75021972ADA7}" dt="2023-04-04T08:31:30.989" v="5775" actId="21"/>
          <ac:spMkLst>
            <pc:docMk/>
            <pc:sldMk cId="2977534450" sldId="474"/>
            <ac:spMk id="9" creationId="{F1F65E65-F395-1F1E-86BF-B9944CA8B1F8}"/>
          </ac:spMkLst>
        </pc:spChg>
      </pc:sldChg>
      <pc:sldChg chg="modSp del mod">
        <pc:chgData name="Oehrli, Stefan" userId="3f36891e-f853-43e7-bcbc-2879a2513833" providerId="ADAL" clId="{BEB5DB81-D722-724F-85CE-75021972ADA7}" dt="2023-04-04T05:55:59.554" v="4400" actId="2696"/>
        <pc:sldMkLst>
          <pc:docMk/>
          <pc:sldMk cId="786320037" sldId="475"/>
        </pc:sldMkLst>
        <pc:spChg chg="mod">
          <ac:chgData name="Oehrli, Stefan" userId="3f36891e-f853-43e7-bcbc-2879a2513833" providerId="ADAL" clId="{BEB5DB81-D722-724F-85CE-75021972ADA7}" dt="2023-04-03T20:48:44.843" v="1794"/>
          <ac:spMkLst>
            <pc:docMk/>
            <pc:sldMk cId="786320037" sldId="475"/>
            <ac:spMk id="7" creationId="{EEB4B357-7EAB-F585-A84A-4F95FA8BB24F}"/>
          </ac:spMkLst>
        </pc:spChg>
        <pc:spChg chg="mod">
          <ac:chgData name="Oehrli, Stefan" userId="3f36891e-f853-43e7-bcbc-2879a2513833" providerId="ADAL" clId="{BEB5DB81-D722-724F-85CE-75021972ADA7}" dt="2023-04-04T05:53:50.206" v="4342"/>
          <ac:spMkLst>
            <pc:docMk/>
            <pc:sldMk cId="786320037" sldId="475"/>
            <ac:spMk id="8" creationId="{BF8E3DEC-0F74-B67D-CB13-FB3B7013B74A}"/>
          </ac:spMkLst>
        </pc:spChg>
        <pc:spChg chg="mod">
          <ac:chgData name="Oehrli, Stefan" userId="3f36891e-f853-43e7-bcbc-2879a2513833" providerId="ADAL" clId="{BEB5DB81-D722-724F-85CE-75021972ADA7}" dt="2023-04-03T20:48:33.285" v="1793"/>
          <ac:spMkLst>
            <pc:docMk/>
            <pc:sldMk cId="786320037" sldId="475"/>
            <ac:spMk id="9" creationId="{05AB40B2-0AAB-812A-3DB8-3A75A22EE2CD}"/>
          </ac:spMkLst>
        </pc:spChg>
      </pc:sldChg>
      <pc:sldChg chg="addSp delSp modSp mod ord modClrScheme chgLayout">
        <pc:chgData name="Oehrli, Stefan" userId="3f36891e-f853-43e7-bcbc-2879a2513833" providerId="ADAL" clId="{BEB5DB81-D722-724F-85CE-75021972ADA7}" dt="2023-04-03T21:24:37.423" v="2620" actId="20577"/>
        <pc:sldMkLst>
          <pc:docMk/>
          <pc:sldMk cId="2614753443" sldId="476"/>
        </pc:sldMkLst>
        <pc:spChg chg="add mod ord">
          <ac:chgData name="Oehrli, Stefan" userId="3f36891e-f853-43e7-bcbc-2879a2513833" providerId="ADAL" clId="{BEB5DB81-D722-724F-85CE-75021972ADA7}" dt="2023-04-03T21:24:37.423" v="2620" actId="20577"/>
          <ac:spMkLst>
            <pc:docMk/>
            <pc:sldMk cId="2614753443" sldId="476"/>
            <ac:spMk id="2" creationId="{EC543CBB-3DEA-BAD9-A51D-BA4890B74650}"/>
          </ac:spMkLst>
        </pc:spChg>
        <pc:spChg chg="add mod ord">
          <ac:chgData name="Oehrli, Stefan" userId="3f36891e-f853-43e7-bcbc-2879a2513833" providerId="ADAL" clId="{BEB5DB81-D722-724F-85CE-75021972ADA7}" dt="2023-04-03T21:20:40.099" v="2472" actId="20577"/>
          <ac:spMkLst>
            <pc:docMk/>
            <pc:sldMk cId="2614753443" sldId="476"/>
            <ac:spMk id="3" creationId="{953EBBEF-9F80-1E50-7E37-1BA1E49CA4C7}"/>
          </ac:spMkLst>
        </pc:spChg>
        <pc:spChg chg="add del mod ord">
          <ac:chgData name="Oehrli, Stefan" userId="3f36891e-f853-43e7-bcbc-2879a2513833" providerId="ADAL" clId="{BEB5DB81-D722-724F-85CE-75021972ADA7}" dt="2023-04-03T21:15:46.064" v="2405"/>
          <ac:spMkLst>
            <pc:docMk/>
            <pc:sldMk cId="2614753443" sldId="476"/>
            <ac:spMk id="4" creationId="{F08469E9-72D1-E271-48A0-59C2EE260191}"/>
          </ac:spMkLst>
        </pc:spChg>
        <pc:spChg chg="mod ord">
          <ac:chgData name="Oehrli, Stefan" userId="3f36891e-f853-43e7-bcbc-2879a2513833" providerId="ADAL" clId="{BEB5DB81-D722-724F-85CE-75021972ADA7}" dt="2023-04-03T21:14:16.088" v="2402" actId="700"/>
          <ac:spMkLst>
            <pc:docMk/>
            <pc:sldMk cId="2614753443" sldId="476"/>
            <ac:spMk id="5" creationId="{41B17600-1BC2-33E1-93E8-56FB18BCEB06}"/>
          </ac:spMkLst>
        </pc:spChg>
        <pc:spChg chg="mod ord">
          <ac:chgData name="Oehrli, Stefan" userId="3f36891e-f853-43e7-bcbc-2879a2513833" providerId="ADAL" clId="{BEB5DB81-D722-724F-85CE-75021972ADA7}" dt="2023-04-03T21:14:16.088" v="2402" actId="700"/>
          <ac:spMkLst>
            <pc:docMk/>
            <pc:sldMk cId="2614753443" sldId="476"/>
            <ac:spMk id="6" creationId="{9327615F-79FA-0A0A-734E-43EC7CC22164}"/>
          </ac:spMkLst>
        </pc:spChg>
        <pc:spChg chg="mod ord">
          <ac:chgData name="Oehrli, Stefan" userId="3f36891e-f853-43e7-bcbc-2879a2513833" providerId="ADAL" clId="{BEB5DB81-D722-724F-85CE-75021972ADA7}" dt="2023-04-03T21:14:16.088" v="2402" actId="700"/>
          <ac:spMkLst>
            <pc:docMk/>
            <pc:sldMk cId="2614753443" sldId="476"/>
            <ac:spMk id="7" creationId="{FDCE342E-9C74-44D0-C5AF-5584031EAB83}"/>
          </ac:spMkLst>
        </pc:spChg>
        <pc:spChg chg="del mod ord">
          <ac:chgData name="Oehrli, Stefan" userId="3f36891e-f853-43e7-bcbc-2879a2513833" providerId="ADAL" clId="{BEB5DB81-D722-724F-85CE-75021972ADA7}" dt="2023-04-03T21:14:16.088" v="2402" actId="700"/>
          <ac:spMkLst>
            <pc:docMk/>
            <pc:sldMk cId="2614753443" sldId="476"/>
            <ac:spMk id="8" creationId="{F076258F-E499-5848-1A39-DA9C713AFB55}"/>
          </ac:spMkLst>
        </pc:spChg>
        <pc:spChg chg="del mod ord">
          <ac:chgData name="Oehrli, Stefan" userId="3f36891e-f853-43e7-bcbc-2879a2513833" providerId="ADAL" clId="{BEB5DB81-D722-724F-85CE-75021972ADA7}" dt="2023-04-03T21:14:16.088" v="2402" actId="700"/>
          <ac:spMkLst>
            <pc:docMk/>
            <pc:sldMk cId="2614753443" sldId="476"/>
            <ac:spMk id="9" creationId="{571C7F35-6884-EB5A-4942-D90FC4202101}"/>
          </ac:spMkLst>
        </pc:spChg>
        <pc:spChg chg="add mod">
          <ac:chgData name="Oehrli, Stefan" userId="3f36891e-f853-43e7-bcbc-2879a2513833" providerId="ADAL" clId="{BEB5DB81-D722-724F-85CE-75021972ADA7}" dt="2023-04-03T21:18:31.271" v="2435" actId="1076"/>
          <ac:spMkLst>
            <pc:docMk/>
            <pc:sldMk cId="2614753443" sldId="476"/>
            <ac:spMk id="10" creationId="{A9A29765-6356-5589-AE03-A490DDE27894}"/>
          </ac:spMkLst>
        </pc:spChg>
        <pc:picChg chg="add mod">
          <ac:chgData name="Oehrli, Stefan" userId="3f36891e-f853-43e7-bcbc-2879a2513833" providerId="ADAL" clId="{BEB5DB81-D722-724F-85CE-75021972ADA7}" dt="2023-04-03T21:15:55.275" v="2406" actId="1440"/>
          <ac:picMkLst>
            <pc:docMk/>
            <pc:sldMk cId="2614753443" sldId="476"/>
            <ac:picMk id="2050" creationId="{CA0E5F7A-2072-05CE-3D9F-7739E74E9459}"/>
          </ac:picMkLst>
        </pc:picChg>
      </pc:sldChg>
      <pc:sldChg chg="addSp delSp modSp mod ord modClrScheme chgLayout">
        <pc:chgData name="Oehrli, Stefan" userId="3f36891e-f853-43e7-bcbc-2879a2513833" providerId="ADAL" clId="{BEB5DB81-D722-724F-85CE-75021972ADA7}" dt="2023-04-04T04:51:33.207" v="3528" actId="20577"/>
        <pc:sldMkLst>
          <pc:docMk/>
          <pc:sldMk cId="1408013480" sldId="477"/>
        </pc:sldMkLst>
        <pc:spChg chg="mod ord">
          <ac:chgData name="Oehrli, Stefan" userId="3f36891e-f853-43e7-bcbc-2879a2513833" providerId="ADAL" clId="{BEB5DB81-D722-724F-85CE-75021972ADA7}" dt="2023-04-04T04:38:34.965" v="3210" actId="700"/>
          <ac:spMkLst>
            <pc:docMk/>
            <pc:sldMk cId="1408013480" sldId="477"/>
            <ac:spMk id="2" creationId="{2DA3416A-D838-4C12-A22B-2C75D411925F}"/>
          </ac:spMkLst>
        </pc:spChg>
        <pc:spChg chg="del mod ord">
          <ac:chgData name="Oehrli, Stefan" userId="3f36891e-f853-43e7-bcbc-2879a2513833" providerId="ADAL" clId="{BEB5DB81-D722-724F-85CE-75021972ADA7}" dt="2023-04-04T04:38:34.965" v="3210" actId="700"/>
          <ac:spMkLst>
            <pc:docMk/>
            <pc:sldMk cId="1408013480" sldId="477"/>
            <ac:spMk id="3" creationId="{F3EC1BE7-15DA-A7CA-C2B5-6D73ADC1AA24}"/>
          </ac:spMkLst>
        </pc:spChg>
        <pc:spChg chg="mod ord">
          <ac:chgData name="Oehrli, Stefan" userId="3f36891e-f853-43e7-bcbc-2879a2513833" providerId="ADAL" clId="{BEB5DB81-D722-724F-85CE-75021972ADA7}" dt="2023-04-04T04:38:34.965" v="3210" actId="700"/>
          <ac:spMkLst>
            <pc:docMk/>
            <pc:sldMk cId="1408013480" sldId="477"/>
            <ac:spMk id="4" creationId="{7D6D760A-E161-32D9-A581-6DBC6C5031AB}"/>
          </ac:spMkLst>
        </pc:spChg>
        <pc:spChg chg="mod ord">
          <ac:chgData name="Oehrli, Stefan" userId="3f36891e-f853-43e7-bcbc-2879a2513833" providerId="ADAL" clId="{BEB5DB81-D722-724F-85CE-75021972ADA7}" dt="2023-04-04T04:38:34.965" v="3210" actId="700"/>
          <ac:spMkLst>
            <pc:docMk/>
            <pc:sldMk cId="1408013480" sldId="477"/>
            <ac:spMk id="5" creationId="{8EDB13EE-C3BA-0CB5-408F-FFC511E76E08}"/>
          </ac:spMkLst>
        </pc:spChg>
        <pc:spChg chg="mod ord">
          <ac:chgData name="Oehrli, Stefan" userId="3f36891e-f853-43e7-bcbc-2879a2513833" providerId="ADAL" clId="{BEB5DB81-D722-724F-85CE-75021972ADA7}" dt="2023-04-04T04:38:34.965" v="3210" actId="700"/>
          <ac:spMkLst>
            <pc:docMk/>
            <pc:sldMk cId="1408013480" sldId="477"/>
            <ac:spMk id="6" creationId="{161A59BD-1FE2-B67A-20B0-6B46100EFDD9}"/>
          </ac:spMkLst>
        </pc:spChg>
        <pc:spChg chg="add del mod ord">
          <ac:chgData name="Oehrli, Stefan" userId="3f36891e-f853-43e7-bcbc-2879a2513833" providerId="ADAL" clId="{BEB5DB81-D722-724F-85CE-75021972ADA7}" dt="2023-04-04T04:38:36.528" v="3211"/>
          <ac:spMkLst>
            <pc:docMk/>
            <pc:sldMk cId="1408013480" sldId="477"/>
            <ac:spMk id="7" creationId="{AF31C4F1-F5E9-C5CE-611D-A5D778CC0250}"/>
          </ac:spMkLst>
        </pc:spChg>
        <pc:spChg chg="add mod ord">
          <ac:chgData name="Oehrli, Stefan" userId="3f36891e-f853-43e7-bcbc-2879a2513833" providerId="ADAL" clId="{BEB5DB81-D722-724F-85CE-75021972ADA7}" dt="2023-04-04T04:51:33.207" v="3528" actId="20577"/>
          <ac:spMkLst>
            <pc:docMk/>
            <pc:sldMk cId="1408013480" sldId="477"/>
            <ac:spMk id="8" creationId="{BA993795-5C05-9E5B-D605-ABC939A17BC6}"/>
          </ac:spMkLst>
        </pc:spChg>
        <pc:picChg chg="add mod">
          <ac:chgData name="Oehrli, Stefan" userId="3f36891e-f853-43e7-bcbc-2879a2513833" providerId="ADAL" clId="{BEB5DB81-D722-724F-85CE-75021972ADA7}" dt="2023-04-04T04:38:45.871" v="3214" actId="1076"/>
          <ac:picMkLst>
            <pc:docMk/>
            <pc:sldMk cId="1408013480" sldId="477"/>
            <ac:picMk id="9" creationId="{E017896B-7498-4A96-DAC3-4B1ACC882EBA}"/>
          </ac:picMkLst>
        </pc:picChg>
      </pc:sldChg>
      <pc:sldChg chg="addSp delSp modSp mod ord modClrScheme chgLayout">
        <pc:chgData name="Oehrli, Stefan" userId="3f36891e-f853-43e7-bcbc-2879a2513833" providerId="ADAL" clId="{BEB5DB81-D722-724F-85CE-75021972ADA7}" dt="2023-04-04T05:14:25.885" v="3846" actId="113"/>
        <pc:sldMkLst>
          <pc:docMk/>
          <pc:sldMk cId="1271595410" sldId="478"/>
        </pc:sldMkLst>
        <pc:spChg chg="mod ord">
          <ac:chgData name="Oehrli, Stefan" userId="3f36891e-f853-43e7-bcbc-2879a2513833" providerId="ADAL" clId="{BEB5DB81-D722-724F-85CE-75021972ADA7}" dt="2023-04-04T05:09:26.815" v="3562" actId="700"/>
          <ac:spMkLst>
            <pc:docMk/>
            <pc:sldMk cId="1271595410" sldId="478"/>
            <ac:spMk id="2" creationId="{233874A5-5D74-D776-5932-2BDE67F283F7}"/>
          </ac:spMkLst>
        </pc:spChg>
        <pc:spChg chg="del mod ord">
          <ac:chgData name="Oehrli, Stefan" userId="3f36891e-f853-43e7-bcbc-2879a2513833" providerId="ADAL" clId="{BEB5DB81-D722-724F-85CE-75021972ADA7}" dt="2023-04-04T05:09:26.815" v="3562" actId="700"/>
          <ac:spMkLst>
            <pc:docMk/>
            <pc:sldMk cId="1271595410" sldId="478"/>
            <ac:spMk id="3" creationId="{48412A47-DD28-6775-461A-1CF95EEA0642}"/>
          </ac:spMkLst>
        </pc:spChg>
        <pc:spChg chg="mod ord">
          <ac:chgData name="Oehrli, Stefan" userId="3f36891e-f853-43e7-bcbc-2879a2513833" providerId="ADAL" clId="{BEB5DB81-D722-724F-85CE-75021972ADA7}" dt="2023-04-04T05:09:26.815" v="3562" actId="700"/>
          <ac:spMkLst>
            <pc:docMk/>
            <pc:sldMk cId="1271595410" sldId="478"/>
            <ac:spMk id="4" creationId="{41DFAE58-1DC3-9D11-B348-F28BF14C9D7F}"/>
          </ac:spMkLst>
        </pc:spChg>
        <pc:spChg chg="mod ord">
          <ac:chgData name="Oehrli, Stefan" userId="3f36891e-f853-43e7-bcbc-2879a2513833" providerId="ADAL" clId="{BEB5DB81-D722-724F-85CE-75021972ADA7}" dt="2023-04-04T05:09:26.815" v="3562" actId="700"/>
          <ac:spMkLst>
            <pc:docMk/>
            <pc:sldMk cId="1271595410" sldId="478"/>
            <ac:spMk id="5" creationId="{2ED41217-9816-A485-7235-901CB88803B9}"/>
          </ac:spMkLst>
        </pc:spChg>
        <pc:spChg chg="mod ord">
          <ac:chgData name="Oehrli, Stefan" userId="3f36891e-f853-43e7-bcbc-2879a2513833" providerId="ADAL" clId="{BEB5DB81-D722-724F-85CE-75021972ADA7}" dt="2023-04-04T05:09:26.815" v="3562" actId="700"/>
          <ac:spMkLst>
            <pc:docMk/>
            <pc:sldMk cId="1271595410" sldId="478"/>
            <ac:spMk id="6" creationId="{AC854395-20A2-E5BD-B446-965077EE2B3C}"/>
          </ac:spMkLst>
        </pc:spChg>
        <pc:spChg chg="add mod ord">
          <ac:chgData name="Oehrli, Stefan" userId="3f36891e-f853-43e7-bcbc-2879a2513833" providerId="ADAL" clId="{BEB5DB81-D722-724F-85CE-75021972ADA7}" dt="2023-04-04T05:14:25.885" v="3846" actId="113"/>
          <ac:spMkLst>
            <pc:docMk/>
            <pc:sldMk cId="1271595410" sldId="478"/>
            <ac:spMk id="7" creationId="{8E3C75D1-6BF8-CC31-79E1-C4D6EAAB1052}"/>
          </ac:spMkLst>
        </pc:spChg>
        <pc:spChg chg="add del mod ord">
          <ac:chgData name="Oehrli, Stefan" userId="3f36891e-f853-43e7-bcbc-2879a2513833" providerId="ADAL" clId="{BEB5DB81-D722-724F-85CE-75021972ADA7}" dt="2023-04-04T05:09:28.868" v="3563"/>
          <ac:spMkLst>
            <pc:docMk/>
            <pc:sldMk cId="1271595410" sldId="478"/>
            <ac:spMk id="8" creationId="{B6718D16-2125-723D-5921-E8A5311DC6C0}"/>
          </ac:spMkLst>
        </pc:spChg>
        <pc:picChg chg="add mod">
          <ac:chgData name="Oehrli, Stefan" userId="3f36891e-f853-43e7-bcbc-2879a2513833" providerId="ADAL" clId="{BEB5DB81-D722-724F-85CE-75021972ADA7}" dt="2023-04-04T05:09:37.564" v="3566" actId="1076"/>
          <ac:picMkLst>
            <pc:docMk/>
            <pc:sldMk cId="1271595410" sldId="478"/>
            <ac:picMk id="9" creationId="{FFCBB4B8-DF5B-5388-889E-CE9BF0546A72}"/>
          </ac:picMkLst>
        </pc:picChg>
      </pc:sldChg>
      <pc:sldChg chg="addSp delSp modSp add del mod ord modClrScheme chgLayout">
        <pc:chgData name="Oehrli, Stefan" userId="3f36891e-f853-43e7-bcbc-2879a2513833" providerId="ADAL" clId="{BEB5DB81-D722-724F-85CE-75021972ADA7}" dt="2023-04-03T19:30:21.501" v="243" actId="2696"/>
        <pc:sldMkLst>
          <pc:docMk/>
          <pc:sldMk cId="1985595969" sldId="479"/>
        </pc:sldMkLst>
        <pc:spChg chg="add mod ord">
          <ac:chgData name="Oehrli, Stefan" userId="3f36891e-f853-43e7-bcbc-2879a2513833" providerId="ADAL" clId="{BEB5DB81-D722-724F-85CE-75021972ADA7}" dt="2023-04-03T19:20:30.425" v="235" actId="700"/>
          <ac:spMkLst>
            <pc:docMk/>
            <pc:sldMk cId="1985595969" sldId="479"/>
            <ac:spMk id="2" creationId="{D5AEC11B-89AD-EA7F-3A75-192AE6FDCDDD}"/>
          </ac:spMkLst>
        </pc:spChg>
        <pc:spChg chg="add del mod ord">
          <ac:chgData name="Oehrli, Stefan" userId="3f36891e-f853-43e7-bcbc-2879a2513833" providerId="ADAL" clId="{BEB5DB81-D722-724F-85CE-75021972ADA7}" dt="2023-04-03T19:15:29.595" v="163"/>
          <ac:spMkLst>
            <pc:docMk/>
            <pc:sldMk cId="1985595969" sldId="479"/>
            <ac:spMk id="3" creationId="{F611CBC8-5CEC-7AF0-3F0D-66BD40092E27}"/>
          </ac:spMkLst>
        </pc:spChg>
        <pc:spChg chg="mod ord">
          <ac:chgData name="Oehrli, Stefan" userId="3f36891e-f853-43e7-bcbc-2879a2513833" providerId="ADAL" clId="{BEB5DB81-D722-724F-85CE-75021972ADA7}" dt="2023-04-03T19:20:30.425" v="235" actId="700"/>
          <ac:spMkLst>
            <pc:docMk/>
            <pc:sldMk cId="1985595969" sldId="479"/>
            <ac:spMk id="5" creationId="{3DA20614-23DB-259A-331D-99757A344804}"/>
          </ac:spMkLst>
        </pc:spChg>
        <pc:spChg chg="mod ord">
          <ac:chgData name="Oehrli, Stefan" userId="3f36891e-f853-43e7-bcbc-2879a2513833" providerId="ADAL" clId="{BEB5DB81-D722-724F-85CE-75021972ADA7}" dt="2023-04-03T19:20:30.425" v="235" actId="700"/>
          <ac:spMkLst>
            <pc:docMk/>
            <pc:sldMk cId="1985595969" sldId="479"/>
            <ac:spMk id="6" creationId="{876B435F-1241-E387-0E3B-C759EDCB74A2}"/>
          </ac:spMkLst>
        </pc:spChg>
        <pc:spChg chg="mod ord">
          <ac:chgData name="Oehrli, Stefan" userId="3f36891e-f853-43e7-bcbc-2879a2513833" providerId="ADAL" clId="{BEB5DB81-D722-724F-85CE-75021972ADA7}" dt="2023-04-03T19:20:30.425" v="235" actId="700"/>
          <ac:spMkLst>
            <pc:docMk/>
            <pc:sldMk cId="1985595969" sldId="479"/>
            <ac:spMk id="7" creationId="{54344B74-8186-A6F7-4C9A-6FB029B1170F}"/>
          </ac:spMkLst>
        </pc:spChg>
        <pc:spChg chg="del mod ord">
          <ac:chgData name="Oehrli, Stefan" userId="3f36891e-f853-43e7-bcbc-2879a2513833" providerId="ADAL" clId="{BEB5DB81-D722-724F-85CE-75021972ADA7}" dt="2023-04-03T19:09:18.098" v="162" actId="700"/>
          <ac:spMkLst>
            <pc:docMk/>
            <pc:sldMk cId="1985595969" sldId="479"/>
            <ac:spMk id="8" creationId="{AD765B08-EA1F-9773-F4D5-4A7378FF2C80}"/>
          </ac:spMkLst>
        </pc:spChg>
        <pc:spChg chg="mod ord">
          <ac:chgData name="Oehrli, Stefan" userId="3f36891e-f853-43e7-bcbc-2879a2513833" providerId="ADAL" clId="{BEB5DB81-D722-724F-85CE-75021972ADA7}" dt="2023-04-03T19:30:17.744" v="242" actId="21"/>
          <ac:spMkLst>
            <pc:docMk/>
            <pc:sldMk cId="1985595969" sldId="479"/>
            <ac:spMk id="9" creationId="{41C1E998-12B4-EED0-C537-424C19392290}"/>
          </ac:spMkLst>
        </pc:spChg>
        <pc:spChg chg="add del mod">
          <ac:chgData name="Oehrli, Stefan" userId="3f36891e-f853-43e7-bcbc-2879a2513833" providerId="ADAL" clId="{BEB5DB81-D722-724F-85CE-75021972ADA7}" dt="2023-04-03T19:16:31.965" v="165"/>
          <ac:spMkLst>
            <pc:docMk/>
            <pc:sldMk cId="1985595969" sldId="479"/>
            <ac:spMk id="11" creationId="{C533C01A-2C15-6EFA-BDF3-413DEF40A697}"/>
          </ac:spMkLst>
        </pc:spChg>
        <pc:spChg chg="add del mod">
          <ac:chgData name="Oehrli, Stefan" userId="3f36891e-f853-43e7-bcbc-2879a2513833" providerId="ADAL" clId="{BEB5DB81-D722-724F-85CE-75021972ADA7}" dt="2023-04-03T19:20:18.037" v="232" actId="700"/>
          <ac:spMkLst>
            <pc:docMk/>
            <pc:sldMk cId="1985595969" sldId="479"/>
            <ac:spMk id="14" creationId="{C498AF99-4865-F4A3-474D-C45DB0D91406}"/>
          </ac:spMkLst>
        </pc:spChg>
        <pc:spChg chg="add del mod ord">
          <ac:chgData name="Oehrli, Stefan" userId="3f36891e-f853-43e7-bcbc-2879a2513833" providerId="ADAL" clId="{BEB5DB81-D722-724F-85CE-75021972ADA7}" dt="2023-04-03T19:20:27.330" v="234" actId="700"/>
          <ac:spMkLst>
            <pc:docMk/>
            <pc:sldMk cId="1985595969" sldId="479"/>
            <ac:spMk id="15" creationId="{7D7DB18D-C3B5-6333-A806-28EE11D4F016}"/>
          </ac:spMkLst>
        </pc:spChg>
        <pc:spChg chg="add mod">
          <ac:chgData name="Oehrli, Stefan" userId="3f36891e-f853-43e7-bcbc-2879a2513833" providerId="ADAL" clId="{BEB5DB81-D722-724F-85CE-75021972ADA7}" dt="2023-04-03T19:20:21.242" v="233" actId="767"/>
          <ac:spMkLst>
            <pc:docMk/>
            <pc:sldMk cId="1985595969" sldId="479"/>
            <ac:spMk id="16" creationId="{05D3DC33-9929-C59E-682C-A31BEF26201C}"/>
          </ac:spMkLst>
        </pc:spChg>
        <pc:spChg chg="add mod ord">
          <ac:chgData name="Oehrli, Stefan" userId="3f36891e-f853-43e7-bcbc-2879a2513833" providerId="ADAL" clId="{BEB5DB81-D722-724F-85CE-75021972ADA7}" dt="2023-04-03T19:20:30.425" v="235" actId="700"/>
          <ac:spMkLst>
            <pc:docMk/>
            <pc:sldMk cId="1985595969" sldId="479"/>
            <ac:spMk id="17" creationId="{23E0DE62-BB77-A98F-970E-F77C3A153C6A}"/>
          </ac:spMkLst>
        </pc:spChg>
        <pc:picChg chg="add del mod">
          <ac:chgData name="Oehrli, Stefan" userId="3f36891e-f853-43e7-bcbc-2879a2513833" providerId="ADAL" clId="{BEB5DB81-D722-724F-85CE-75021972ADA7}" dt="2023-04-03T19:16:30.850" v="164" actId="478"/>
          <ac:picMkLst>
            <pc:docMk/>
            <pc:sldMk cId="1985595969" sldId="479"/>
            <ac:picMk id="4" creationId="{5A21C428-23FA-A5D3-E34B-3FE294B0C667}"/>
          </ac:picMkLst>
        </pc:picChg>
        <pc:picChg chg="add del mod">
          <ac:chgData name="Oehrli, Stefan" userId="3f36891e-f853-43e7-bcbc-2879a2513833" providerId="ADAL" clId="{BEB5DB81-D722-724F-85CE-75021972ADA7}" dt="2023-04-03T19:20:12.362" v="231" actId="21"/>
          <ac:picMkLst>
            <pc:docMk/>
            <pc:sldMk cId="1985595969" sldId="479"/>
            <ac:picMk id="12" creationId="{1298D8D0-834A-AFE5-84EE-3F89092AB0C7}"/>
          </ac:picMkLst>
        </pc:picChg>
      </pc:sldChg>
      <pc:sldChg chg="addSp delSp modSp new mod chgLayout">
        <pc:chgData name="Oehrli, Stefan" userId="3f36891e-f853-43e7-bcbc-2879a2513833" providerId="ADAL" clId="{BEB5DB81-D722-724F-85CE-75021972ADA7}" dt="2023-04-04T18:33:52.092" v="6260" actId="20577"/>
        <pc:sldMkLst>
          <pc:docMk/>
          <pc:sldMk cId="4239886515" sldId="480"/>
        </pc:sldMkLst>
        <pc:spChg chg="del mod ord">
          <ac:chgData name="Oehrli, Stefan" userId="3f36891e-f853-43e7-bcbc-2879a2513833" providerId="ADAL" clId="{BEB5DB81-D722-724F-85CE-75021972ADA7}" dt="2023-04-03T13:03:58.775" v="7" actId="700"/>
          <ac:spMkLst>
            <pc:docMk/>
            <pc:sldMk cId="4239886515" sldId="480"/>
            <ac:spMk id="2" creationId="{4AA560AA-A67C-F2B3-8970-11906A4131DE}"/>
          </ac:spMkLst>
        </pc:spChg>
        <pc:spChg chg="add mod ord">
          <ac:chgData name="Oehrli, Stefan" userId="3f36891e-f853-43e7-bcbc-2879a2513833" providerId="ADAL" clId="{BEB5DB81-D722-724F-85CE-75021972ADA7}" dt="2023-04-03T13:05:20.027" v="9"/>
          <ac:spMkLst>
            <pc:docMk/>
            <pc:sldMk cId="4239886515" sldId="480"/>
            <ac:spMk id="3" creationId="{1CFF8D79-E5D0-CB92-E5C1-9AB31A6E8C25}"/>
          </ac:spMkLst>
        </pc:spChg>
        <pc:spChg chg="add mod ord">
          <ac:chgData name="Oehrli, Stefan" userId="3f36891e-f853-43e7-bcbc-2879a2513833" providerId="ADAL" clId="{BEB5DB81-D722-724F-85CE-75021972ADA7}" dt="2023-04-04T18:33:52.092" v="6260" actId="20577"/>
          <ac:spMkLst>
            <pc:docMk/>
            <pc:sldMk cId="4239886515" sldId="480"/>
            <ac:spMk id="4" creationId="{F4D16C22-C1BC-AD85-0A01-6D918C31FBC0}"/>
          </ac:spMkLst>
        </pc:spChg>
        <pc:spChg chg="add mod ord">
          <ac:chgData name="Oehrli, Stefan" userId="3f36891e-f853-43e7-bcbc-2879a2513833" providerId="ADAL" clId="{BEB5DB81-D722-724F-85CE-75021972ADA7}" dt="2023-04-03T21:06:29.567" v="2285" actId="20577"/>
          <ac:spMkLst>
            <pc:docMk/>
            <pc:sldMk cId="4239886515" sldId="480"/>
            <ac:spMk id="5" creationId="{81432748-12E5-D009-5764-A6F202D8D5C1}"/>
          </ac:spMkLst>
        </pc:spChg>
      </pc:sldChg>
      <pc:sldChg chg="modSp add mod ord">
        <pc:chgData name="Oehrli, Stefan" userId="3f36891e-f853-43e7-bcbc-2879a2513833" providerId="ADAL" clId="{BEB5DB81-D722-724F-85CE-75021972ADA7}" dt="2023-04-03T19:18:18.574" v="178" actId="20578"/>
        <pc:sldMkLst>
          <pc:docMk/>
          <pc:sldMk cId="1928709485" sldId="481"/>
        </pc:sldMkLst>
        <pc:spChg chg="mod">
          <ac:chgData name="Oehrli, Stefan" userId="3f36891e-f853-43e7-bcbc-2879a2513833" providerId="ADAL" clId="{BEB5DB81-D722-724F-85CE-75021972ADA7}" dt="2023-04-03T13:07:43.314" v="82" actId="20577"/>
          <ac:spMkLst>
            <pc:docMk/>
            <pc:sldMk cId="1928709485" sldId="481"/>
            <ac:spMk id="2" creationId="{6B7D050A-F3DB-4B0A-8C3E-8F4D3EE9CC12}"/>
          </ac:spMkLst>
        </pc:spChg>
      </pc:sldChg>
      <pc:sldChg chg="addSp delSp modSp new mod modClrScheme chgLayout">
        <pc:chgData name="Oehrli, Stefan" userId="3f36891e-f853-43e7-bcbc-2879a2513833" providerId="ADAL" clId="{BEB5DB81-D722-724F-85CE-75021972ADA7}" dt="2023-04-03T20:46:12.965" v="1717" actId="20577"/>
        <pc:sldMkLst>
          <pc:docMk/>
          <pc:sldMk cId="4174432396" sldId="482"/>
        </pc:sldMkLst>
        <pc:spChg chg="mod ord">
          <ac:chgData name="Oehrli, Stefan" userId="3f36891e-f853-43e7-bcbc-2879a2513833" providerId="ADAL" clId="{BEB5DB81-D722-724F-85CE-75021972ADA7}" dt="2023-04-03T20:34:55.467" v="1215" actId="700"/>
          <ac:spMkLst>
            <pc:docMk/>
            <pc:sldMk cId="4174432396" sldId="482"/>
            <ac:spMk id="2" creationId="{25558306-403D-6C14-0D47-BD5150E42E84}"/>
          </ac:spMkLst>
        </pc:spChg>
        <pc:spChg chg="mod ord">
          <ac:chgData name="Oehrli, Stefan" userId="3f36891e-f853-43e7-bcbc-2879a2513833" providerId="ADAL" clId="{BEB5DB81-D722-724F-85CE-75021972ADA7}" dt="2023-04-03T20:46:12.965" v="1717" actId="20577"/>
          <ac:spMkLst>
            <pc:docMk/>
            <pc:sldMk cId="4174432396" sldId="482"/>
            <ac:spMk id="3" creationId="{8D291947-2B30-4181-6810-2FEC406B0DB7}"/>
          </ac:spMkLst>
        </pc:spChg>
        <pc:spChg chg="mod ord">
          <ac:chgData name="Oehrli, Stefan" userId="3f36891e-f853-43e7-bcbc-2879a2513833" providerId="ADAL" clId="{BEB5DB81-D722-724F-85CE-75021972ADA7}" dt="2023-04-03T20:34:55.467" v="1215" actId="700"/>
          <ac:spMkLst>
            <pc:docMk/>
            <pc:sldMk cId="4174432396" sldId="482"/>
            <ac:spMk id="4" creationId="{3F24D6B6-172A-1A07-9C6D-823D25A27FB9}"/>
          </ac:spMkLst>
        </pc:spChg>
        <pc:spChg chg="mod ord">
          <ac:chgData name="Oehrli, Stefan" userId="3f36891e-f853-43e7-bcbc-2879a2513833" providerId="ADAL" clId="{BEB5DB81-D722-724F-85CE-75021972ADA7}" dt="2023-04-03T20:34:55.467" v="1215" actId="700"/>
          <ac:spMkLst>
            <pc:docMk/>
            <pc:sldMk cId="4174432396" sldId="482"/>
            <ac:spMk id="5" creationId="{8E345C3D-84FD-BBA3-0308-CD9B28F0F0C9}"/>
          </ac:spMkLst>
        </pc:spChg>
        <pc:spChg chg="mod ord">
          <ac:chgData name="Oehrli, Stefan" userId="3f36891e-f853-43e7-bcbc-2879a2513833" providerId="ADAL" clId="{BEB5DB81-D722-724F-85CE-75021972ADA7}" dt="2023-04-03T20:34:55.467" v="1215" actId="700"/>
          <ac:spMkLst>
            <pc:docMk/>
            <pc:sldMk cId="4174432396" sldId="482"/>
            <ac:spMk id="6" creationId="{671903D4-72AB-71FA-B564-42B364CC1074}"/>
          </ac:spMkLst>
        </pc:spChg>
        <pc:spChg chg="add del mod ord">
          <ac:chgData name="Oehrli, Stefan" userId="3f36891e-f853-43e7-bcbc-2879a2513833" providerId="ADAL" clId="{BEB5DB81-D722-724F-85CE-75021972ADA7}" dt="2023-04-03T20:34:57.309" v="1216"/>
          <ac:spMkLst>
            <pc:docMk/>
            <pc:sldMk cId="4174432396" sldId="482"/>
            <ac:spMk id="7" creationId="{37559EF5-1664-7E41-13BB-F60A7FA34578}"/>
          </ac:spMkLst>
        </pc:spChg>
        <pc:picChg chg="add mod">
          <ac:chgData name="Oehrli, Stefan" userId="3f36891e-f853-43e7-bcbc-2879a2513833" providerId="ADAL" clId="{BEB5DB81-D722-724F-85CE-75021972ADA7}" dt="2023-04-03T20:34:57.309" v="1216"/>
          <ac:picMkLst>
            <pc:docMk/>
            <pc:sldMk cId="4174432396" sldId="482"/>
            <ac:picMk id="8" creationId="{346C02ED-87C5-E921-3251-15DCA642B2D8}"/>
          </ac:picMkLst>
        </pc:picChg>
      </pc:sldChg>
      <pc:sldChg chg="addSp delSp modSp new del mod chgLayout">
        <pc:chgData name="Oehrli, Stefan" userId="3f36891e-f853-43e7-bcbc-2879a2513833" providerId="ADAL" clId="{BEB5DB81-D722-724F-85CE-75021972ADA7}" dt="2023-04-04T07:57:40.596" v="5709" actId="2696"/>
        <pc:sldMkLst>
          <pc:docMk/>
          <pc:sldMk cId="987968932" sldId="483"/>
        </pc:sldMkLst>
        <pc:spChg chg="del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2" creationId="{15D7DB5A-4D0A-3477-DAAD-FB85CF83CE9F}"/>
          </ac:spMkLst>
        </pc:spChg>
        <pc:spChg chg="mod ord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3" creationId="{85644990-BA4D-8940-6C72-6EB768EBDEB0}"/>
          </ac:spMkLst>
        </pc:spChg>
        <pc:spChg chg="del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4" creationId="{FE313287-A553-744D-3A06-4CB97638E944}"/>
          </ac:spMkLst>
        </pc:spChg>
        <pc:spChg chg="mod ord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5" creationId="{1BF55F7F-202E-E506-8A4A-460733D36436}"/>
          </ac:spMkLst>
        </pc:spChg>
        <pc:spChg chg="mod ord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6" creationId="{7848A1C0-DA39-2B73-56FF-55167E1A5CED}"/>
          </ac:spMkLst>
        </pc:spChg>
        <pc:spChg chg="add mod ord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7" creationId="{9BA87B35-1ED2-FE79-1F53-74E5125CEFF9}"/>
          </ac:spMkLst>
        </pc:spChg>
        <pc:spChg chg="add mod ord">
          <ac:chgData name="Oehrli, Stefan" userId="3f36891e-f853-43e7-bcbc-2879a2513833" providerId="ADAL" clId="{BEB5DB81-D722-724F-85CE-75021972ADA7}" dt="2023-04-04T05:43:10.538" v="4263" actId="700"/>
          <ac:spMkLst>
            <pc:docMk/>
            <pc:sldMk cId="987968932" sldId="483"/>
            <ac:spMk id="8" creationId="{FCABBB6F-7C5C-FE86-4ADA-2824440EC69B}"/>
          </ac:spMkLst>
        </pc:spChg>
      </pc:sldChg>
      <pc:sldChg chg="addSp delSp modSp new mod ord">
        <pc:chgData name="Oehrli, Stefan" userId="3f36891e-f853-43e7-bcbc-2879a2513833" providerId="ADAL" clId="{BEB5DB81-D722-724F-85CE-75021972ADA7}" dt="2023-04-03T19:18:18.574" v="178" actId="20578"/>
        <pc:sldMkLst>
          <pc:docMk/>
          <pc:sldMk cId="3649216632" sldId="484"/>
        </pc:sldMkLst>
        <pc:spChg chg="mod">
          <ac:chgData name="Oehrli, Stefan" userId="3f36891e-f853-43e7-bcbc-2879a2513833" providerId="ADAL" clId="{BEB5DB81-D722-724F-85CE-75021972ADA7}" dt="2023-04-03T19:08:33.309" v="158" actId="20577"/>
          <ac:spMkLst>
            <pc:docMk/>
            <pc:sldMk cId="3649216632" sldId="484"/>
            <ac:spMk id="2" creationId="{BB37F925-E785-3812-1201-536C455F9F1C}"/>
          </ac:spMkLst>
        </pc:spChg>
        <pc:spChg chg="del mod">
          <ac:chgData name="Oehrli, Stefan" userId="3f36891e-f853-43e7-bcbc-2879a2513833" providerId="ADAL" clId="{BEB5DB81-D722-724F-85CE-75021972ADA7}" dt="2023-04-03T19:08:15.721" v="136"/>
          <ac:spMkLst>
            <pc:docMk/>
            <pc:sldMk cId="3649216632" sldId="484"/>
            <ac:spMk id="3" creationId="{9DCB6237-BED3-5AC1-2B17-A95D4F059BEC}"/>
          </ac:spMkLst>
        </pc:spChg>
        <pc:spChg chg="mod">
          <ac:chgData name="Oehrli, Stefan" userId="3f36891e-f853-43e7-bcbc-2879a2513833" providerId="ADAL" clId="{BEB5DB81-D722-724F-85CE-75021972ADA7}" dt="2023-04-03T19:08:59.102" v="159"/>
          <ac:spMkLst>
            <pc:docMk/>
            <pc:sldMk cId="3649216632" sldId="484"/>
            <ac:spMk id="4" creationId="{3D5C0F9E-FE7E-BCCA-C9B2-73F5FDEAA36F}"/>
          </ac:spMkLst>
        </pc:spChg>
        <pc:picChg chg="add mod">
          <ac:chgData name="Oehrli, Stefan" userId="3f36891e-f853-43e7-bcbc-2879a2513833" providerId="ADAL" clId="{BEB5DB81-D722-724F-85CE-75021972ADA7}" dt="2023-04-03T19:09:03.476" v="161" actId="1076"/>
          <ac:picMkLst>
            <pc:docMk/>
            <pc:sldMk cId="3649216632" sldId="484"/>
            <ac:picMk id="7" creationId="{53A1C281-4B62-3288-0450-86C235DA6BA2}"/>
          </ac:picMkLst>
        </pc:picChg>
      </pc:sldChg>
      <pc:sldChg chg="addSp delSp modSp new mod">
        <pc:chgData name="Oehrli, Stefan" userId="3f36891e-f853-43e7-bcbc-2879a2513833" providerId="ADAL" clId="{BEB5DB81-D722-724F-85CE-75021972ADA7}" dt="2023-04-03T19:50:06.790" v="686" actId="478"/>
        <pc:sldMkLst>
          <pc:docMk/>
          <pc:sldMk cId="374310437" sldId="485"/>
        </pc:sldMkLst>
        <pc:spChg chg="mod">
          <ac:chgData name="Oehrli, Stefan" userId="3f36891e-f853-43e7-bcbc-2879a2513833" providerId="ADAL" clId="{BEB5DB81-D722-724F-85CE-75021972ADA7}" dt="2023-04-03T19:29:12.572" v="240"/>
          <ac:spMkLst>
            <pc:docMk/>
            <pc:sldMk cId="374310437" sldId="485"/>
            <ac:spMk id="2" creationId="{0A683B59-7F37-023E-0512-FC2D492A8BDD}"/>
          </ac:spMkLst>
        </pc:spChg>
        <pc:spChg chg="del">
          <ac:chgData name="Oehrli, Stefan" userId="3f36891e-f853-43e7-bcbc-2879a2513833" providerId="ADAL" clId="{BEB5DB81-D722-724F-85CE-75021972ADA7}" dt="2023-04-03T19:27:27.382" v="237"/>
          <ac:spMkLst>
            <pc:docMk/>
            <pc:sldMk cId="374310437" sldId="485"/>
            <ac:spMk id="3" creationId="{BB0B3CF7-2985-1F43-F0ED-ED239F6D3F24}"/>
          </ac:spMkLst>
        </pc:spChg>
        <pc:spChg chg="mod">
          <ac:chgData name="Oehrli, Stefan" userId="3f36891e-f853-43e7-bcbc-2879a2513833" providerId="ADAL" clId="{BEB5DB81-D722-724F-85CE-75021972ADA7}" dt="2023-04-03T19:49:58.753" v="685" actId="21"/>
          <ac:spMkLst>
            <pc:docMk/>
            <pc:sldMk cId="374310437" sldId="485"/>
            <ac:spMk id="4" creationId="{627ED224-572F-6747-B17E-9BB78882761D}"/>
          </ac:spMkLst>
        </pc:spChg>
        <pc:spChg chg="mod">
          <ac:chgData name="Oehrli, Stefan" userId="3f36891e-f853-43e7-bcbc-2879a2513833" providerId="ADAL" clId="{BEB5DB81-D722-724F-85CE-75021972ADA7}" dt="2023-04-03T19:30:02.999" v="241"/>
          <ac:spMkLst>
            <pc:docMk/>
            <pc:sldMk cId="374310437" sldId="485"/>
            <ac:spMk id="6" creationId="{B28D3141-96DE-A43E-F9DB-6923E882B9AB}"/>
          </ac:spMkLst>
        </pc:spChg>
        <pc:spChg chg="add del mod">
          <ac:chgData name="Oehrli, Stefan" userId="3f36891e-f853-43e7-bcbc-2879a2513833" providerId="ADAL" clId="{BEB5DB81-D722-724F-85CE-75021972ADA7}" dt="2023-04-03T19:29:04.637" v="239"/>
          <ac:spMkLst>
            <pc:docMk/>
            <pc:sldMk cId="374310437" sldId="485"/>
            <ac:spMk id="10" creationId="{D381DF76-7C12-C199-386F-806394571A5D}"/>
          </ac:spMkLst>
        </pc:spChg>
        <pc:spChg chg="mod">
          <ac:chgData name="Oehrli, Stefan" userId="3f36891e-f853-43e7-bcbc-2879a2513833" providerId="ADAL" clId="{BEB5DB81-D722-724F-85CE-75021972ADA7}" dt="2023-04-03T19:37:14.617" v="278"/>
          <ac:spMkLst>
            <pc:docMk/>
            <pc:sldMk cId="374310437" sldId="485"/>
            <ac:spMk id="13" creationId="{2C2114AD-B9C5-E6F1-D304-DC103F61C907}"/>
          </ac:spMkLst>
        </pc:spChg>
        <pc:spChg chg="mod">
          <ac:chgData name="Oehrli, Stefan" userId="3f36891e-f853-43e7-bcbc-2879a2513833" providerId="ADAL" clId="{BEB5DB81-D722-724F-85CE-75021972ADA7}" dt="2023-04-03T19:37:14.617" v="278"/>
          <ac:spMkLst>
            <pc:docMk/>
            <pc:sldMk cId="374310437" sldId="485"/>
            <ac:spMk id="14" creationId="{7C98AE17-280D-53D1-DB40-400759767A3F}"/>
          </ac:spMkLst>
        </pc:spChg>
        <pc:spChg chg="mod">
          <ac:chgData name="Oehrli, Stefan" userId="3f36891e-f853-43e7-bcbc-2879a2513833" providerId="ADAL" clId="{BEB5DB81-D722-724F-85CE-75021972ADA7}" dt="2023-04-03T19:37:14.617" v="278"/>
          <ac:spMkLst>
            <pc:docMk/>
            <pc:sldMk cId="374310437" sldId="485"/>
            <ac:spMk id="15" creationId="{F725344F-A390-62ED-66F0-0B3325FAB05B}"/>
          </ac:spMkLst>
        </pc:spChg>
        <pc:spChg chg="mod">
          <ac:chgData name="Oehrli, Stefan" userId="3f36891e-f853-43e7-bcbc-2879a2513833" providerId="ADAL" clId="{BEB5DB81-D722-724F-85CE-75021972ADA7}" dt="2023-04-03T19:37:14.617" v="278"/>
          <ac:spMkLst>
            <pc:docMk/>
            <pc:sldMk cId="374310437" sldId="485"/>
            <ac:spMk id="16" creationId="{26D13832-1941-24D8-4E13-040646C1AAD6}"/>
          </ac:spMkLst>
        </pc:spChg>
        <pc:spChg chg="mod">
          <ac:chgData name="Oehrli, Stefan" userId="3f36891e-f853-43e7-bcbc-2879a2513833" providerId="ADAL" clId="{BEB5DB81-D722-724F-85CE-75021972ADA7}" dt="2023-04-03T19:37:14.617" v="278"/>
          <ac:spMkLst>
            <pc:docMk/>
            <pc:sldMk cId="374310437" sldId="485"/>
            <ac:spMk id="17" creationId="{32C018C7-2E93-8788-F502-CE2F9D2867D7}"/>
          </ac:spMkLst>
        </pc:spChg>
        <pc:spChg chg="mod">
          <ac:chgData name="Oehrli, Stefan" userId="3f36891e-f853-43e7-bcbc-2879a2513833" providerId="ADAL" clId="{BEB5DB81-D722-724F-85CE-75021972ADA7}" dt="2023-04-03T19:37:14.617" v="278"/>
          <ac:spMkLst>
            <pc:docMk/>
            <pc:sldMk cId="374310437" sldId="485"/>
            <ac:spMk id="18" creationId="{22259163-380C-6152-7B7E-00947D3D9764}"/>
          </ac:spMkLst>
        </pc:spChg>
        <pc:spChg chg="mod">
          <ac:chgData name="Oehrli, Stefan" userId="3f36891e-f853-43e7-bcbc-2879a2513833" providerId="ADAL" clId="{BEB5DB81-D722-724F-85CE-75021972ADA7}" dt="2023-04-03T19:38:02.498" v="330" actId="1076"/>
          <ac:spMkLst>
            <pc:docMk/>
            <pc:sldMk cId="374310437" sldId="485"/>
            <ac:spMk id="20" creationId="{C826BE5D-EFC8-20D2-1BA4-9F9481F5C3FB}"/>
          </ac:spMkLst>
        </pc:spChg>
        <pc:spChg chg="mod">
          <ac:chgData name="Oehrli, Stefan" userId="3f36891e-f853-43e7-bcbc-2879a2513833" providerId="ADAL" clId="{BEB5DB81-D722-724F-85CE-75021972ADA7}" dt="2023-04-03T19:38:02.498" v="330" actId="1076"/>
          <ac:spMkLst>
            <pc:docMk/>
            <pc:sldMk cId="374310437" sldId="485"/>
            <ac:spMk id="21" creationId="{25459C6D-6A24-61EA-21E1-97C393D2D8C5}"/>
          </ac:spMkLst>
        </pc:spChg>
        <pc:spChg chg="mod">
          <ac:chgData name="Oehrli, Stefan" userId="3f36891e-f853-43e7-bcbc-2879a2513833" providerId="ADAL" clId="{BEB5DB81-D722-724F-85CE-75021972ADA7}" dt="2023-04-03T19:38:02.498" v="330" actId="1076"/>
          <ac:spMkLst>
            <pc:docMk/>
            <pc:sldMk cId="374310437" sldId="485"/>
            <ac:spMk id="22" creationId="{6015AF56-7975-DCF9-4EA4-DBF0CCF23C04}"/>
          </ac:spMkLst>
        </pc:spChg>
        <pc:spChg chg="mod">
          <ac:chgData name="Oehrli, Stefan" userId="3f36891e-f853-43e7-bcbc-2879a2513833" providerId="ADAL" clId="{BEB5DB81-D722-724F-85CE-75021972ADA7}" dt="2023-04-03T19:38:02.498" v="330" actId="1076"/>
          <ac:spMkLst>
            <pc:docMk/>
            <pc:sldMk cId="374310437" sldId="485"/>
            <ac:spMk id="23" creationId="{60E48CC1-65DD-F25E-1385-B19FAEC3A54A}"/>
          </ac:spMkLst>
        </pc:spChg>
        <pc:spChg chg="mod">
          <ac:chgData name="Oehrli, Stefan" userId="3f36891e-f853-43e7-bcbc-2879a2513833" providerId="ADAL" clId="{BEB5DB81-D722-724F-85CE-75021972ADA7}" dt="2023-04-03T19:38:02.498" v="330" actId="1076"/>
          <ac:spMkLst>
            <pc:docMk/>
            <pc:sldMk cId="374310437" sldId="485"/>
            <ac:spMk id="24" creationId="{B04E7D27-A83F-7D26-0D62-1C118850663F}"/>
          </ac:spMkLst>
        </pc:spChg>
        <pc:spChg chg="mod">
          <ac:chgData name="Oehrli, Stefan" userId="3f36891e-f853-43e7-bcbc-2879a2513833" providerId="ADAL" clId="{BEB5DB81-D722-724F-85CE-75021972ADA7}" dt="2023-04-03T19:38:02.498" v="330" actId="1076"/>
          <ac:spMkLst>
            <pc:docMk/>
            <pc:sldMk cId="374310437" sldId="485"/>
            <ac:spMk id="25" creationId="{8020CF3B-B2CD-8370-0471-9224E95989E9}"/>
          </ac:spMkLst>
        </pc:spChg>
        <pc:grpChg chg="add del mod">
          <ac:chgData name="Oehrli, Stefan" userId="3f36891e-f853-43e7-bcbc-2879a2513833" providerId="ADAL" clId="{BEB5DB81-D722-724F-85CE-75021972ADA7}" dt="2023-04-03T19:37:29.903" v="283"/>
          <ac:grpSpMkLst>
            <pc:docMk/>
            <pc:sldMk cId="374310437" sldId="485"/>
            <ac:grpSpMk id="12" creationId="{FF17B441-CCBB-6D40-D9DB-EBD695560B10}"/>
          </ac:grpSpMkLst>
        </pc:grpChg>
        <pc:grpChg chg="add del mod">
          <ac:chgData name="Oehrli, Stefan" userId="3f36891e-f853-43e7-bcbc-2879a2513833" providerId="ADAL" clId="{BEB5DB81-D722-724F-85CE-75021972ADA7}" dt="2023-04-03T19:50:06.790" v="686" actId="478"/>
          <ac:grpSpMkLst>
            <pc:docMk/>
            <pc:sldMk cId="374310437" sldId="485"/>
            <ac:grpSpMk id="19" creationId="{43D71549-1FDA-933A-66EA-48B8D19056D3}"/>
          </ac:grpSpMkLst>
        </pc:grpChg>
        <pc:picChg chg="add del mod">
          <ac:chgData name="Oehrli, Stefan" userId="3f36891e-f853-43e7-bcbc-2879a2513833" providerId="ADAL" clId="{BEB5DB81-D722-724F-85CE-75021972ADA7}" dt="2023-04-03T19:29:03.512" v="238" actId="478"/>
          <ac:picMkLst>
            <pc:docMk/>
            <pc:sldMk cId="374310437" sldId="485"/>
            <ac:picMk id="8" creationId="{3EA22027-1D3A-8394-B90F-5438AECC4118}"/>
          </ac:picMkLst>
        </pc:picChg>
        <pc:picChg chg="add mod">
          <ac:chgData name="Oehrli, Stefan" userId="3f36891e-f853-43e7-bcbc-2879a2513833" providerId="ADAL" clId="{BEB5DB81-D722-724F-85CE-75021972ADA7}" dt="2023-04-03T19:38:17.698" v="333" actId="1076"/>
          <ac:picMkLst>
            <pc:docMk/>
            <pc:sldMk cId="374310437" sldId="485"/>
            <ac:picMk id="11" creationId="{62E76AD4-CDEE-6935-A5A8-F0E36C086B7A}"/>
          </ac:picMkLst>
        </pc:picChg>
      </pc:sldChg>
      <pc:sldChg chg="modSp add mod ord">
        <pc:chgData name="Oehrli, Stefan" userId="3f36891e-f853-43e7-bcbc-2879a2513833" providerId="ADAL" clId="{BEB5DB81-D722-724F-85CE-75021972ADA7}" dt="2023-04-03T19:50:48.027" v="698" actId="20578"/>
        <pc:sldMkLst>
          <pc:docMk/>
          <pc:sldMk cId="2620699427" sldId="486"/>
        </pc:sldMkLst>
        <pc:spChg chg="mod">
          <ac:chgData name="Oehrli, Stefan" userId="3f36891e-f853-43e7-bcbc-2879a2513833" providerId="ADAL" clId="{BEB5DB81-D722-724F-85CE-75021972ADA7}" dt="2023-04-03T19:50:38.971" v="697" actId="20577"/>
          <ac:spMkLst>
            <pc:docMk/>
            <pc:sldMk cId="2620699427" sldId="486"/>
            <ac:spMk id="2" creationId="{6B7D050A-F3DB-4B0A-8C3E-8F4D3EE9CC12}"/>
          </ac:spMkLst>
        </pc:spChg>
      </pc:sldChg>
      <pc:sldChg chg="modSp add mod">
        <pc:chgData name="Oehrli, Stefan" userId="3f36891e-f853-43e7-bcbc-2879a2513833" providerId="ADAL" clId="{BEB5DB81-D722-724F-85CE-75021972ADA7}" dt="2023-04-03T20:47:34.663" v="1792"/>
        <pc:sldMkLst>
          <pc:docMk/>
          <pc:sldMk cId="410080873" sldId="487"/>
        </pc:sldMkLst>
        <pc:spChg chg="mod">
          <ac:chgData name="Oehrli, Stefan" userId="3f36891e-f853-43e7-bcbc-2879a2513833" providerId="ADAL" clId="{BEB5DB81-D722-724F-85CE-75021972ADA7}" dt="2023-04-03T20:47:34.663" v="1792"/>
          <ac:spMkLst>
            <pc:docMk/>
            <pc:sldMk cId="410080873" sldId="487"/>
            <ac:spMk id="2" creationId="{6B7D050A-F3DB-4B0A-8C3E-8F4D3EE9CC12}"/>
          </ac:spMkLst>
        </pc:spChg>
      </pc:sldChg>
      <pc:sldChg chg="modSp new mod ord">
        <pc:chgData name="Oehrli, Stefan" userId="3f36891e-f853-43e7-bcbc-2879a2513833" providerId="ADAL" clId="{BEB5DB81-D722-724F-85CE-75021972ADA7}" dt="2023-04-03T21:05:47.698" v="2283"/>
        <pc:sldMkLst>
          <pc:docMk/>
          <pc:sldMk cId="1360537350" sldId="488"/>
        </pc:sldMkLst>
        <pc:spChg chg="mod">
          <ac:chgData name="Oehrli, Stefan" userId="3f36891e-f853-43e7-bcbc-2879a2513833" providerId="ADAL" clId="{BEB5DB81-D722-724F-85CE-75021972ADA7}" dt="2023-04-03T21:05:47.698" v="2283"/>
          <ac:spMkLst>
            <pc:docMk/>
            <pc:sldMk cId="1360537350" sldId="488"/>
            <ac:spMk id="2" creationId="{5A99365B-B677-E4C1-2C37-1D62266BA08C}"/>
          </ac:spMkLst>
        </pc:spChg>
        <pc:spChg chg="mod">
          <ac:chgData name="Oehrli, Stefan" userId="3f36891e-f853-43e7-bcbc-2879a2513833" providerId="ADAL" clId="{BEB5DB81-D722-724F-85CE-75021972ADA7}" dt="2023-04-03T21:04:52.416" v="2279" actId="20577"/>
          <ac:spMkLst>
            <pc:docMk/>
            <pc:sldMk cId="1360537350" sldId="488"/>
            <ac:spMk id="3" creationId="{8697DCCA-15D9-58E1-AF51-BD6C6997D56F}"/>
          </ac:spMkLst>
        </pc:spChg>
        <pc:spChg chg="mod">
          <ac:chgData name="Oehrli, Stefan" userId="3f36891e-f853-43e7-bcbc-2879a2513833" providerId="ADAL" clId="{BEB5DB81-D722-724F-85CE-75021972ADA7}" dt="2023-04-03T20:53:36.125" v="1876" actId="20577"/>
          <ac:spMkLst>
            <pc:docMk/>
            <pc:sldMk cId="1360537350" sldId="488"/>
            <ac:spMk id="4" creationId="{6F7391E2-A25C-FB8D-793A-73E0E9E17C40}"/>
          </ac:spMkLst>
        </pc:spChg>
      </pc:sldChg>
      <pc:sldChg chg="modSp new mod">
        <pc:chgData name="Oehrli, Stefan" userId="3f36891e-f853-43e7-bcbc-2879a2513833" providerId="ADAL" clId="{BEB5DB81-D722-724F-85CE-75021972ADA7}" dt="2023-04-04T05:53:33.156" v="4339" actId="20577"/>
        <pc:sldMkLst>
          <pc:docMk/>
          <pc:sldMk cId="299594700" sldId="489"/>
        </pc:sldMkLst>
        <pc:spChg chg="mod">
          <ac:chgData name="Oehrli, Stefan" userId="3f36891e-f853-43e7-bcbc-2879a2513833" providerId="ADAL" clId="{BEB5DB81-D722-724F-85CE-75021972ADA7}" dt="2023-04-03T21:05:14.262" v="2282"/>
          <ac:spMkLst>
            <pc:docMk/>
            <pc:sldMk cId="299594700" sldId="489"/>
            <ac:spMk id="2" creationId="{27FF90EA-20C0-B6EE-2B71-4970809A27E9}"/>
          </ac:spMkLst>
        </pc:spChg>
        <pc:spChg chg="mod">
          <ac:chgData name="Oehrli, Stefan" userId="3f36891e-f853-43e7-bcbc-2879a2513833" providerId="ADAL" clId="{BEB5DB81-D722-724F-85CE-75021972ADA7}" dt="2023-04-04T05:53:33.156" v="4339" actId="20577"/>
          <ac:spMkLst>
            <pc:docMk/>
            <pc:sldMk cId="299594700" sldId="489"/>
            <ac:spMk id="3" creationId="{3BA736C6-2418-7DF3-5BB9-9F927BC2E9E2}"/>
          </ac:spMkLst>
        </pc:spChg>
        <pc:spChg chg="mod">
          <ac:chgData name="Oehrli, Stefan" userId="3f36891e-f853-43e7-bcbc-2879a2513833" providerId="ADAL" clId="{BEB5DB81-D722-724F-85CE-75021972ADA7}" dt="2023-04-03T21:05:08.089" v="2281"/>
          <ac:spMkLst>
            <pc:docMk/>
            <pc:sldMk cId="299594700" sldId="489"/>
            <ac:spMk id="4" creationId="{392C1FED-F218-6AB8-7AA3-D109E99A8F82}"/>
          </ac:spMkLst>
        </pc:spChg>
      </pc:sldChg>
      <pc:sldChg chg="addSp delSp modSp add mod ord">
        <pc:chgData name="Oehrli, Stefan" userId="3f36891e-f853-43e7-bcbc-2879a2513833" providerId="ADAL" clId="{BEB5DB81-D722-724F-85CE-75021972ADA7}" dt="2023-04-04T07:59:48.049" v="5739" actId="1076"/>
        <pc:sldMkLst>
          <pc:docMk/>
          <pc:sldMk cId="2796484050" sldId="490"/>
        </pc:sldMkLst>
        <pc:spChg chg="mod">
          <ac:chgData name="Oehrli, Stefan" userId="3f36891e-f853-43e7-bcbc-2879a2513833" providerId="ADAL" clId="{BEB5DB81-D722-724F-85CE-75021972ADA7}" dt="2023-04-04T07:53:20.274" v="5551"/>
          <ac:spMkLst>
            <pc:docMk/>
            <pc:sldMk cId="2796484050" sldId="490"/>
            <ac:spMk id="2" creationId="{15D7DB5A-4D0A-3477-DAAD-FB85CF83CE9F}"/>
          </ac:spMkLst>
        </pc:spChg>
        <pc:spChg chg="del mod">
          <ac:chgData name="Oehrli, Stefan" userId="3f36891e-f853-43e7-bcbc-2879a2513833" providerId="ADAL" clId="{BEB5DB81-D722-724F-85CE-75021972ADA7}" dt="2023-04-04T07:36:16.909" v="5338" actId="3680"/>
          <ac:spMkLst>
            <pc:docMk/>
            <pc:sldMk cId="2796484050" sldId="490"/>
            <ac:spMk id="3" creationId="{85644990-BA4D-8940-6C72-6EB768EBDEB0}"/>
          </ac:spMkLst>
        </pc:spChg>
        <pc:spChg chg="mod">
          <ac:chgData name="Oehrli, Stefan" userId="3f36891e-f853-43e7-bcbc-2879a2513833" providerId="ADAL" clId="{BEB5DB81-D722-724F-85CE-75021972ADA7}" dt="2023-04-04T07:59:31.350" v="5738" actId="1076"/>
          <ac:spMkLst>
            <pc:docMk/>
            <pc:sldMk cId="2796484050" sldId="490"/>
            <ac:spMk id="4" creationId="{FE313287-A553-744D-3A06-4CB97638E944}"/>
          </ac:spMkLst>
        </pc:spChg>
        <pc:spChg chg="add del mod">
          <ac:chgData name="Oehrli, Stefan" userId="3f36891e-f853-43e7-bcbc-2879a2513833" providerId="ADAL" clId="{BEB5DB81-D722-724F-85CE-75021972ADA7}" dt="2023-04-04T07:48:43.135" v="5530" actId="478"/>
          <ac:spMkLst>
            <pc:docMk/>
            <pc:sldMk cId="2796484050" sldId="490"/>
            <ac:spMk id="8" creationId="{45DED209-B3A3-8F10-C16F-A9CF151086A5}"/>
          </ac:spMkLst>
        </pc:spChg>
        <pc:spChg chg="add del mod">
          <ac:chgData name="Oehrli, Stefan" userId="3f36891e-f853-43e7-bcbc-2879a2513833" providerId="ADAL" clId="{BEB5DB81-D722-724F-85CE-75021972ADA7}" dt="2023-04-04T07:48:41.562" v="5529" actId="478"/>
          <ac:spMkLst>
            <pc:docMk/>
            <pc:sldMk cId="2796484050" sldId="490"/>
            <ac:spMk id="9" creationId="{C9789545-2CAC-99B0-730A-503862E2039B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0" creationId="{86819393-2BC9-EDBD-BF4D-E3D9252AEBFE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1" creationId="{140411BF-00B4-965C-F288-9D23808910CD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2" creationId="{6A14E84B-88F3-1D85-B9DA-FA8D15696E73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3" creationId="{105D6CFB-A5CA-AABA-C35F-984347761F34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4" creationId="{3C1E3811-2474-9F4D-964F-AA2E44D35CC4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5" creationId="{81298F0F-469B-392D-A498-7961DE281E3B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6" creationId="{039E456F-CFD4-A0D8-0C82-8AAC4BB93CF0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7" creationId="{BB4EEEFB-1FEC-2D4D-75FD-98E882EEE9C9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8" creationId="{8263FDB5-A5E8-38D7-5270-45DBCB633184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19" creationId="{DFED9CF7-BDB8-CA1A-A7D1-85267702FCFC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20" creationId="{A939DDCA-9CB1-5814-EC75-060F1439176C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21" creationId="{23FAC0C4-AA28-E8D1-7CB0-980503527141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22" creationId="{C3598CE6-423D-95A6-69B2-32EEC38399F9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23" creationId="{0F1BAADA-1368-D88B-033F-73AFE9337737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24" creationId="{76582B26-967C-C2E2-25B7-7B4BFA04BDC3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25" creationId="{6BBDC86E-CA38-F90B-515A-F002654272A7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26" creationId="{FC1942ED-75BA-6757-A4E0-5C936734FFFE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27" creationId="{C9F80EA1-A235-CE46-5020-D5D1689A0B1D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28" creationId="{541CC716-DEAB-472B-5DAC-058BEF16C0AE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29" creationId="{2DE593C8-BFDC-96A5-1E60-0271DD668E8C}"/>
          </ac:spMkLst>
        </pc:spChg>
        <pc:spChg chg="add del mod">
          <ac:chgData name="Oehrli, Stefan" userId="3f36891e-f853-43e7-bcbc-2879a2513833" providerId="ADAL" clId="{BEB5DB81-D722-724F-85CE-75021972ADA7}" dt="2023-04-04T07:45:59.271" v="5499"/>
          <ac:spMkLst>
            <pc:docMk/>
            <pc:sldMk cId="2796484050" sldId="490"/>
            <ac:spMk id="30" creationId="{63F154CA-5DFE-18F7-4569-29034147693D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1" creationId="{8FE1A81D-47E0-067B-5D76-93A2137CB5C4}"/>
          </ac:spMkLst>
        </pc:spChg>
        <pc:spChg chg="add del mod">
          <ac:chgData name="Oehrli, Stefan" userId="3f36891e-f853-43e7-bcbc-2879a2513833" providerId="ADAL" clId="{BEB5DB81-D722-724F-85CE-75021972ADA7}" dt="2023-04-04T07:50:52.670" v="5540" actId="478"/>
          <ac:spMkLst>
            <pc:docMk/>
            <pc:sldMk cId="2796484050" sldId="490"/>
            <ac:spMk id="32" creationId="{C25C4115-974F-07BD-BCEB-95112DFEB3AE}"/>
          </ac:spMkLst>
        </pc:spChg>
        <pc:spChg chg="add del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3" creationId="{2E251419-1F7E-D6B0-2C81-433FDEBFCFCB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4" creationId="{715DFC3F-8D2D-53E2-603D-5DA558CDDE9D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5" creationId="{C3141446-5F4A-AC67-7D95-BC5FC960D022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6" creationId="{ED9C15E0-B5A7-E5AA-9222-BD1E0BE076B1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7" creationId="{73D451B8-804E-AAD4-74D4-C922A168B52A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38" creationId="{96F984B5-9392-E3DE-CC21-D60C59012AEC}"/>
          </ac:spMkLst>
        </pc:spChg>
        <pc:spChg chg="add del mod">
          <ac:chgData name="Oehrli, Stefan" userId="3f36891e-f853-43e7-bcbc-2879a2513833" providerId="ADAL" clId="{BEB5DB81-D722-724F-85CE-75021972ADA7}" dt="2023-04-04T07:50:52.670" v="5540" actId="478"/>
          <ac:spMkLst>
            <pc:docMk/>
            <pc:sldMk cId="2796484050" sldId="490"/>
            <ac:spMk id="39" creationId="{AC390EFC-91FA-C533-D9D5-5E72853B8579}"/>
          </ac:spMkLst>
        </pc:spChg>
        <pc:spChg chg="add del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40" creationId="{8C6D2FE7-1A5F-1FC5-1510-3A405E326040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41" creationId="{C640B0D7-046A-AF4E-2DE7-DC01383FA6DB}"/>
          </ac:spMkLst>
        </pc:spChg>
        <pc:spChg chg="add del mod">
          <ac:chgData name="Oehrli, Stefan" userId="3f36891e-f853-43e7-bcbc-2879a2513833" providerId="ADAL" clId="{BEB5DB81-D722-724F-85CE-75021972ADA7}" dt="2023-04-04T07:52:12.516" v="5547" actId="478"/>
          <ac:spMkLst>
            <pc:docMk/>
            <pc:sldMk cId="2796484050" sldId="490"/>
            <ac:spMk id="42" creationId="{077F5507-3087-4859-39CD-C683AF71FBD3}"/>
          </ac:spMkLst>
        </pc:spChg>
        <pc:spChg chg="add del mod">
          <ac:chgData name="Oehrli, Stefan" userId="3f36891e-f853-43e7-bcbc-2879a2513833" providerId="ADAL" clId="{BEB5DB81-D722-724F-85CE-75021972ADA7}" dt="2023-04-04T07:52:12.516" v="5547" actId="478"/>
          <ac:spMkLst>
            <pc:docMk/>
            <pc:sldMk cId="2796484050" sldId="490"/>
            <ac:spMk id="43" creationId="{28FAA9C1-CCEA-1347-25AC-0DC4532754F7}"/>
          </ac:spMkLst>
        </pc:spChg>
        <pc:spChg chg="add del mod">
          <ac:chgData name="Oehrli, Stefan" userId="3f36891e-f853-43e7-bcbc-2879a2513833" providerId="ADAL" clId="{BEB5DB81-D722-724F-85CE-75021972ADA7}" dt="2023-04-04T07:52:12.516" v="5547" actId="478"/>
          <ac:spMkLst>
            <pc:docMk/>
            <pc:sldMk cId="2796484050" sldId="490"/>
            <ac:spMk id="44" creationId="{A81B279D-4D83-E844-2515-F0954966B5E7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45" creationId="{83C6765C-A36B-ED63-AFC8-E43C3F8E6FF8}"/>
          </ac:spMkLst>
        </pc:spChg>
        <pc:spChg chg="add del mod">
          <ac:chgData name="Oehrli, Stefan" userId="3f36891e-f853-43e7-bcbc-2879a2513833" providerId="ADAL" clId="{BEB5DB81-D722-724F-85CE-75021972ADA7}" dt="2023-04-04T07:50:52.670" v="5540" actId="478"/>
          <ac:spMkLst>
            <pc:docMk/>
            <pc:sldMk cId="2796484050" sldId="490"/>
            <ac:spMk id="46" creationId="{0CB61974-2AA4-ABED-84F1-ABA1C19C36DB}"/>
          </ac:spMkLst>
        </pc:spChg>
        <pc:spChg chg="add del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47" creationId="{8CB71DEB-6AB9-7A51-34D0-AFBECEEE3B79}"/>
          </ac:spMkLst>
        </pc:spChg>
        <pc:spChg chg="add del mod">
          <ac:chgData name="Oehrli, Stefan" userId="3f36891e-f853-43e7-bcbc-2879a2513833" providerId="ADAL" clId="{BEB5DB81-D722-724F-85CE-75021972ADA7}" dt="2023-04-04T07:51:40.278" v="5545" actId="478"/>
          <ac:spMkLst>
            <pc:docMk/>
            <pc:sldMk cId="2796484050" sldId="490"/>
            <ac:spMk id="48" creationId="{F4E64797-8744-05F7-AB21-AA260091E2ED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49" creationId="{CDA02043-7937-A050-1D98-F900666B3533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0" creationId="{A0F4C490-F9B3-9654-A93D-08BDD7C78727}"/>
          </ac:spMkLst>
        </pc:spChg>
        <pc:spChg chg="add del mod">
          <ac:chgData name="Oehrli, Stefan" userId="3f36891e-f853-43e7-bcbc-2879a2513833" providerId="ADAL" clId="{BEB5DB81-D722-724F-85CE-75021972ADA7}" dt="2023-04-04T07:51:51.546" v="5546" actId="478"/>
          <ac:spMkLst>
            <pc:docMk/>
            <pc:sldMk cId="2796484050" sldId="490"/>
            <ac:spMk id="51" creationId="{1DECCCCD-0529-FFF2-A0CF-CBD6509B0854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2" creationId="{C5341C06-5FF6-9163-E690-6305DA4D6CD1}"/>
          </ac:spMkLst>
        </pc:spChg>
        <pc:spChg chg="add del mod">
          <ac:chgData name="Oehrli, Stefan" userId="3f36891e-f853-43e7-bcbc-2879a2513833" providerId="ADAL" clId="{BEB5DB81-D722-724F-85CE-75021972ADA7}" dt="2023-04-04T07:50:52.670" v="5540" actId="478"/>
          <ac:spMkLst>
            <pc:docMk/>
            <pc:sldMk cId="2796484050" sldId="490"/>
            <ac:spMk id="53" creationId="{3D37DD28-E780-0C30-674F-8373158D0DA1}"/>
          </ac:spMkLst>
        </pc:spChg>
        <pc:spChg chg="add del mod">
          <ac:chgData name="Oehrli, Stefan" userId="3f36891e-f853-43e7-bcbc-2879a2513833" providerId="ADAL" clId="{BEB5DB81-D722-724F-85CE-75021972ADA7}" dt="2023-04-04T07:51:02.276" v="5541" actId="478"/>
          <ac:spMkLst>
            <pc:docMk/>
            <pc:sldMk cId="2796484050" sldId="490"/>
            <ac:spMk id="54" creationId="{06B2983B-D655-A79C-4B74-522337413F48}"/>
          </ac:spMkLst>
        </pc:spChg>
        <pc:spChg chg="add del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5" creationId="{1C390F95-EB47-4675-C9EA-2BB291A937B8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6" creationId="{B4FFEE5F-B0DC-E39D-06B4-E390D4638465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7" creationId="{89A56268-330F-2254-914B-C9D24E6D5966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8" creationId="{430626FE-4A0A-1C43-5CC2-BBE4F3F20DF0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59" creationId="{E84D8CB0-B4A2-EBF3-7570-B0951B39BB4B}"/>
          </ac:spMkLst>
        </pc:spChg>
        <pc:spChg chg="add del mod">
          <ac:chgData name="Oehrli, Stefan" userId="3f36891e-f853-43e7-bcbc-2879a2513833" providerId="ADAL" clId="{BEB5DB81-D722-724F-85CE-75021972ADA7}" dt="2023-04-04T07:50:52.670" v="5540" actId="478"/>
          <ac:spMkLst>
            <pc:docMk/>
            <pc:sldMk cId="2796484050" sldId="490"/>
            <ac:spMk id="60" creationId="{57D9B021-33D0-A8B1-4F37-B87947D70727}"/>
          </ac:spMkLst>
        </pc:spChg>
        <pc:spChg chg="add del mod">
          <ac:chgData name="Oehrli, Stefan" userId="3f36891e-f853-43e7-bcbc-2879a2513833" providerId="ADAL" clId="{BEB5DB81-D722-724F-85CE-75021972ADA7}" dt="2023-04-04T07:51:02.276" v="5541" actId="478"/>
          <ac:spMkLst>
            <pc:docMk/>
            <pc:sldMk cId="2796484050" sldId="490"/>
            <ac:spMk id="61" creationId="{2C1F60F1-960A-65C0-7F20-D00C1766BA79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62" creationId="{223BF0A2-147D-7537-0B8E-A56ABE79B4D1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63" creationId="{82DE1308-22C5-66DF-EC3B-5C7768058FB9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64" creationId="{3A0C56F8-5FC7-DF5A-45E9-3014654522F5}"/>
          </ac:spMkLst>
        </pc:spChg>
        <pc:spChg chg="add del mod">
          <ac:chgData name="Oehrli, Stefan" userId="3f36891e-f853-43e7-bcbc-2879a2513833" providerId="ADAL" clId="{BEB5DB81-D722-724F-85CE-75021972ADA7}" dt="2023-04-04T07:51:19.569" v="5542" actId="478"/>
          <ac:spMkLst>
            <pc:docMk/>
            <pc:sldMk cId="2796484050" sldId="490"/>
            <ac:spMk id="65" creationId="{D8009D05-BE73-CE85-652E-8993AD5C536F}"/>
          </ac:spMkLst>
        </pc:spChg>
        <pc:spChg chg="mod">
          <ac:chgData name="Oehrli, Stefan" userId="3f36891e-f853-43e7-bcbc-2879a2513833" providerId="ADAL" clId="{BEB5DB81-D722-724F-85CE-75021972ADA7}" dt="2023-04-04T07:49:12.519" v="5531"/>
          <ac:spMkLst>
            <pc:docMk/>
            <pc:sldMk cId="2796484050" sldId="490"/>
            <ac:spMk id="67" creationId="{90E6DB7E-5ED9-E692-872C-1CF4B0A90A17}"/>
          </ac:spMkLst>
        </pc:spChg>
        <pc:spChg chg="mod">
          <ac:chgData name="Oehrli, Stefan" userId="3f36891e-f853-43e7-bcbc-2879a2513833" providerId="ADAL" clId="{BEB5DB81-D722-724F-85CE-75021972ADA7}" dt="2023-04-04T07:49:12.519" v="5531"/>
          <ac:spMkLst>
            <pc:docMk/>
            <pc:sldMk cId="2796484050" sldId="490"/>
            <ac:spMk id="68" creationId="{E12556CA-D73D-A387-4632-1ED60584AA76}"/>
          </ac:spMkLst>
        </pc:spChg>
        <pc:spChg chg="add del mod">
          <ac:chgData name="Oehrli, Stefan" userId="3f36891e-f853-43e7-bcbc-2879a2513833" providerId="ADAL" clId="{BEB5DB81-D722-724F-85CE-75021972ADA7}" dt="2023-04-04T07:50:40.970" v="5539" actId="478"/>
          <ac:spMkLst>
            <pc:docMk/>
            <pc:sldMk cId="2796484050" sldId="490"/>
            <ac:spMk id="69" creationId="{4F3DF59A-88E3-3CFB-69B3-FCBAA3466AA3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70" creationId="{4EFEF8CE-FB77-FC1E-822D-1E2426012D7B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71" creationId="{6E5DAFAD-C07C-76F3-C0E3-D4CA2B9EE95A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72" creationId="{617A2C7A-3D26-81AA-B4FA-8CD900F218FF}"/>
          </ac:spMkLst>
        </pc:spChg>
        <pc:spChg chg="add mod">
          <ac:chgData name="Oehrli, Stefan" userId="3f36891e-f853-43e7-bcbc-2879a2513833" providerId="ADAL" clId="{BEB5DB81-D722-724F-85CE-75021972ADA7}" dt="2023-04-04T07:59:48.049" v="5739" actId="1076"/>
          <ac:spMkLst>
            <pc:docMk/>
            <pc:sldMk cId="2796484050" sldId="490"/>
            <ac:spMk id="73" creationId="{D1DA6335-5A20-1B11-3A99-3745C542AC02}"/>
          </ac:spMkLst>
        </pc:spChg>
        <pc:grpChg chg="add del mod">
          <ac:chgData name="Oehrli, Stefan" userId="3f36891e-f853-43e7-bcbc-2879a2513833" providerId="ADAL" clId="{BEB5DB81-D722-724F-85CE-75021972ADA7}" dt="2023-04-04T07:49:17.751" v="5532"/>
          <ac:grpSpMkLst>
            <pc:docMk/>
            <pc:sldMk cId="2796484050" sldId="490"/>
            <ac:grpSpMk id="66" creationId="{A7D81B6C-F4B6-9DCC-0A9A-CA2553DC5420}"/>
          </ac:grpSpMkLst>
        </pc:grpChg>
        <pc:graphicFrameChg chg="add mod ord modGraphic">
          <ac:chgData name="Oehrli, Stefan" userId="3f36891e-f853-43e7-bcbc-2879a2513833" providerId="ADAL" clId="{BEB5DB81-D722-724F-85CE-75021972ADA7}" dt="2023-04-04T07:59:48.049" v="5739" actId="1076"/>
          <ac:graphicFrameMkLst>
            <pc:docMk/>
            <pc:sldMk cId="2796484050" sldId="490"/>
            <ac:graphicFrameMk id="7" creationId="{F28613E1-060F-E801-2F04-703BD0AA3187}"/>
          </ac:graphicFrameMkLst>
        </pc:graphicFrameChg>
      </pc:sldChg>
      <pc:sldChg chg="modSp new mod ord">
        <pc:chgData name="Oehrli, Stefan" userId="3f36891e-f853-43e7-bcbc-2879a2513833" providerId="ADAL" clId="{BEB5DB81-D722-724F-85CE-75021972ADA7}" dt="2023-04-04T07:16:18.107" v="5302" actId="404"/>
        <pc:sldMkLst>
          <pc:docMk/>
          <pc:sldMk cId="1614343025" sldId="491"/>
        </pc:sldMkLst>
        <pc:spChg chg="mod">
          <ac:chgData name="Oehrli, Stefan" userId="3f36891e-f853-43e7-bcbc-2879a2513833" providerId="ADAL" clId="{BEB5DB81-D722-724F-85CE-75021972ADA7}" dt="2023-04-04T05:44:43.828" v="4266"/>
          <ac:spMkLst>
            <pc:docMk/>
            <pc:sldMk cId="1614343025" sldId="491"/>
            <ac:spMk id="2" creationId="{D40268A9-33B2-3ADF-9173-8096A8BD6A2B}"/>
          </ac:spMkLst>
        </pc:spChg>
        <pc:spChg chg="mod">
          <ac:chgData name="Oehrli, Stefan" userId="3f36891e-f853-43e7-bcbc-2879a2513833" providerId="ADAL" clId="{BEB5DB81-D722-724F-85CE-75021972ADA7}" dt="2023-04-04T07:16:18.107" v="5302" actId="404"/>
          <ac:spMkLst>
            <pc:docMk/>
            <pc:sldMk cId="1614343025" sldId="491"/>
            <ac:spMk id="3" creationId="{994D0480-3642-49DA-3035-73904289BA1F}"/>
          </ac:spMkLst>
        </pc:spChg>
        <pc:spChg chg="mod">
          <ac:chgData name="Oehrli, Stefan" userId="3f36891e-f853-43e7-bcbc-2879a2513833" providerId="ADAL" clId="{BEB5DB81-D722-724F-85CE-75021972ADA7}" dt="2023-04-04T05:45:17.472" v="4296" actId="5793"/>
          <ac:spMkLst>
            <pc:docMk/>
            <pc:sldMk cId="1614343025" sldId="491"/>
            <ac:spMk id="4" creationId="{049AA7B9-E1FA-C145-0781-7CC3A519D71D}"/>
          </ac:spMkLst>
        </pc:spChg>
      </pc:sldChg>
      <pc:sldChg chg="add">
        <pc:chgData name="Oehrli, Stefan" userId="3f36891e-f853-43e7-bcbc-2879a2513833" providerId="ADAL" clId="{BEB5DB81-D722-724F-85CE-75021972ADA7}" dt="2023-04-04T05:46:17.067" v="4297"/>
        <pc:sldMkLst>
          <pc:docMk/>
          <pc:sldMk cId="2239675501" sldId="2147138090"/>
        </pc:sldMkLst>
      </pc:sldChg>
      <pc:sldChg chg="modSp add mod">
        <pc:chgData name="Oehrli, Stefan" userId="3f36891e-f853-43e7-bcbc-2879a2513833" providerId="ADAL" clId="{BEB5DB81-D722-724F-85CE-75021972ADA7}" dt="2023-04-04T05:55:53.324" v="4399" actId="20577"/>
        <pc:sldMkLst>
          <pc:docMk/>
          <pc:sldMk cId="3395144429" sldId="2147138091"/>
        </pc:sldMkLst>
        <pc:spChg chg="mod">
          <ac:chgData name="Oehrli, Stefan" userId="3f36891e-f853-43e7-bcbc-2879a2513833" providerId="ADAL" clId="{BEB5DB81-D722-724F-85CE-75021972ADA7}" dt="2023-04-04T05:55:53.324" v="4399" actId="20577"/>
          <ac:spMkLst>
            <pc:docMk/>
            <pc:sldMk cId="3395144429" sldId="2147138091"/>
            <ac:spMk id="3" creationId="{3BA736C6-2418-7DF3-5BB9-9F927BC2E9E2}"/>
          </ac:spMkLst>
        </pc:spChg>
      </pc:sldChg>
      <pc:sldChg chg="addSp delSp modSp new mod">
        <pc:chgData name="Oehrli, Stefan" userId="3f36891e-f853-43e7-bcbc-2879a2513833" providerId="ADAL" clId="{BEB5DB81-D722-724F-85CE-75021972ADA7}" dt="2023-04-04T07:10:47.079" v="4860" actId="1076"/>
        <pc:sldMkLst>
          <pc:docMk/>
          <pc:sldMk cId="317829916" sldId="2147138092"/>
        </pc:sldMkLst>
        <pc:spChg chg="mod">
          <ac:chgData name="Oehrli, Stefan" userId="3f36891e-f853-43e7-bcbc-2879a2513833" providerId="ADAL" clId="{BEB5DB81-D722-724F-85CE-75021972ADA7}" dt="2023-04-04T06:59:22.556" v="4488" actId="20577"/>
          <ac:spMkLst>
            <pc:docMk/>
            <pc:sldMk cId="317829916" sldId="2147138092"/>
            <ac:spMk id="2" creationId="{EF67FA65-7F11-EED9-8AD8-11DDFFBA272E}"/>
          </ac:spMkLst>
        </pc:spChg>
        <pc:spChg chg="mod">
          <ac:chgData name="Oehrli, Stefan" userId="3f36891e-f853-43e7-bcbc-2879a2513833" providerId="ADAL" clId="{BEB5DB81-D722-724F-85CE-75021972ADA7}" dt="2023-04-04T07:10:39.353" v="4857" actId="20577"/>
          <ac:spMkLst>
            <pc:docMk/>
            <pc:sldMk cId="317829916" sldId="2147138092"/>
            <ac:spMk id="3" creationId="{D9D21854-F44B-8FF6-39AA-682617FB8A6E}"/>
          </ac:spMkLst>
        </pc:spChg>
        <pc:spChg chg="del">
          <ac:chgData name="Oehrli, Stefan" userId="3f36891e-f853-43e7-bcbc-2879a2513833" providerId="ADAL" clId="{BEB5DB81-D722-724F-85CE-75021972ADA7}" dt="2023-04-04T06:59:10.760" v="4469"/>
          <ac:spMkLst>
            <pc:docMk/>
            <pc:sldMk cId="317829916" sldId="2147138092"/>
            <ac:spMk id="4" creationId="{5B8F9698-5F9B-35A4-7C09-A9A984A1B9E8}"/>
          </ac:spMkLst>
        </pc:spChg>
        <pc:spChg chg="mod">
          <ac:chgData name="Oehrli, Stefan" userId="3f36891e-f853-43e7-bcbc-2879a2513833" providerId="ADAL" clId="{BEB5DB81-D722-724F-85CE-75021972ADA7}" dt="2023-04-04T07:00:03.101" v="4489"/>
          <ac:spMkLst>
            <pc:docMk/>
            <pc:sldMk cId="317829916" sldId="2147138092"/>
            <ac:spMk id="6" creationId="{1F38A86D-E635-6414-002B-0FD0341850ED}"/>
          </ac:spMkLst>
        </pc:spChg>
        <pc:picChg chg="add mod">
          <ac:chgData name="Oehrli, Stefan" userId="3f36891e-f853-43e7-bcbc-2879a2513833" providerId="ADAL" clId="{BEB5DB81-D722-724F-85CE-75021972ADA7}" dt="2023-04-04T07:10:47.079" v="4860" actId="1076"/>
          <ac:picMkLst>
            <pc:docMk/>
            <pc:sldMk cId="317829916" sldId="2147138092"/>
            <ac:picMk id="8" creationId="{1AA61255-02D5-4F56-1E0C-0131F4E31E90}"/>
          </ac:picMkLst>
        </pc:picChg>
      </pc:sldChg>
      <pc:sldChg chg="addSp delSp modSp new mod">
        <pc:chgData name="Oehrli, Stefan" userId="3f36891e-f853-43e7-bcbc-2879a2513833" providerId="ADAL" clId="{BEB5DB81-D722-724F-85CE-75021972ADA7}" dt="2023-04-04T07:34:07.339" v="5336" actId="14100"/>
        <pc:sldMkLst>
          <pc:docMk/>
          <pc:sldMk cId="2357845878" sldId="2147138093"/>
        </pc:sldMkLst>
        <pc:spChg chg="mod">
          <ac:chgData name="Oehrli, Stefan" userId="3f36891e-f853-43e7-bcbc-2879a2513833" providerId="ADAL" clId="{BEB5DB81-D722-724F-85CE-75021972ADA7}" dt="2023-04-04T07:33:32.541" v="5331" actId="20577"/>
          <ac:spMkLst>
            <pc:docMk/>
            <pc:sldMk cId="2357845878" sldId="2147138093"/>
            <ac:spMk id="2" creationId="{C71B8080-0C0B-6314-E0B6-6191556A6B16}"/>
          </ac:spMkLst>
        </pc:spChg>
        <pc:spChg chg="del">
          <ac:chgData name="Oehrli, Stefan" userId="3f36891e-f853-43e7-bcbc-2879a2513833" providerId="ADAL" clId="{BEB5DB81-D722-724F-85CE-75021972ADA7}" dt="2023-04-04T07:33:59.616" v="5333"/>
          <ac:spMkLst>
            <pc:docMk/>
            <pc:sldMk cId="2357845878" sldId="2147138093"/>
            <ac:spMk id="3" creationId="{E36ADB8B-9B92-A099-27B2-2446F052F47A}"/>
          </ac:spMkLst>
        </pc:spChg>
        <pc:spChg chg="mod">
          <ac:chgData name="Oehrli, Stefan" userId="3f36891e-f853-43e7-bcbc-2879a2513833" providerId="ADAL" clId="{BEB5DB81-D722-724F-85CE-75021972ADA7}" dt="2023-04-04T07:33:53.899" v="5332"/>
          <ac:spMkLst>
            <pc:docMk/>
            <pc:sldMk cId="2357845878" sldId="2147138093"/>
            <ac:spMk id="4" creationId="{FBB11C5B-228E-6261-07C8-6632358250BA}"/>
          </ac:spMkLst>
        </pc:spChg>
        <pc:picChg chg="add mod">
          <ac:chgData name="Oehrli, Stefan" userId="3f36891e-f853-43e7-bcbc-2879a2513833" providerId="ADAL" clId="{BEB5DB81-D722-724F-85CE-75021972ADA7}" dt="2023-04-04T07:34:07.339" v="5336" actId="14100"/>
          <ac:picMkLst>
            <pc:docMk/>
            <pc:sldMk cId="2357845878" sldId="2147138093"/>
            <ac:picMk id="7" creationId="{D01C538F-9DC5-107A-0078-2062DB29DA27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7:57:37.836" v="5708" actId="478"/>
        <pc:sldMkLst>
          <pc:docMk/>
          <pc:sldMk cId="146749824" sldId="2147138094"/>
        </pc:sldMkLst>
        <pc:spChg chg="mod">
          <ac:chgData name="Oehrli, Stefan" userId="3f36891e-f853-43e7-bcbc-2879a2513833" providerId="ADAL" clId="{BEB5DB81-D722-724F-85CE-75021972ADA7}" dt="2023-04-04T07:53:23.400" v="5552"/>
          <ac:spMkLst>
            <pc:docMk/>
            <pc:sldMk cId="146749824" sldId="2147138094"/>
            <ac:spMk id="2" creationId="{15D7DB5A-4D0A-3477-DAAD-FB85CF83CE9F}"/>
          </ac:spMkLst>
        </pc:spChg>
        <pc:spChg chg="add mod">
          <ac:chgData name="Oehrli, Stefan" userId="3f36891e-f853-43e7-bcbc-2879a2513833" providerId="ADAL" clId="{BEB5DB81-D722-724F-85CE-75021972ADA7}" dt="2023-04-04T07:57:04.624" v="5703" actId="767"/>
          <ac:spMkLst>
            <pc:docMk/>
            <pc:sldMk cId="146749824" sldId="2147138094"/>
            <ac:spMk id="3" creationId="{D1C09C05-3E35-FA14-9A43-95662FCDE603}"/>
          </ac:spMkLst>
        </pc:spChg>
        <pc:spChg chg="mod">
          <ac:chgData name="Oehrli, Stefan" userId="3f36891e-f853-43e7-bcbc-2879a2513833" providerId="ADAL" clId="{BEB5DB81-D722-724F-85CE-75021972ADA7}" dt="2023-04-04T07:57:03.366" v="5702" actId="1076"/>
          <ac:spMkLst>
            <pc:docMk/>
            <pc:sldMk cId="146749824" sldId="2147138094"/>
            <ac:spMk id="5" creationId="{1BF55F7F-202E-E506-8A4A-460733D36436}"/>
          </ac:spMkLst>
        </pc:spChg>
        <pc:spChg chg="del">
          <ac:chgData name="Oehrli, Stefan" userId="3f36891e-f853-43e7-bcbc-2879a2513833" providerId="ADAL" clId="{BEB5DB81-D722-724F-85CE-75021972ADA7}" dt="2023-04-04T07:57:37.836" v="5708" actId="478"/>
          <ac:spMkLst>
            <pc:docMk/>
            <pc:sldMk cId="146749824" sldId="2147138094"/>
            <ac:spMk id="11" creationId="{140411BF-00B4-965C-F288-9D23808910CD}"/>
          </ac:spMkLst>
        </pc:spChg>
        <pc:spChg chg="del">
          <ac:chgData name="Oehrli, Stefan" userId="3f36891e-f853-43e7-bcbc-2879a2513833" providerId="ADAL" clId="{BEB5DB81-D722-724F-85CE-75021972ADA7}" dt="2023-04-04T07:57:37.836" v="5708" actId="478"/>
          <ac:spMkLst>
            <pc:docMk/>
            <pc:sldMk cId="146749824" sldId="2147138094"/>
            <ac:spMk id="12" creationId="{6A14E84B-88F3-1D85-B9DA-FA8D15696E73}"/>
          </ac:spMkLst>
        </pc:spChg>
        <pc:spChg chg="del">
          <ac:chgData name="Oehrli, Stefan" userId="3f36891e-f853-43e7-bcbc-2879a2513833" providerId="ADAL" clId="{BEB5DB81-D722-724F-85CE-75021972ADA7}" dt="2023-04-04T07:57:37.836" v="5708" actId="478"/>
          <ac:spMkLst>
            <pc:docMk/>
            <pc:sldMk cId="146749824" sldId="2147138094"/>
            <ac:spMk id="13" creationId="{105D6CFB-A5CA-AABA-C35F-984347761F34}"/>
          </ac:spMkLst>
        </pc:spChg>
        <pc:spChg chg="del">
          <ac:chgData name="Oehrli, Stefan" userId="3f36891e-f853-43e7-bcbc-2879a2513833" providerId="ADAL" clId="{BEB5DB81-D722-724F-85CE-75021972ADA7}" dt="2023-04-04T07:57:37.836" v="5708" actId="478"/>
          <ac:spMkLst>
            <pc:docMk/>
            <pc:sldMk cId="146749824" sldId="2147138094"/>
            <ac:spMk id="14" creationId="{3C1E3811-2474-9F4D-964F-AA2E44D35CC4}"/>
          </ac:spMkLst>
        </pc:spChg>
        <pc:spChg chg="del">
          <ac:chgData name="Oehrli, Stefan" userId="3f36891e-f853-43e7-bcbc-2879a2513833" providerId="ADAL" clId="{BEB5DB81-D722-724F-85CE-75021972ADA7}" dt="2023-04-04T07:57:34.881" v="5707" actId="478"/>
          <ac:spMkLst>
            <pc:docMk/>
            <pc:sldMk cId="146749824" sldId="2147138094"/>
            <ac:spMk id="16" creationId="{039E456F-CFD4-A0D8-0C82-8AAC4BB93CF0}"/>
          </ac:spMkLst>
        </pc:spChg>
        <pc:spChg chg="del">
          <ac:chgData name="Oehrli, Stefan" userId="3f36891e-f853-43e7-bcbc-2879a2513833" providerId="ADAL" clId="{BEB5DB81-D722-724F-85CE-75021972ADA7}" dt="2023-04-04T07:57:21.961" v="5705" actId="478"/>
          <ac:spMkLst>
            <pc:docMk/>
            <pc:sldMk cId="146749824" sldId="2147138094"/>
            <ac:spMk id="18" creationId="{8263FDB5-A5E8-38D7-5270-45DBCB633184}"/>
          </ac:spMkLst>
        </pc:spChg>
        <pc:spChg chg="del">
          <ac:chgData name="Oehrli, Stefan" userId="3f36891e-f853-43e7-bcbc-2879a2513833" providerId="ADAL" clId="{BEB5DB81-D722-724F-85CE-75021972ADA7}" dt="2023-04-04T07:57:21.961" v="5705" actId="478"/>
          <ac:spMkLst>
            <pc:docMk/>
            <pc:sldMk cId="146749824" sldId="2147138094"/>
            <ac:spMk id="19" creationId="{DFED9CF7-BDB8-CA1A-A7D1-85267702FCFC}"/>
          </ac:spMkLst>
        </pc:spChg>
        <pc:spChg chg="del">
          <ac:chgData name="Oehrli, Stefan" userId="3f36891e-f853-43e7-bcbc-2879a2513833" providerId="ADAL" clId="{BEB5DB81-D722-724F-85CE-75021972ADA7}" dt="2023-04-04T07:57:21.961" v="5705" actId="478"/>
          <ac:spMkLst>
            <pc:docMk/>
            <pc:sldMk cId="146749824" sldId="2147138094"/>
            <ac:spMk id="20" creationId="{A939DDCA-9CB1-5814-EC75-060F1439176C}"/>
          </ac:spMkLst>
        </pc:spChg>
        <pc:spChg chg="del">
          <ac:chgData name="Oehrli, Stefan" userId="3f36891e-f853-43e7-bcbc-2879a2513833" providerId="ADAL" clId="{BEB5DB81-D722-724F-85CE-75021972ADA7}" dt="2023-04-04T07:57:21.961" v="5705" actId="478"/>
          <ac:spMkLst>
            <pc:docMk/>
            <pc:sldMk cId="146749824" sldId="2147138094"/>
            <ac:spMk id="21" creationId="{23FAC0C4-AA28-E8D1-7CB0-980503527141}"/>
          </ac:spMkLst>
        </pc:spChg>
        <pc:spChg chg="del">
          <ac:chgData name="Oehrli, Stefan" userId="3f36891e-f853-43e7-bcbc-2879a2513833" providerId="ADAL" clId="{BEB5DB81-D722-724F-85CE-75021972ADA7}" dt="2023-04-04T07:57:24.638" v="5706" actId="478"/>
          <ac:spMkLst>
            <pc:docMk/>
            <pc:sldMk cId="146749824" sldId="2147138094"/>
            <ac:spMk id="23" creationId="{0F1BAADA-1368-D88B-033F-73AFE9337737}"/>
          </ac:spMkLst>
        </pc:spChg>
        <pc:spChg chg="del">
          <ac:chgData name="Oehrli, Stefan" userId="3f36891e-f853-43e7-bcbc-2879a2513833" providerId="ADAL" clId="{BEB5DB81-D722-724F-85CE-75021972ADA7}" dt="2023-04-04T07:57:09.188" v="5704" actId="478"/>
          <ac:spMkLst>
            <pc:docMk/>
            <pc:sldMk cId="146749824" sldId="2147138094"/>
            <ac:spMk id="33" creationId="{2E251419-1F7E-D6B0-2C81-433FDEBFCFCB}"/>
          </ac:spMkLst>
        </pc:spChg>
        <pc:spChg chg="del">
          <ac:chgData name="Oehrli, Stefan" userId="3f36891e-f853-43e7-bcbc-2879a2513833" providerId="ADAL" clId="{BEB5DB81-D722-724F-85CE-75021972ADA7}" dt="2023-04-04T07:57:09.188" v="5704" actId="478"/>
          <ac:spMkLst>
            <pc:docMk/>
            <pc:sldMk cId="146749824" sldId="2147138094"/>
            <ac:spMk id="34" creationId="{715DFC3F-8D2D-53E2-603D-5DA558CDDE9D}"/>
          </ac:spMkLst>
        </pc:spChg>
        <pc:spChg chg="del">
          <ac:chgData name="Oehrli, Stefan" userId="3f36891e-f853-43e7-bcbc-2879a2513833" providerId="ADAL" clId="{BEB5DB81-D722-724F-85CE-75021972ADA7}" dt="2023-04-04T07:57:09.188" v="5704" actId="478"/>
          <ac:spMkLst>
            <pc:docMk/>
            <pc:sldMk cId="146749824" sldId="2147138094"/>
            <ac:spMk id="35" creationId="{C3141446-5F4A-AC67-7D95-BC5FC960D022}"/>
          </ac:spMkLst>
        </pc:spChg>
        <pc:spChg chg="del">
          <ac:chgData name="Oehrli, Stefan" userId="3f36891e-f853-43e7-bcbc-2879a2513833" providerId="ADAL" clId="{BEB5DB81-D722-724F-85CE-75021972ADA7}" dt="2023-04-04T07:57:24.638" v="5706" actId="478"/>
          <ac:spMkLst>
            <pc:docMk/>
            <pc:sldMk cId="146749824" sldId="2147138094"/>
            <ac:spMk id="37" creationId="{73D451B8-804E-AAD4-74D4-C922A168B52A}"/>
          </ac:spMkLst>
        </pc:spChg>
        <pc:spChg chg="del">
          <ac:chgData name="Oehrli, Stefan" userId="3f36891e-f853-43e7-bcbc-2879a2513833" providerId="ADAL" clId="{BEB5DB81-D722-724F-85CE-75021972ADA7}" dt="2023-04-04T07:56:53.695" v="5700" actId="478"/>
          <ac:spMkLst>
            <pc:docMk/>
            <pc:sldMk cId="146749824" sldId="2147138094"/>
            <ac:spMk id="40" creationId="{8C6D2FE7-1A5F-1FC5-1510-3A405E326040}"/>
          </ac:spMkLst>
        </pc:spChg>
        <pc:spChg chg="mod">
          <ac:chgData name="Oehrli, Stefan" userId="3f36891e-f853-43e7-bcbc-2879a2513833" providerId="ADAL" clId="{BEB5DB81-D722-724F-85CE-75021972ADA7}" dt="2023-04-04T07:56:50.997" v="5699" actId="1076"/>
          <ac:spMkLst>
            <pc:docMk/>
            <pc:sldMk cId="146749824" sldId="2147138094"/>
            <ac:spMk id="41" creationId="{C640B0D7-046A-AF4E-2DE7-DC01383FA6DB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47" creationId="{8CB71DEB-6AB9-7A51-34D0-AFBECEEE3B79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49" creationId="{CDA02043-7937-A050-1D98-F900666B3533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50" creationId="{A0F4C490-F9B3-9654-A93D-08BDD7C78727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55" creationId="{1C390F95-EB47-4675-C9EA-2BB291A937B8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56" creationId="{B4FFEE5F-B0DC-E39D-06B4-E390D4638465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57" creationId="{89A56268-330F-2254-914B-C9D24E6D5966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58" creationId="{430626FE-4A0A-1C43-5CC2-BBE4F3F20DF0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62" creationId="{223BF0A2-147D-7537-0B8E-A56ABE79B4D1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63" creationId="{82DE1308-22C5-66DF-EC3B-5C7768058FB9}"/>
          </ac:spMkLst>
        </pc:spChg>
        <pc:spChg chg="del">
          <ac:chgData name="Oehrli, Stefan" userId="3f36891e-f853-43e7-bcbc-2879a2513833" providerId="ADAL" clId="{BEB5DB81-D722-724F-85CE-75021972ADA7}" dt="2023-04-04T07:56:33.605" v="5696" actId="478"/>
          <ac:spMkLst>
            <pc:docMk/>
            <pc:sldMk cId="146749824" sldId="2147138094"/>
            <ac:spMk id="64" creationId="{3A0C56F8-5FC7-DF5A-45E9-3014654522F5}"/>
          </ac:spMkLst>
        </pc:spChg>
        <pc:graphicFrameChg chg="mod modGraphic">
          <ac:chgData name="Oehrli, Stefan" userId="3f36891e-f853-43e7-bcbc-2879a2513833" providerId="ADAL" clId="{BEB5DB81-D722-724F-85CE-75021972ADA7}" dt="2023-04-04T07:56:16.809" v="5695" actId="20577"/>
          <ac:graphicFrameMkLst>
            <pc:docMk/>
            <pc:sldMk cId="146749824" sldId="2147138094"/>
            <ac:graphicFrameMk id="7" creationId="{F28613E1-060F-E801-2F04-703BD0AA3187}"/>
          </ac:graphicFrameMkLst>
        </pc:graphicFrameChg>
      </pc:sldChg>
      <pc:sldChg chg="new del">
        <pc:chgData name="Oehrli, Stefan" userId="3f36891e-f853-43e7-bcbc-2879a2513833" providerId="ADAL" clId="{BEB5DB81-D722-724F-85CE-75021972ADA7}" dt="2023-04-04T08:35:52.959" v="6094" actId="2696"/>
        <pc:sldMkLst>
          <pc:docMk/>
          <pc:sldMk cId="693805704" sldId="2147138095"/>
        </pc:sldMkLst>
      </pc:sldChg>
      <pc:sldChg chg="addSp modSp add del mod modClrScheme chgLayout">
        <pc:chgData name="Oehrli, Stefan" userId="3f36891e-f853-43e7-bcbc-2879a2513833" providerId="ADAL" clId="{BEB5DB81-D722-724F-85CE-75021972ADA7}" dt="2023-04-04T08:35:51.700" v="6093" actId="2696"/>
        <pc:sldMkLst>
          <pc:docMk/>
          <pc:sldMk cId="3873890488" sldId="2147138096"/>
        </pc:sldMkLst>
        <pc:spChg chg="add mod ord">
          <ac:chgData name="Oehrli, Stefan" userId="3f36891e-f853-43e7-bcbc-2879a2513833" providerId="ADAL" clId="{BEB5DB81-D722-724F-85CE-75021972ADA7}" dt="2023-04-04T08:30:09.910" v="5767" actId="700"/>
          <ac:spMkLst>
            <pc:docMk/>
            <pc:sldMk cId="3873890488" sldId="2147138096"/>
            <ac:spMk id="2" creationId="{41338E46-6442-6446-46AC-BB1EFA145EE2}"/>
          </ac:spMkLst>
        </pc:spChg>
        <pc:spChg chg="mod ord">
          <ac:chgData name="Oehrli, Stefan" userId="3f36891e-f853-43e7-bcbc-2879a2513833" providerId="ADAL" clId="{BEB5DB81-D722-724F-85CE-75021972ADA7}" dt="2023-04-04T08:30:09.910" v="5767" actId="700"/>
          <ac:spMkLst>
            <pc:docMk/>
            <pc:sldMk cId="3873890488" sldId="2147138096"/>
            <ac:spMk id="5" creationId="{1478C109-E3A6-05F0-9C76-D28E53CC1708}"/>
          </ac:spMkLst>
        </pc:spChg>
        <pc:spChg chg="mod ord">
          <ac:chgData name="Oehrli, Stefan" userId="3f36891e-f853-43e7-bcbc-2879a2513833" providerId="ADAL" clId="{BEB5DB81-D722-724F-85CE-75021972ADA7}" dt="2023-04-04T08:30:09.910" v="5767" actId="700"/>
          <ac:spMkLst>
            <pc:docMk/>
            <pc:sldMk cId="3873890488" sldId="2147138096"/>
            <ac:spMk id="6" creationId="{D983ECF6-A3DC-FADE-0DC1-EEE55955055E}"/>
          </ac:spMkLst>
        </pc:spChg>
        <pc:spChg chg="mod ord">
          <ac:chgData name="Oehrli, Stefan" userId="3f36891e-f853-43e7-bcbc-2879a2513833" providerId="ADAL" clId="{BEB5DB81-D722-724F-85CE-75021972ADA7}" dt="2023-04-04T08:30:09.910" v="5767" actId="700"/>
          <ac:spMkLst>
            <pc:docMk/>
            <pc:sldMk cId="3873890488" sldId="2147138096"/>
            <ac:spMk id="7" creationId="{C124A808-16DB-889A-9FA2-0EC159F08028}"/>
          </ac:spMkLst>
        </pc:spChg>
        <pc:spChg chg="mod ord">
          <ac:chgData name="Oehrli, Stefan" userId="3f36891e-f853-43e7-bcbc-2879a2513833" providerId="ADAL" clId="{BEB5DB81-D722-724F-85CE-75021972ADA7}" dt="2023-04-04T08:30:09.910" v="5767" actId="700"/>
          <ac:spMkLst>
            <pc:docMk/>
            <pc:sldMk cId="3873890488" sldId="2147138096"/>
            <ac:spMk id="8" creationId="{D6C69559-AFCC-9F44-3767-14E98B80048D}"/>
          </ac:spMkLst>
        </pc:spChg>
        <pc:spChg chg="mod ord">
          <ac:chgData name="Oehrli, Stefan" userId="3f36891e-f853-43e7-bcbc-2879a2513833" providerId="ADAL" clId="{BEB5DB81-D722-724F-85CE-75021972ADA7}" dt="2023-04-04T08:30:09.910" v="5767" actId="700"/>
          <ac:spMkLst>
            <pc:docMk/>
            <pc:sldMk cId="3873890488" sldId="2147138096"/>
            <ac:spMk id="9" creationId="{F1F65E65-F395-1F1E-86BF-B9944CA8B1F8}"/>
          </ac:spMkLst>
        </pc:spChg>
      </pc:sldChg>
      <pc:sldChg chg="addSp delSp modSp new mod ord modClrScheme chgLayout">
        <pc:chgData name="Oehrli, Stefan" userId="3f36891e-f853-43e7-bcbc-2879a2513833" providerId="ADAL" clId="{BEB5DB81-D722-724F-85CE-75021972ADA7}" dt="2023-04-04T08:32:05.206" v="5833" actId="1440"/>
        <pc:sldMkLst>
          <pc:docMk/>
          <pc:sldMk cId="783367747" sldId="2147138097"/>
        </pc:sldMkLst>
        <pc:spChg chg="del mod ord">
          <ac:chgData name="Oehrli, Stefan" userId="3f36891e-f853-43e7-bcbc-2879a2513833" providerId="ADAL" clId="{BEB5DB81-D722-724F-85CE-75021972ADA7}" dt="2023-04-04T08:30:58.312" v="5769" actId="700"/>
          <ac:spMkLst>
            <pc:docMk/>
            <pc:sldMk cId="783367747" sldId="2147138097"/>
            <ac:spMk id="2" creationId="{EE5BB8DA-91A1-43B5-22F8-45F4F123DFB2}"/>
          </ac:spMkLst>
        </pc:spChg>
        <pc:spChg chg="del mod ord">
          <ac:chgData name="Oehrli, Stefan" userId="3f36891e-f853-43e7-bcbc-2879a2513833" providerId="ADAL" clId="{BEB5DB81-D722-724F-85CE-75021972ADA7}" dt="2023-04-04T08:30:58.312" v="5769" actId="700"/>
          <ac:spMkLst>
            <pc:docMk/>
            <pc:sldMk cId="783367747" sldId="2147138097"/>
            <ac:spMk id="3" creationId="{693493AF-0C80-C262-1060-42D73D5FCB5C}"/>
          </ac:spMkLst>
        </pc:spChg>
        <pc:spChg chg="del">
          <ac:chgData name="Oehrli, Stefan" userId="3f36891e-f853-43e7-bcbc-2879a2513833" providerId="ADAL" clId="{BEB5DB81-D722-724F-85CE-75021972ADA7}" dt="2023-04-04T08:30:58.312" v="5769" actId="700"/>
          <ac:spMkLst>
            <pc:docMk/>
            <pc:sldMk cId="783367747" sldId="2147138097"/>
            <ac:spMk id="4" creationId="{2BB7BA35-C4E9-E1DF-5C63-DA64EB77F75F}"/>
          </ac:spMkLst>
        </pc:spChg>
        <pc:spChg chg="mod ord">
          <ac:chgData name="Oehrli, Stefan" userId="3f36891e-f853-43e7-bcbc-2879a2513833" providerId="ADAL" clId="{BEB5DB81-D722-724F-85CE-75021972ADA7}" dt="2023-04-04T08:30:58.312" v="5769" actId="700"/>
          <ac:spMkLst>
            <pc:docMk/>
            <pc:sldMk cId="783367747" sldId="2147138097"/>
            <ac:spMk id="5" creationId="{26EA4C3A-CA5C-283A-A25C-45311C9C1CEA}"/>
          </ac:spMkLst>
        </pc:spChg>
        <pc:spChg chg="del mod ord">
          <ac:chgData name="Oehrli, Stefan" userId="3f36891e-f853-43e7-bcbc-2879a2513833" providerId="ADAL" clId="{BEB5DB81-D722-724F-85CE-75021972ADA7}" dt="2023-04-04T08:30:58.312" v="5769" actId="700"/>
          <ac:spMkLst>
            <pc:docMk/>
            <pc:sldMk cId="783367747" sldId="2147138097"/>
            <ac:spMk id="6" creationId="{19E99F15-D80E-498D-4469-05629006EE85}"/>
          </ac:spMkLst>
        </pc:spChg>
        <pc:spChg chg="mod ord">
          <ac:chgData name="Oehrli, Stefan" userId="3f36891e-f853-43e7-bcbc-2879a2513833" providerId="ADAL" clId="{BEB5DB81-D722-724F-85CE-75021972ADA7}" dt="2023-04-04T08:30:58.312" v="5769" actId="700"/>
          <ac:spMkLst>
            <pc:docMk/>
            <pc:sldMk cId="783367747" sldId="2147138097"/>
            <ac:spMk id="7" creationId="{56D533B8-4332-F626-4927-FCDD71C6BCCD}"/>
          </ac:spMkLst>
        </pc:spChg>
        <pc:spChg chg="add mod ord">
          <ac:chgData name="Oehrli, Stefan" userId="3f36891e-f853-43e7-bcbc-2879a2513833" providerId="ADAL" clId="{BEB5DB81-D722-724F-85CE-75021972ADA7}" dt="2023-04-04T08:31:27.104" v="5774"/>
          <ac:spMkLst>
            <pc:docMk/>
            <pc:sldMk cId="783367747" sldId="2147138097"/>
            <ac:spMk id="8" creationId="{ACDDC423-E697-92D3-8ED9-BEF6CBB23483}"/>
          </ac:spMkLst>
        </pc:spChg>
        <pc:spChg chg="add del mod ord">
          <ac:chgData name="Oehrli, Stefan" userId="3f36891e-f853-43e7-bcbc-2879a2513833" providerId="ADAL" clId="{BEB5DB81-D722-724F-85CE-75021972ADA7}" dt="2023-04-04T08:31:11.712" v="5770"/>
          <ac:spMkLst>
            <pc:docMk/>
            <pc:sldMk cId="783367747" sldId="2147138097"/>
            <ac:spMk id="9" creationId="{18AA05F6-63FC-DCED-A4EA-082E0ADE0DF6}"/>
          </ac:spMkLst>
        </pc:spChg>
        <pc:spChg chg="add mod ord">
          <ac:chgData name="Oehrli, Stefan" userId="3f36891e-f853-43e7-bcbc-2879a2513833" providerId="ADAL" clId="{BEB5DB81-D722-724F-85CE-75021972ADA7}" dt="2023-04-04T08:31:59.259" v="5832" actId="20577"/>
          <ac:spMkLst>
            <pc:docMk/>
            <pc:sldMk cId="783367747" sldId="2147138097"/>
            <ac:spMk id="10" creationId="{EB710A19-30BC-38A8-9E4C-E9484CBB1D4F}"/>
          </ac:spMkLst>
        </pc:spChg>
        <pc:picChg chg="add mod">
          <ac:chgData name="Oehrli, Stefan" userId="3f36891e-f853-43e7-bcbc-2879a2513833" providerId="ADAL" clId="{BEB5DB81-D722-724F-85CE-75021972ADA7}" dt="2023-04-04T08:32:05.206" v="5833" actId="1440"/>
          <ac:picMkLst>
            <pc:docMk/>
            <pc:sldMk cId="783367747" sldId="2147138097"/>
            <ac:picMk id="11" creationId="{C28302DE-AE18-C0E8-F28E-5ED8821FD18E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8:33:30.947" v="5904" actId="20577"/>
        <pc:sldMkLst>
          <pc:docMk/>
          <pc:sldMk cId="3995055900" sldId="2147138098"/>
        </pc:sldMkLst>
        <pc:spChg chg="add del mod">
          <ac:chgData name="Oehrli, Stefan" userId="3f36891e-f853-43e7-bcbc-2879a2513833" providerId="ADAL" clId="{BEB5DB81-D722-724F-85CE-75021972ADA7}" dt="2023-04-04T08:32:52.600" v="5837"/>
          <ac:spMkLst>
            <pc:docMk/>
            <pc:sldMk cId="3995055900" sldId="2147138098"/>
            <ac:spMk id="3" creationId="{E416B25E-5372-AEED-6B21-5B85DBD4C6B4}"/>
          </ac:spMkLst>
        </pc:spChg>
        <pc:spChg chg="mod">
          <ac:chgData name="Oehrli, Stefan" userId="3f36891e-f853-43e7-bcbc-2879a2513833" providerId="ADAL" clId="{BEB5DB81-D722-724F-85CE-75021972ADA7}" dt="2023-04-04T08:33:30.947" v="5904" actId="20577"/>
          <ac:spMkLst>
            <pc:docMk/>
            <pc:sldMk cId="3995055900" sldId="2147138098"/>
            <ac:spMk id="10" creationId="{EB710A19-30BC-38A8-9E4C-E9484CBB1D4F}"/>
          </ac:spMkLst>
        </pc:spChg>
        <pc:picChg chg="add mod">
          <ac:chgData name="Oehrli, Stefan" userId="3f36891e-f853-43e7-bcbc-2879a2513833" providerId="ADAL" clId="{BEB5DB81-D722-724F-85CE-75021972ADA7}" dt="2023-04-04T08:32:58.932" v="5838" actId="1440"/>
          <ac:picMkLst>
            <pc:docMk/>
            <pc:sldMk cId="3995055900" sldId="2147138098"/>
            <ac:picMk id="4" creationId="{F0786668-466D-F4D1-B8D8-2379C6C189A8}"/>
          </ac:picMkLst>
        </pc:picChg>
        <pc:picChg chg="del">
          <ac:chgData name="Oehrli, Stefan" userId="3f36891e-f853-43e7-bcbc-2879a2513833" providerId="ADAL" clId="{BEB5DB81-D722-724F-85CE-75021972ADA7}" dt="2023-04-04T08:32:18.724" v="5836" actId="478"/>
          <ac:picMkLst>
            <pc:docMk/>
            <pc:sldMk cId="3995055900" sldId="2147138098"/>
            <ac:picMk id="11" creationId="{C28302DE-AE18-C0E8-F28E-5ED8821FD18E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8:38:44.702" v="6113"/>
        <pc:sldMkLst>
          <pc:docMk/>
          <pc:sldMk cId="2392979661" sldId="2147138099"/>
        </pc:sldMkLst>
        <pc:spChg chg="add del mod">
          <ac:chgData name="Oehrli, Stefan" userId="3f36891e-f853-43e7-bcbc-2879a2513833" providerId="ADAL" clId="{BEB5DB81-D722-724F-85CE-75021972ADA7}" dt="2023-04-04T08:37:20.517" v="6101"/>
          <ac:spMkLst>
            <pc:docMk/>
            <pc:sldMk cId="2392979661" sldId="2147138099"/>
            <ac:spMk id="3" creationId="{50BBE231-EF6E-2160-7D26-34EAABBC4033}"/>
          </ac:spMkLst>
        </pc:spChg>
        <pc:spChg chg="mod">
          <ac:chgData name="Oehrli, Stefan" userId="3f36891e-f853-43e7-bcbc-2879a2513833" providerId="ADAL" clId="{BEB5DB81-D722-724F-85CE-75021972ADA7}" dt="2023-04-04T08:38:44.702" v="6113"/>
          <ac:spMkLst>
            <pc:docMk/>
            <pc:sldMk cId="2392979661" sldId="2147138099"/>
            <ac:spMk id="10" creationId="{EB710A19-30BC-38A8-9E4C-E9484CBB1D4F}"/>
          </ac:spMkLst>
        </pc:spChg>
        <pc:picChg chg="del">
          <ac:chgData name="Oehrli, Stefan" userId="3f36891e-f853-43e7-bcbc-2879a2513833" providerId="ADAL" clId="{BEB5DB81-D722-724F-85CE-75021972ADA7}" dt="2023-04-04T08:34:02.982" v="5926" actId="478"/>
          <ac:picMkLst>
            <pc:docMk/>
            <pc:sldMk cId="2392979661" sldId="2147138099"/>
            <ac:picMk id="4" creationId="{F0786668-466D-F4D1-B8D8-2379C6C189A8}"/>
          </ac:picMkLst>
        </pc:picChg>
        <pc:picChg chg="add mod">
          <ac:chgData name="Oehrli, Stefan" userId="3f36891e-f853-43e7-bcbc-2879a2513833" providerId="ADAL" clId="{BEB5DB81-D722-724F-85CE-75021972ADA7}" dt="2023-04-04T08:37:27.397" v="6102" actId="1440"/>
          <ac:picMkLst>
            <pc:docMk/>
            <pc:sldMk cId="2392979661" sldId="2147138099"/>
            <ac:picMk id="6" creationId="{6DD28763-FE02-91A5-065F-50CBC34579AC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8:46:30.548" v="6166" actId="1076"/>
        <pc:sldMkLst>
          <pc:docMk/>
          <pc:sldMk cId="4134112622" sldId="2147138100"/>
        </pc:sldMkLst>
        <pc:spChg chg="add del">
          <ac:chgData name="Oehrli, Stefan" userId="3f36891e-f853-43e7-bcbc-2879a2513833" providerId="ADAL" clId="{BEB5DB81-D722-724F-85CE-75021972ADA7}" dt="2023-04-04T08:46:10.244" v="6160"/>
          <ac:spMkLst>
            <pc:docMk/>
            <pc:sldMk cId="4134112622" sldId="2147138100"/>
            <ac:spMk id="3" creationId="{50BBE231-EF6E-2160-7D26-34EAABBC4033}"/>
          </ac:spMkLst>
        </pc:spChg>
        <pc:spChg chg="mod">
          <ac:chgData name="Oehrli, Stefan" userId="3f36891e-f853-43e7-bcbc-2879a2513833" providerId="ADAL" clId="{BEB5DB81-D722-724F-85CE-75021972ADA7}" dt="2023-04-04T08:45:36.727" v="6151" actId="20577"/>
          <ac:spMkLst>
            <pc:docMk/>
            <pc:sldMk cId="4134112622" sldId="2147138100"/>
            <ac:spMk id="10" creationId="{EB710A19-30BC-38A8-9E4C-E9484CBB1D4F}"/>
          </ac:spMkLst>
        </pc:spChg>
        <pc:picChg chg="add del mod">
          <ac:chgData name="Oehrli, Stefan" userId="3f36891e-f853-43e7-bcbc-2879a2513833" providerId="ADAL" clId="{BEB5DB81-D722-724F-85CE-75021972ADA7}" dt="2023-04-04T08:45:21.582" v="6145"/>
          <ac:picMkLst>
            <pc:docMk/>
            <pc:sldMk cId="4134112622" sldId="2147138100"/>
            <ac:picMk id="2" creationId="{5E88D90A-937E-79ED-C151-FD6938C514D1}"/>
          </ac:picMkLst>
        </pc:picChg>
        <pc:picChg chg="add mod">
          <ac:chgData name="Oehrli, Stefan" userId="3f36891e-f853-43e7-bcbc-2879a2513833" providerId="ADAL" clId="{BEB5DB81-D722-724F-85CE-75021972ADA7}" dt="2023-04-04T08:46:30.548" v="6166" actId="1076"/>
          <ac:picMkLst>
            <pc:docMk/>
            <pc:sldMk cId="4134112622" sldId="2147138100"/>
            <ac:picMk id="4" creationId="{CBF71A2D-552D-7678-F913-69D79077B51E}"/>
          </ac:picMkLst>
        </pc:picChg>
        <pc:picChg chg="add mod">
          <ac:chgData name="Oehrli, Stefan" userId="3f36891e-f853-43e7-bcbc-2879a2513833" providerId="ADAL" clId="{BEB5DB81-D722-724F-85CE-75021972ADA7}" dt="2023-04-04T08:46:24.580" v="6164" actId="1076"/>
          <ac:picMkLst>
            <pc:docMk/>
            <pc:sldMk cId="4134112622" sldId="2147138100"/>
            <ac:picMk id="6" creationId="{AC4F28CE-7E75-157C-3B98-D4C2F352DAD2}"/>
          </ac:picMkLst>
        </pc:picChg>
      </pc:sldChg>
      <pc:sldChg chg="addSp delSp modSp add mod ord">
        <pc:chgData name="Oehrli, Stefan" userId="3f36891e-f853-43e7-bcbc-2879a2513833" providerId="ADAL" clId="{BEB5DB81-D722-724F-85CE-75021972ADA7}" dt="2023-04-04T08:45:52.064" v="6156" actId="1076"/>
        <pc:sldMkLst>
          <pc:docMk/>
          <pc:sldMk cId="1824643830" sldId="2147138101"/>
        </pc:sldMkLst>
        <pc:spChg chg="add del">
          <ac:chgData name="Oehrli, Stefan" userId="3f36891e-f853-43e7-bcbc-2879a2513833" providerId="ADAL" clId="{BEB5DB81-D722-724F-85CE-75021972ADA7}" dt="2023-04-04T08:44:55.590" v="6135"/>
          <ac:spMkLst>
            <pc:docMk/>
            <pc:sldMk cId="1824643830" sldId="2147138101"/>
            <ac:spMk id="3" creationId="{50BBE231-EF6E-2160-7D26-34EAABBC4033}"/>
          </ac:spMkLst>
        </pc:spChg>
        <pc:spChg chg="mod">
          <ac:chgData name="Oehrli, Stefan" userId="3f36891e-f853-43e7-bcbc-2879a2513833" providerId="ADAL" clId="{BEB5DB81-D722-724F-85CE-75021972ADA7}" dt="2023-04-04T08:45:33.310" v="6149" actId="21"/>
          <ac:spMkLst>
            <pc:docMk/>
            <pc:sldMk cId="1824643830" sldId="2147138101"/>
            <ac:spMk id="10" creationId="{EB710A19-30BC-38A8-9E4C-E9484CBB1D4F}"/>
          </ac:spMkLst>
        </pc:spChg>
        <pc:picChg chg="add del mod">
          <ac:chgData name="Oehrli, Stefan" userId="3f36891e-f853-43e7-bcbc-2879a2513833" providerId="ADAL" clId="{BEB5DB81-D722-724F-85CE-75021972ADA7}" dt="2023-04-04T08:44:39.839" v="6133"/>
          <ac:picMkLst>
            <pc:docMk/>
            <pc:sldMk cId="1824643830" sldId="2147138101"/>
            <ac:picMk id="2" creationId="{84DE6D42-F6FE-1E8E-EBFE-B99CF5E77D66}"/>
          </ac:picMkLst>
        </pc:picChg>
        <pc:picChg chg="add del">
          <ac:chgData name="Oehrli, Stefan" userId="3f36891e-f853-43e7-bcbc-2879a2513833" providerId="ADAL" clId="{BEB5DB81-D722-724F-85CE-75021972ADA7}" dt="2023-04-04T08:45:11.947" v="6142" actId="21"/>
          <ac:picMkLst>
            <pc:docMk/>
            <pc:sldMk cId="1824643830" sldId="2147138101"/>
            <ac:picMk id="4" creationId="{9B3FE688-6D83-599A-6DF5-504E24D7B768}"/>
          </ac:picMkLst>
        </pc:picChg>
        <pc:picChg chg="add mod">
          <ac:chgData name="Oehrli, Stefan" userId="3f36891e-f853-43e7-bcbc-2879a2513833" providerId="ADAL" clId="{BEB5DB81-D722-724F-85CE-75021972ADA7}" dt="2023-04-04T08:45:44.487" v="6153" actId="1076"/>
          <ac:picMkLst>
            <pc:docMk/>
            <pc:sldMk cId="1824643830" sldId="2147138101"/>
            <ac:picMk id="6" creationId="{2730AADF-A5C3-DCBD-A6E1-C1049C88C1B8}"/>
          </ac:picMkLst>
        </pc:picChg>
        <pc:picChg chg="add mod">
          <ac:chgData name="Oehrli, Stefan" userId="3f36891e-f853-43e7-bcbc-2879a2513833" providerId="ADAL" clId="{BEB5DB81-D722-724F-85CE-75021972ADA7}" dt="2023-04-04T08:45:52.064" v="6156" actId="1076"/>
          <ac:picMkLst>
            <pc:docMk/>
            <pc:sldMk cId="1824643830" sldId="2147138101"/>
            <ac:picMk id="9" creationId="{596AEC4F-D3BA-274F-CB04-21124BAD20FE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8:36:56.192" v="6100" actId="1440"/>
        <pc:sldMkLst>
          <pc:docMk/>
          <pc:sldMk cId="3480061740" sldId="2147138102"/>
        </pc:sldMkLst>
        <pc:spChg chg="del">
          <ac:chgData name="Oehrli, Stefan" userId="3f36891e-f853-43e7-bcbc-2879a2513833" providerId="ADAL" clId="{BEB5DB81-D722-724F-85CE-75021972ADA7}" dt="2023-04-04T08:36:43.771" v="6095"/>
          <ac:spMkLst>
            <pc:docMk/>
            <pc:sldMk cId="3480061740" sldId="2147138102"/>
            <ac:spMk id="3" creationId="{50BBE231-EF6E-2160-7D26-34EAABBC4033}"/>
          </ac:spMkLst>
        </pc:spChg>
        <pc:spChg chg="mod">
          <ac:chgData name="Oehrli, Stefan" userId="3f36891e-f853-43e7-bcbc-2879a2513833" providerId="ADAL" clId="{BEB5DB81-D722-724F-85CE-75021972ADA7}" dt="2023-04-04T08:34:50.723" v="6002" actId="20577"/>
          <ac:spMkLst>
            <pc:docMk/>
            <pc:sldMk cId="3480061740" sldId="2147138102"/>
            <ac:spMk id="10" creationId="{EB710A19-30BC-38A8-9E4C-E9484CBB1D4F}"/>
          </ac:spMkLst>
        </pc:spChg>
        <pc:picChg chg="add mod">
          <ac:chgData name="Oehrli, Stefan" userId="3f36891e-f853-43e7-bcbc-2879a2513833" providerId="ADAL" clId="{BEB5DB81-D722-724F-85CE-75021972ADA7}" dt="2023-04-04T08:36:56.192" v="6100" actId="1440"/>
          <ac:picMkLst>
            <pc:docMk/>
            <pc:sldMk cId="3480061740" sldId="2147138102"/>
            <ac:picMk id="2" creationId="{81B29BA5-23DD-3828-3D3A-ED5D1CCAB6B3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8:39:54.361" v="6115" actId="1440"/>
        <pc:sldMkLst>
          <pc:docMk/>
          <pc:sldMk cId="524717567" sldId="2147138103"/>
        </pc:sldMkLst>
        <pc:spChg chg="del">
          <ac:chgData name="Oehrli, Stefan" userId="3f36891e-f853-43e7-bcbc-2879a2513833" providerId="ADAL" clId="{BEB5DB81-D722-724F-85CE-75021972ADA7}" dt="2023-04-04T08:39:46.600" v="6114"/>
          <ac:spMkLst>
            <pc:docMk/>
            <pc:sldMk cId="524717567" sldId="2147138103"/>
            <ac:spMk id="3" creationId="{50BBE231-EF6E-2160-7D26-34EAABBC4033}"/>
          </ac:spMkLst>
        </pc:spChg>
        <pc:spChg chg="mod">
          <ac:chgData name="Oehrli, Stefan" userId="3f36891e-f853-43e7-bcbc-2879a2513833" providerId="ADAL" clId="{BEB5DB81-D722-724F-85CE-75021972ADA7}" dt="2023-04-04T08:35:12.132" v="6049" actId="20577"/>
          <ac:spMkLst>
            <pc:docMk/>
            <pc:sldMk cId="524717567" sldId="2147138103"/>
            <ac:spMk id="10" creationId="{EB710A19-30BC-38A8-9E4C-E9484CBB1D4F}"/>
          </ac:spMkLst>
        </pc:spChg>
        <pc:picChg chg="add mod">
          <ac:chgData name="Oehrli, Stefan" userId="3f36891e-f853-43e7-bcbc-2879a2513833" providerId="ADAL" clId="{BEB5DB81-D722-724F-85CE-75021972ADA7}" dt="2023-04-04T08:39:54.361" v="6115" actId="1440"/>
          <ac:picMkLst>
            <pc:docMk/>
            <pc:sldMk cId="524717567" sldId="2147138103"/>
            <ac:picMk id="2" creationId="{4E77313A-1512-96BE-AB0B-C92A0851F6F1}"/>
          </ac:picMkLst>
        </pc:picChg>
      </pc:sldChg>
      <pc:sldChg chg="addSp delSp modSp add mod">
        <pc:chgData name="Oehrli, Stefan" userId="3f36891e-f853-43e7-bcbc-2879a2513833" providerId="ADAL" clId="{BEB5DB81-D722-724F-85CE-75021972ADA7}" dt="2023-04-04T08:49:31.022" v="6259" actId="1440"/>
        <pc:sldMkLst>
          <pc:docMk/>
          <pc:sldMk cId="3009414584" sldId="2147138104"/>
        </pc:sldMkLst>
        <pc:spChg chg="del mod">
          <ac:chgData name="Oehrli, Stefan" userId="3f36891e-f853-43e7-bcbc-2879a2513833" providerId="ADAL" clId="{BEB5DB81-D722-724F-85CE-75021972ADA7}" dt="2023-04-04T08:49:22.814" v="6256"/>
          <ac:spMkLst>
            <pc:docMk/>
            <pc:sldMk cId="3009414584" sldId="2147138104"/>
            <ac:spMk id="3" creationId="{50BBE231-EF6E-2160-7D26-34EAABBC4033}"/>
          </ac:spMkLst>
        </pc:spChg>
        <pc:spChg chg="mod">
          <ac:chgData name="Oehrli, Stefan" userId="3f36891e-f853-43e7-bcbc-2879a2513833" providerId="ADAL" clId="{BEB5DB81-D722-724F-85CE-75021972ADA7}" dt="2023-04-04T08:49:10.889" v="6254" actId="5793"/>
          <ac:spMkLst>
            <pc:docMk/>
            <pc:sldMk cId="3009414584" sldId="2147138104"/>
            <ac:spMk id="10" creationId="{EB710A19-30BC-38A8-9E4C-E9484CBB1D4F}"/>
          </ac:spMkLst>
        </pc:spChg>
        <pc:picChg chg="add mod">
          <ac:chgData name="Oehrli, Stefan" userId="3f36891e-f853-43e7-bcbc-2879a2513833" providerId="ADAL" clId="{BEB5DB81-D722-724F-85CE-75021972ADA7}" dt="2023-04-04T08:49:31.022" v="6259" actId="1440"/>
          <ac:picMkLst>
            <pc:docMk/>
            <pc:sldMk cId="3009414584" sldId="2147138104"/>
            <ac:picMk id="2" creationId="{5E4E066B-776C-3B4F-30E2-FDB257D40712}"/>
          </ac:picMkLst>
        </pc:picChg>
      </pc:sldChg>
    </pc:docChg>
  </pc:docChgLst>
  <pc:docChgLst>
    <pc:chgData name="Oehrli, Stefan" userId="3f36891e-f853-43e7-bcbc-2879a2513833" providerId="ADAL" clId="{8AF65D7D-52A3-694C-B004-91F835AC7E11}"/>
    <pc:docChg chg="delSld modSection">
      <pc:chgData name="Oehrli, Stefan" userId="3f36891e-f853-43e7-bcbc-2879a2513833" providerId="ADAL" clId="{8AF65D7D-52A3-694C-B004-91F835AC7E11}" dt="2023-08-23T09:07:38.902" v="44" actId="2696"/>
      <pc:docMkLst>
        <pc:docMk/>
      </pc:docMkLst>
      <pc:sldChg chg="del">
        <pc:chgData name="Oehrli, Stefan" userId="3f36891e-f853-43e7-bcbc-2879a2513833" providerId="ADAL" clId="{8AF65D7D-52A3-694C-B004-91F835AC7E11}" dt="2023-08-23T09:07:38.856" v="29" actId="2696"/>
        <pc:sldMkLst>
          <pc:docMk/>
          <pc:sldMk cId="3637957850" sldId="462"/>
        </pc:sldMkLst>
      </pc:sldChg>
      <pc:sldChg chg="del">
        <pc:chgData name="Oehrli, Stefan" userId="3f36891e-f853-43e7-bcbc-2879a2513833" providerId="ADAL" clId="{8AF65D7D-52A3-694C-B004-91F835AC7E11}" dt="2023-08-23T09:07:38.832" v="26" actId="2696"/>
        <pc:sldMkLst>
          <pc:docMk/>
          <pc:sldMk cId="472890992" sldId="463"/>
        </pc:sldMkLst>
      </pc:sldChg>
      <pc:sldChg chg="del">
        <pc:chgData name="Oehrli, Stefan" userId="3f36891e-f853-43e7-bcbc-2879a2513833" providerId="ADAL" clId="{8AF65D7D-52A3-694C-B004-91F835AC7E11}" dt="2023-08-23T09:07:38.822" v="16" actId="2696"/>
        <pc:sldMkLst>
          <pc:docMk/>
          <pc:sldMk cId="1625272212" sldId="464"/>
        </pc:sldMkLst>
      </pc:sldChg>
      <pc:sldChg chg="del">
        <pc:chgData name="Oehrli, Stefan" userId="3f36891e-f853-43e7-bcbc-2879a2513833" providerId="ADAL" clId="{8AF65D7D-52A3-694C-B004-91F835AC7E11}" dt="2023-08-23T09:07:38.864" v="40" actId="2696"/>
        <pc:sldMkLst>
          <pc:docMk/>
          <pc:sldMk cId="3850440555" sldId="465"/>
        </pc:sldMkLst>
      </pc:sldChg>
      <pc:sldChg chg="del">
        <pc:chgData name="Oehrli, Stefan" userId="3f36891e-f853-43e7-bcbc-2879a2513833" providerId="ADAL" clId="{8AF65D7D-52A3-694C-B004-91F835AC7E11}" dt="2023-08-23T09:07:38.821" v="15" actId="2696"/>
        <pc:sldMkLst>
          <pc:docMk/>
          <pc:sldMk cId="936731009" sldId="466"/>
        </pc:sldMkLst>
      </pc:sldChg>
      <pc:sldChg chg="del">
        <pc:chgData name="Oehrli, Stefan" userId="3f36891e-f853-43e7-bcbc-2879a2513833" providerId="ADAL" clId="{8AF65D7D-52A3-694C-B004-91F835AC7E11}" dt="2023-08-23T09:07:38.823" v="17" actId="2696"/>
        <pc:sldMkLst>
          <pc:docMk/>
          <pc:sldMk cId="3156609275" sldId="467"/>
        </pc:sldMkLst>
      </pc:sldChg>
      <pc:sldChg chg="del">
        <pc:chgData name="Oehrli, Stefan" userId="3f36891e-f853-43e7-bcbc-2879a2513833" providerId="ADAL" clId="{8AF65D7D-52A3-694C-B004-91F835AC7E11}" dt="2023-08-23T09:07:38.806" v="7" actId="2696"/>
        <pc:sldMkLst>
          <pc:docMk/>
          <pc:sldMk cId="97941229" sldId="468"/>
        </pc:sldMkLst>
      </pc:sldChg>
      <pc:sldChg chg="del">
        <pc:chgData name="Oehrli, Stefan" userId="3f36891e-f853-43e7-bcbc-2879a2513833" providerId="ADAL" clId="{8AF65D7D-52A3-694C-B004-91F835AC7E11}" dt="2023-08-23T09:07:38.814" v="8" actId="2696"/>
        <pc:sldMkLst>
          <pc:docMk/>
          <pc:sldMk cId="3036863141" sldId="472"/>
        </pc:sldMkLst>
      </pc:sldChg>
      <pc:sldChg chg="del">
        <pc:chgData name="Oehrli, Stefan" userId="3f36891e-f853-43e7-bcbc-2879a2513833" providerId="ADAL" clId="{8AF65D7D-52A3-694C-B004-91F835AC7E11}" dt="2023-08-23T09:07:38.831" v="25" actId="2696"/>
        <pc:sldMkLst>
          <pc:docMk/>
          <pc:sldMk cId="1007766103" sldId="2147138092"/>
        </pc:sldMkLst>
      </pc:sldChg>
      <pc:sldChg chg="del">
        <pc:chgData name="Oehrli, Stefan" userId="3f36891e-f853-43e7-bcbc-2879a2513833" providerId="ADAL" clId="{8AF65D7D-52A3-694C-B004-91F835AC7E11}" dt="2023-08-23T09:07:38.883" v="42" actId="2696"/>
        <pc:sldMkLst>
          <pc:docMk/>
          <pc:sldMk cId="458820387" sldId="2147138093"/>
        </pc:sldMkLst>
      </pc:sldChg>
      <pc:sldChg chg="del">
        <pc:chgData name="Oehrli, Stefan" userId="3f36891e-f853-43e7-bcbc-2879a2513833" providerId="ADAL" clId="{8AF65D7D-52A3-694C-B004-91F835AC7E11}" dt="2023-08-23T09:07:38.829" v="22" actId="2696"/>
        <pc:sldMkLst>
          <pc:docMk/>
          <pc:sldMk cId="4201040755" sldId="2147138094"/>
        </pc:sldMkLst>
      </pc:sldChg>
      <pc:sldChg chg="del">
        <pc:chgData name="Oehrli, Stefan" userId="3f36891e-f853-43e7-bcbc-2879a2513833" providerId="ADAL" clId="{8AF65D7D-52A3-694C-B004-91F835AC7E11}" dt="2023-08-23T09:07:38.858" v="31" actId="2696"/>
        <pc:sldMkLst>
          <pc:docMk/>
          <pc:sldMk cId="2619521435" sldId="2147138095"/>
        </pc:sldMkLst>
      </pc:sldChg>
      <pc:sldChg chg="del">
        <pc:chgData name="Oehrli, Stefan" userId="3f36891e-f853-43e7-bcbc-2879a2513833" providerId="ADAL" clId="{8AF65D7D-52A3-694C-B004-91F835AC7E11}" dt="2023-08-23T09:07:38.821" v="14" actId="2696"/>
        <pc:sldMkLst>
          <pc:docMk/>
          <pc:sldMk cId="4242205374" sldId="2147138096"/>
        </pc:sldMkLst>
      </pc:sldChg>
      <pc:sldChg chg="del">
        <pc:chgData name="Oehrli, Stefan" userId="3f36891e-f853-43e7-bcbc-2879a2513833" providerId="ADAL" clId="{8AF65D7D-52A3-694C-B004-91F835AC7E11}" dt="2023-08-23T09:07:38.801" v="3" actId="2696"/>
        <pc:sldMkLst>
          <pc:docMk/>
          <pc:sldMk cId="291683142" sldId="2147138097"/>
        </pc:sldMkLst>
      </pc:sldChg>
      <pc:sldChg chg="del">
        <pc:chgData name="Oehrli, Stefan" userId="3f36891e-f853-43e7-bcbc-2879a2513833" providerId="ADAL" clId="{8AF65D7D-52A3-694C-B004-91F835AC7E11}" dt="2023-08-23T09:07:38.820" v="13" actId="2696"/>
        <pc:sldMkLst>
          <pc:docMk/>
          <pc:sldMk cId="2165718264" sldId="2147138098"/>
        </pc:sldMkLst>
      </pc:sldChg>
      <pc:sldChg chg="del">
        <pc:chgData name="Oehrli, Stefan" userId="3f36891e-f853-43e7-bcbc-2879a2513833" providerId="ADAL" clId="{8AF65D7D-52A3-694C-B004-91F835AC7E11}" dt="2023-08-23T09:07:38.819" v="12" actId="2696"/>
        <pc:sldMkLst>
          <pc:docMk/>
          <pc:sldMk cId="3599430945" sldId="2147138099"/>
        </pc:sldMkLst>
      </pc:sldChg>
      <pc:sldChg chg="del">
        <pc:chgData name="Oehrli, Stefan" userId="3f36891e-f853-43e7-bcbc-2879a2513833" providerId="ADAL" clId="{8AF65D7D-52A3-694C-B004-91F835AC7E11}" dt="2023-08-23T09:07:38.824" v="18" actId="2696"/>
        <pc:sldMkLst>
          <pc:docMk/>
          <pc:sldMk cId="1136370493" sldId="2147138100"/>
        </pc:sldMkLst>
      </pc:sldChg>
      <pc:sldChg chg="del">
        <pc:chgData name="Oehrli, Stefan" userId="3f36891e-f853-43e7-bcbc-2879a2513833" providerId="ADAL" clId="{8AF65D7D-52A3-694C-B004-91F835AC7E11}" dt="2023-08-23T09:07:38.825" v="19" actId="2696"/>
        <pc:sldMkLst>
          <pc:docMk/>
          <pc:sldMk cId="1460390289" sldId="2147138101"/>
        </pc:sldMkLst>
      </pc:sldChg>
      <pc:sldChg chg="del">
        <pc:chgData name="Oehrli, Stefan" userId="3f36891e-f853-43e7-bcbc-2879a2513833" providerId="ADAL" clId="{8AF65D7D-52A3-694C-B004-91F835AC7E11}" dt="2023-08-23T09:07:38.818" v="11" actId="2696"/>
        <pc:sldMkLst>
          <pc:docMk/>
          <pc:sldMk cId="4224754524" sldId="2147138102"/>
        </pc:sldMkLst>
      </pc:sldChg>
      <pc:sldChg chg="del">
        <pc:chgData name="Oehrli, Stefan" userId="3f36891e-f853-43e7-bcbc-2879a2513833" providerId="ADAL" clId="{8AF65D7D-52A3-694C-B004-91F835AC7E11}" dt="2023-08-23T09:07:38.862" v="37" actId="2696"/>
        <pc:sldMkLst>
          <pc:docMk/>
          <pc:sldMk cId="2940822937" sldId="2147138103"/>
        </pc:sldMkLst>
      </pc:sldChg>
      <pc:sldChg chg="del">
        <pc:chgData name="Oehrli, Stefan" userId="3f36891e-f853-43e7-bcbc-2879a2513833" providerId="ADAL" clId="{8AF65D7D-52A3-694C-B004-91F835AC7E11}" dt="2023-08-23T09:07:38.803" v="5" actId="2696"/>
        <pc:sldMkLst>
          <pc:docMk/>
          <pc:sldMk cId="1680546933" sldId="2147138157"/>
        </pc:sldMkLst>
      </pc:sldChg>
      <pc:sldChg chg="del">
        <pc:chgData name="Oehrli, Stefan" userId="3f36891e-f853-43e7-bcbc-2879a2513833" providerId="ADAL" clId="{8AF65D7D-52A3-694C-B004-91F835AC7E11}" dt="2023-08-23T09:07:38.860" v="34" actId="2696"/>
        <pc:sldMkLst>
          <pc:docMk/>
          <pc:sldMk cId="81241993" sldId="2147138158"/>
        </pc:sldMkLst>
      </pc:sldChg>
      <pc:sldChg chg="del">
        <pc:chgData name="Oehrli, Stefan" userId="3f36891e-f853-43e7-bcbc-2879a2513833" providerId="ADAL" clId="{8AF65D7D-52A3-694C-B004-91F835AC7E11}" dt="2023-08-23T09:07:38.861" v="36" actId="2696"/>
        <pc:sldMkLst>
          <pc:docMk/>
          <pc:sldMk cId="2106918084" sldId="2147138159"/>
        </pc:sldMkLst>
      </pc:sldChg>
      <pc:sldChg chg="del">
        <pc:chgData name="Oehrli, Stefan" userId="3f36891e-f853-43e7-bcbc-2879a2513833" providerId="ADAL" clId="{8AF65D7D-52A3-694C-B004-91F835AC7E11}" dt="2023-08-23T09:07:38.830" v="23" actId="2696"/>
        <pc:sldMkLst>
          <pc:docMk/>
          <pc:sldMk cId="2239922136" sldId="2147138160"/>
        </pc:sldMkLst>
      </pc:sldChg>
      <pc:sldChg chg="del">
        <pc:chgData name="Oehrli, Stefan" userId="3f36891e-f853-43e7-bcbc-2879a2513833" providerId="ADAL" clId="{8AF65D7D-52A3-694C-B004-91F835AC7E11}" dt="2023-08-23T09:07:38.861" v="35" actId="2696"/>
        <pc:sldMkLst>
          <pc:docMk/>
          <pc:sldMk cId="3885212717" sldId="2147138161"/>
        </pc:sldMkLst>
      </pc:sldChg>
      <pc:sldChg chg="del">
        <pc:chgData name="Oehrli, Stefan" userId="3f36891e-f853-43e7-bcbc-2879a2513833" providerId="ADAL" clId="{8AF65D7D-52A3-694C-B004-91F835AC7E11}" dt="2023-08-23T09:07:38.817" v="10" actId="2696"/>
        <pc:sldMkLst>
          <pc:docMk/>
          <pc:sldMk cId="1472515380" sldId="2147138162"/>
        </pc:sldMkLst>
      </pc:sldChg>
      <pc:sldChg chg="del">
        <pc:chgData name="Oehrli, Stefan" userId="3f36891e-f853-43e7-bcbc-2879a2513833" providerId="ADAL" clId="{8AF65D7D-52A3-694C-B004-91F835AC7E11}" dt="2023-08-23T09:07:38.802" v="4" actId="2696"/>
        <pc:sldMkLst>
          <pc:docMk/>
          <pc:sldMk cId="1126432912" sldId="2147138163"/>
        </pc:sldMkLst>
      </pc:sldChg>
      <pc:sldChg chg="del">
        <pc:chgData name="Oehrli, Stefan" userId="3f36891e-f853-43e7-bcbc-2879a2513833" providerId="ADAL" clId="{8AF65D7D-52A3-694C-B004-91F835AC7E11}" dt="2023-08-23T09:07:38.799" v="2" actId="2696"/>
        <pc:sldMkLst>
          <pc:docMk/>
          <pc:sldMk cId="4280386133" sldId="2147138164"/>
        </pc:sldMkLst>
      </pc:sldChg>
      <pc:sldChg chg="del">
        <pc:chgData name="Oehrli, Stefan" userId="3f36891e-f853-43e7-bcbc-2879a2513833" providerId="ADAL" clId="{8AF65D7D-52A3-694C-B004-91F835AC7E11}" dt="2023-08-23T09:07:38.828" v="21" actId="2696"/>
        <pc:sldMkLst>
          <pc:docMk/>
          <pc:sldMk cId="387224444" sldId="2147138165"/>
        </pc:sldMkLst>
      </pc:sldChg>
      <pc:sldChg chg="del">
        <pc:chgData name="Oehrli, Stefan" userId="3f36891e-f853-43e7-bcbc-2879a2513833" providerId="ADAL" clId="{8AF65D7D-52A3-694C-B004-91F835AC7E11}" dt="2023-08-23T09:07:38.833" v="27" actId="2696"/>
        <pc:sldMkLst>
          <pc:docMk/>
          <pc:sldMk cId="664306202" sldId="2147138166"/>
        </pc:sldMkLst>
      </pc:sldChg>
      <pc:sldChg chg="del">
        <pc:chgData name="Oehrli, Stefan" userId="3f36891e-f853-43e7-bcbc-2879a2513833" providerId="ADAL" clId="{8AF65D7D-52A3-694C-B004-91F835AC7E11}" dt="2023-08-23T09:07:38.826" v="20" actId="2696"/>
        <pc:sldMkLst>
          <pc:docMk/>
          <pc:sldMk cId="283774615" sldId="2147138167"/>
        </pc:sldMkLst>
      </pc:sldChg>
      <pc:sldChg chg="del">
        <pc:chgData name="Oehrli, Stefan" userId="3f36891e-f853-43e7-bcbc-2879a2513833" providerId="ADAL" clId="{8AF65D7D-52A3-694C-B004-91F835AC7E11}" dt="2023-08-23T09:07:38.815" v="9" actId="2696"/>
        <pc:sldMkLst>
          <pc:docMk/>
          <pc:sldMk cId="590366419" sldId="2147138168"/>
        </pc:sldMkLst>
      </pc:sldChg>
      <pc:sldChg chg="del">
        <pc:chgData name="Oehrli, Stefan" userId="3f36891e-f853-43e7-bcbc-2879a2513833" providerId="ADAL" clId="{8AF65D7D-52A3-694C-B004-91F835AC7E11}" dt="2023-08-23T09:07:38.901" v="43" actId="2696"/>
        <pc:sldMkLst>
          <pc:docMk/>
          <pc:sldMk cId="4024699004" sldId="2147138169"/>
        </pc:sldMkLst>
      </pc:sldChg>
      <pc:sldChg chg="del">
        <pc:chgData name="Oehrli, Stefan" userId="3f36891e-f853-43e7-bcbc-2879a2513833" providerId="ADAL" clId="{8AF65D7D-52A3-694C-B004-91F835AC7E11}" dt="2023-08-23T09:07:38.831" v="24" actId="2696"/>
        <pc:sldMkLst>
          <pc:docMk/>
          <pc:sldMk cId="3330251415" sldId="2147138170"/>
        </pc:sldMkLst>
      </pc:sldChg>
      <pc:sldChg chg="del">
        <pc:chgData name="Oehrli, Stefan" userId="3f36891e-f853-43e7-bcbc-2879a2513833" providerId="ADAL" clId="{8AF65D7D-52A3-694C-B004-91F835AC7E11}" dt="2023-08-23T09:07:38.834" v="28" actId="2696"/>
        <pc:sldMkLst>
          <pc:docMk/>
          <pc:sldMk cId="417737938" sldId="2147138171"/>
        </pc:sldMkLst>
      </pc:sldChg>
      <pc:sldChg chg="del">
        <pc:chgData name="Oehrli, Stefan" userId="3f36891e-f853-43e7-bcbc-2879a2513833" providerId="ADAL" clId="{8AF65D7D-52A3-694C-B004-91F835AC7E11}" dt="2023-08-23T09:07:38.857" v="30" actId="2696"/>
        <pc:sldMkLst>
          <pc:docMk/>
          <pc:sldMk cId="3109269487" sldId="2147138172"/>
        </pc:sldMkLst>
      </pc:sldChg>
      <pc:sldChg chg="del">
        <pc:chgData name="Oehrli, Stefan" userId="3f36891e-f853-43e7-bcbc-2879a2513833" providerId="ADAL" clId="{8AF65D7D-52A3-694C-B004-91F835AC7E11}" dt="2023-08-23T09:07:38.858" v="32" actId="2696"/>
        <pc:sldMkLst>
          <pc:docMk/>
          <pc:sldMk cId="1225329166" sldId="2147138173"/>
        </pc:sldMkLst>
      </pc:sldChg>
      <pc:sldChg chg="del">
        <pc:chgData name="Oehrli, Stefan" userId="3f36891e-f853-43e7-bcbc-2879a2513833" providerId="ADAL" clId="{8AF65D7D-52A3-694C-B004-91F835AC7E11}" dt="2023-08-23T09:07:38.798" v="1" actId="2696"/>
        <pc:sldMkLst>
          <pc:docMk/>
          <pc:sldMk cId="539099097" sldId="2147138175"/>
        </pc:sldMkLst>
      </pc:sldChg>
      <pc:sldChg chg="del">
        <pc:chgData name="Oehrli, Stefan" userId="3f36891e-f853-43e7-bcbc-2879a2513833" providerId="ADAL" clId="{8AF65D7D-52A3-694C-B004-91F835AC7E11}" dt="2023-08-23T09:07:38.859" v="33" actId="2696"/>
        <pc:sldMkLst>
          <pc:docMk/>
          <pc:sldMk cId="597136198" sldId="2147138176"/>
        </pc:sldMkLst>
      </pc:sldChg>
      <pc:sldChg chg="del">
        <pc:chgData name="Oehrli, Stefan" userId="3f36891e-f853-43e7-bcbc-2879a2513833" providerId="ADAL" clId="{8AF65D7D-52A3-694C-B004-91F835AC7E11}" dt="2023-08-23T09:07:38.864" v="39" actId="2696"/>
        <pc:sldMkLst>
          <pc:docMk/>
          <pc:sldMk cId="943587598" sldId="2147138177"/>
        </pc:sldMkLst>
      </pc:sldChg>
      <pc:sldChg chg="del">
        <pc:chgData name="Oehrli, Stefan" userId="3f36891e-f853-43e7-bcbc-2879a2513833" providerId="ADAL" clId="{8AF65D7D-52A3-694C-B004-91F835AC7E11}" dt="2023-08-23T09:07:38.805" v="6" actId="2696"/>
        <pc:sldMkLst>
          <pc:docMk/>
          <pc:sldMk cId="2845821336" sldId="2147138178"/>
        </pc:sldMkLst>
      </pc:sldChg>
      <pc:sldChg chg="del">
        <pc:chgData name="Oehrli, Stefan" userId="3f36891e-f853-43e7-bcbc-2879a2513833" providerId="ADAL" clId="{8AF65D7D-52A3-694C-B004-91F835AC7E11}" dt="2023-08-23T09:07:38.865" v="41" actId="2696"/>
        <pc:sldMkLst>
          <pc:docMk/>
          <pc:sldMk cId="1578838906" sldId="2147138179"/>
        </pc:sldMkLst>
      </pc:sldChg>
      <pc:sldChg chg="del">
        <pc:chgData name="Oehrli, Stefan" userId="3f36891e-f853-43e7-bcbc-2879a2513833" providerId="ADAL" clId="{8AF65D7D-52A3-694C-B004-91F835AC7E11}" dt="2023-08-23T09:07:38.796" v="0" actId="2696"/>
        <pc:sldMkLst>
          <pc:docMk/>
          <pc:sldMk cId="2267274583" sldId="2147138180"/>
        </pc:sldMkLst>
      </pc:sldChg>
      <pc:sldMasterChg chg="delSldLayout">
        <pc:chgData name="Oehrli, Stefan" userId="3f36891e-f853-43e7-bcbc-2879a2513833" providerId="ADAL" clId="{8AF65D7D-52A3-694C-B004-91F835AC7E11}" dt="2023-08-23T09:07:38.902" v="44" actId="2696"/>
        <pc:sldMasterMkLst>
          <pc:docMk/>
          <pc:sldMasterMk cId="1195103446" sldId="2147483648"/>
        </pc:sldMasterMkLst>
        <pc:sldLayoutChg chg="del">
          <pc:chgData name="Oehrli, Stefan" userId="3f36891e-f853-43e7-bcbc-2879a2513833" providerId="ADAL" clId="{8AF65D7D-52A3-694C-B004-91F835AC7E11}" dt="2023-08-23T09:07:38.902" v="44" actId="2696"/>
          <pc:sldLayoutMkLst>
            <pc:docMk/>
            <pc:sldMasterMk cId="1195103446" sldId="2147483648"/>
            <pc:sldLayoutMk cId="1825463440" sldId="2147483761"/>
          </pc:sldLayoutMkLst>
        </pc:sldLayoutChg>
        <pc:sldLayoutChg chg="del">
          <pc:chgData name="Oehrli, Stefan" userId="3f36891e-f853-43e7-bcbc-2879a2513833" providerId="ADAL" clId="{8AF65D7D-52A3-694C-B004-91F835AC7E11}" dt="2023-08-23T09:07:38.863" v="38" actId="2696"/>
          <pc:sldLayoutMkLst>
            <pc:docMk/>
            <pc:sldMasterMk cId="1195103446" sldId="2147483648"/>
            <pc:sldLayoutMk cId="3972274285" sldId="2147483762"/>
          </pc:sldLayoutMkLst>
        </pc:sldLayoutChg>
      </pc:sldMasterChg>
    </pc:docChg>
  </pc:docChgLst>
  <pc:docChgLst>
    <pc:chgData name="Oehrli, Stefan" userId="3f36891e-f853-43e7-bcbc-2879a2513833" providerId="ADAL" clId="{09BEBDDE-AF5B-9146-8B18-471724E5E3DD}"/>
    <pc:docChg chg="undo custSel addSld delSld modSld sldOrd modSection">
      <pc:chgData name="Oehrli, Stefan" userId="3f36891e-f853-43e7-bcbc-2879a2513833" providerId="ADAL" clId="{09BEBDDE-AF5B-9146-8B18-471724E5E3DD}" dt="2023-11-23T21:01:48.502" v="7106" actId="700"/>
      <pc:docMkLst>
        <pc:docMk/>
      </pc:docMkLst>
      <pc:sldChg chg="modSp mod">
        <pc:chgData name="Oehrli, Stefan" userId="3f36891e-f853-43e7-bcbc-2879a2513833" providerId="ADAL" clId="{09BEBDDE-AF5B-9146-8B18-471724E5E3DD}" dt="2023-11-11T22:47:21.290" v="120"/>
        <pc:sldMkLst>
          <pc:docMk/>
          <pc:sldMk cId="217193527" sldId="308"/>
        </pc:sldMkLst>
        <pc:spChg chg="mod">
          <ac:chgData name="Oehrli, Stefan" userId="3f36891e-f853-43e7-bcbc-2879a2513833" providerId="ADAL" clId="{09BEBDDE-AF5B-9146-8B18-471724E5E3DD}" dt="2023-11-11T22:47:10.658" v="117" actId="20577"/>
          <ac:spMkLst>
            <pc:docMk/>
            <pc:sldMk cId="217193527" sldId="308"/>
            <ac:spMk id="2" creationId="{632E2813-969E-AAAD-3C7C-2C1A14B7363A}"/>
          </ac:spMkLst>
        </pc:spChg>
        <pc:spChg chg="mod">
          <ac:chgData name="Oehrli, Stefan" userId="3f36891e-f853-43e7-bcbc-2879a2513833" providerId="ADAL" clId="{09BEBDDE-AF5B-9146-8B18-471724E5E3DD}" dt="2023-11-11T22:47:04.893" v="109" actId="20577"/>
          <ac:spMkLst>
            <pc:docMk/>
            <pc:sldMk cId="217193527" sldId="308"/>
            <ac:spMk id="3" creationId="{EDFB5035-7C72-43BF-A8DB-A7280ED54461}"/>
          </ac:spMkLst>
        </pc:spChg>
        <pc:spChg chg="mod">
          <ac:chgData name="Oehrli, Stefan" userId="3f36891e-f853-43e7-bcbc-2879a2513833" providerId="ADAL" clId="{09BEBDDE-AF5B-9146-8B18-471724E5E3DD}" dt="2023-11-11T22:47:21.290" v="120"/>
          <ac:spMkLst>
            <pc:docMk/>
            <pc:sldMk cId="217193527" sldId="308"/>
            <ac:spMk id="6" creationId="{61244AFF-6411-4B84-BA88-9244C012597F}"/>
          </ac:spMkLst>
        </pc:spChg>
      </pc:sldChg>
      <pc:sldChg chg="modSp mod">
        <pc:chgData name="Oehrli, Stefan" userId="3f36891e-f853-43e7-bcbc-2879a2513833" providerId="ADAL" clId="{09BEBDDE-AF5B-9146-8B18-471724E5E3DD}" dt="2023-11-20T22:17:20.083" v="547" actId="20577"/>
        <pc:sldMkLst>
          <pc:docMk/>
          <pc:sldMk cId="988469291" sldId="332"/>
        </pc:sldMkLst>
        <pc:spChg chg="mod">
          <ac:chgData name="Oehrli, Stefan" userId="3f36891e-f853-43e7-bcbc-2879a2513833" providerId="ADAL" clId="{09BEBDDE-AF5B-9146-8B18-471724E5E3DD}" dt="2023-11-20T22:17:20.083" v="547" actId="20577"/>
          <ac:spMkLst>
            <pc:docMk/>
            <pc:sldMk cId="988469291" sldId="332"/>
            <ac:spMk id="2" creationId="{6B7D050A-F3DB-4B0A-8C3E-8F4D3EE9CC12}"/>
          </ac:spMkLst>
        </pc:spChg>
      </pc:sldChg>
      <pc:sldChg chg="addSp delSp modSp mod">
        <pc:chgData name="Oehrli, Stefan" userId="3f36891e-f853-43e7-bcbc-2879a2513833" providerId="ADAL" clId="{09BEBDDE-AF5B-9146-8B18-471724E5E3DD}" dt="2023-11-20T23:25:53.554" v="1255"/>
        <pc:sldMkLst>
          <pc:docMk/>
          <pc:sldMk cId="3447450657" sldId="344"/>
        </pc:sldMkLst>
        <pc:spChg chg="mod">
          <ac:chgData name="Oehrli, Stefan" userId="3f36891e-f853-43e7-bcbc-2879a2513833" providerId="ADAL" clId="{09BEBDDE-AF5B-9146-8B18-471724E5E3DD}" dt="2023-11-11T22:54:54.268" v="147"/>
          <ac:spMkLst>
            <pc:docMk/>
            <pc:sldMk cId="3447450657" sldId="344"/>
            <ac:spMk id="5" creationId="{4D1089D9-B568-BC09-13D3-75786BE4D9BC}"/>
          </ac:spMkLst>
        </pc:spChg>
        <pc:spChg chg="mod">
          <ac:chgData name="Oehrli, Stefan" userId="3f36891e-f853-43e7-bcbc-2879a2513833" providerId="ADAL" clId="{09BEBDDE-AF5B-9146-8B18-471724E5E3DD}" dt="2023-11-11T22:55:11.873" v="149"/>
          <ac:spMkLst>
            <pc:docMk/>
            <pc:sldMk cId="3447450657" sldId="344"/>
            <ac:spMk id="6" creationId="{FB352734-A1FB-38C6-2A1D-F73070E0CD10}"/>
          </ac:spMkLst>
        </pc:spChg>
        <pc:spChg chg="mod">
          <ac:chgData name="Oehrli, Stefan" userId="3f36891e-f853-43e7-bcbc-2879a2513833" providerId="ADAL" clId="{09BEBDDE-AF5B-9146-8B18-471724E5E3DD}" dt="2023-11-11T22:55:26.575" v="152"/>
          <ac:spMkLst>
            <pc:docMk/>
            <pc:sldMk cId="3447450657" sldId="344"/>
            <ac:spMk id="7" creationId="{D9F6E433-F286-B428-87FF-D12488F81E35}"/>
          </ac:spMkLst>
        </pc:spChg>
        <pc:spChg chg="mod">
          <ac:chgData name="Oehrli, Stefan" userId="3f36891e-f853-43e7-bcbc-2879a2513833" providerId="ADAL" clId="{09BEBDDE-AF5B-9146-8B18-471724E5E3DD}" dt="2023-11-11T22:55:35.676" v="154"/>
          <ac:spMkLst>
            <pc:docMk/>
            <pc:sldMk cId="3447450657" sldId="344"/>
            <ac:spMk id="8" creationId="{3B72ACB7-875F-88E1-8FF9-E339AB5CEA90}"/>
          </ac:spMkLst>
        </pc:spChg>
        <pc:spChg chg="mod">
          <ac:chgData name="Oehrli, Stefan" userId="3f36891e-f853-43e7-bcbc-2879a2513833" providerId="ADAL" clId="{09BEBDDE-AF5B-9146-8B18-471724E5E3DD}" dt="2023-11-11T22:55:46.755" v="155"/>
          <ac:spMkLst>
            <pc:docMk/>
            <pc:sldMk cId="3447450657" sldId="344"/>
            <ac:spMk id="9" creationId="{4722DDC2-84AC-744A-549D-84D37EC6E174}"/>
          </ac:spMkLst>
        </pc:spChg>
        <pc:spChg chg="mod">
          <ac:chgData name="Oehrli, Stefan" userId="3f36891e-f853-43e7-bcbc-2879a2513833" providerId="ADAL" clId="{09BEBDDE-AF5B-9146-8B18-471724E5E3DD}" dt="2023-11-20T23:25:53.554" v="1255"/>
          <ac:spMkLst>
            <pc:docMk/>
            <pc:sldMk cId="3447450657" sldId="344"/>
            <ac:spMk id="10" creationId="{2510B16E-5797-8D5D-1A8B-7AEBFCCACEC2}"/>
          </ac:spMkLst>
        </pc:spChg>
        <pc:spChg chg="add del">
          <ac:chgData name="Oehrli, Stefan" userId="3f36891e-f853-43e7-bcbc-2879a2513833" providerId="ADAL" clId="{09BEBDDE-AF5B-9146-8B18-471724E5E3DD}" dt="2023-11-11T22:57:51.144" v="161" actId="22"/>
          <ac:spMkLst>
            <pc:docMk/>
            <pc:sldMk cId="3447450657" sldId="344"/>
            <ac:spMk id="39" creationId="{157C21D1-6702-C755-04F4-116C30EAE27F}"/>
          </ac:spMkLst>
        </pc:spChg>
      </pc:sldChg>
      <pc:sldChg chg="modSp del mod">
        <pc:chgData name="Oehrli, Stefan" userId="3f36891e-f853-43e7-bcbc-2879a2513833" providerId="ADAL" clId="{09BEBDDE-AF5B-9146-8B18-471724E5E3DD}" dt="2023-11-20T23:25:49.326" v="1254" actId="2696"/>
        <pc:sldMkLst>
          <pc:docMk/>
          <pc:sldMk cId="1089911166" sldId="460"/>
        </pc:sldMkLst>
        <pc:picChg chg="mod">
          <ac:chgData name="Oehrli, Stefan" userId="3f36891e-f853-43e7-bcbc-2879a2513833" providerId="ADAL" clId="{09BEBDDE-AF5B-9146-8B18-471724E5E3DD}" dt="2023-11-11T22:48:53.382" v="122" actId="1076"/>
          <ac:picMkLst>
            <pc:docMk/>
            <pc:sldMk cId="1089911166" sldId="460"/>
            <ac:picMk id="20" creationId="{F9A27A75-13C8-8DF7-897B-0C1C1AE44858}"/>
          </ac:picMkLst>
        </pc:picChg>
      </pc:sldChg>
      <pc:sldChg chg="modSp mod">
        <pc:chgData name="Oehrli, Stefan" userId="3f36891e-f853-43e7-bcbc-2879a2513833" providerId="ADAL" clId="{09BEBDDE-AF5B-9146-8B18-471724E5E3DD}" dt="2023-11-20T21:55:58.379" v="310"/>
        <pc:sldMkLst>
          <pc:docMk/>
          <pc:sldMk cId="809413988" sldId="461"/>
        </pc:sldMkLst>
        <pc:spChg chg="mod">
          <ac:chgData name="Oehrli, Stefan" userId="3f36891e-f853-43e7-bcbc-2879a2513833" providerId="ADAL" clId="{09BEBDDE-AF5B-9146-8B18-471724E5E3DD}" dt="2023-11-20T21:55:58.379" v="310"/>
          <ac:spMkLst>
            <pc:docMk/>
            <pc:sldMk cId="809413988" sldId="461"/>
            <ac:spMk id="40" creationId="{F812FB05-C283-CDA9-B557-B5415BD2668A}"/>
          </ac:spMkLst>
        </pc:spChg>
      </pc:sldChg>
      <pc:sldChg chg="modSp mod modAnim">
        <pc:chgData name="Oehrli, Stefan" userId="3f36891e-f853-43e7-bcbc-2879a2513833" providerId="ADAL" clId="{09BEBDDE-AF5B-9146-8B18-471724E5E3DD}" dt="2023-11-20T22:11:06.217" v="525"/>
        <pc:sldMkLst>
          <pc:docMk/>
          <pc:sldMk cId="1153880397" sldId="470"/>
        </pc:sldMkLst>
        <pc:spChg chg="mod">
          <ac:chgData name="Oehrli, Stefan" userId="3f36891e-f853-43e7-bcbc-2879a2513833" providerId="ADAL" clId="{09BEBDDE-AF5B-9146-8B18-471724E5E3DD}" dt="2023-11-20T22:09:58.414" v="518" actId="948"/>
          <ac:spMkLst>
            <pc:docMk/>
            <pc:sldMk cId="1153880397" sldId="470"/>
            <ac:spMk id="2" creationId="{C0801084-F41C-99CB-6C15-5F3EDECF1FC3}"/>
          </ac:spMkLst>
        </pc:spChg>
        <pc:spChg chg="mod">
          <ac:chgData name="Oehrli, Stefan" userId="3f36891e-f853-43e7-bcbc-2879a2513833" providerId="ADAL" clId="{09BEBDDE-AF5B-9146-8B18-471724E5E3DD}" dt="2023-11-11T16:44:36.538" v="2"/>
          <ac:spMkLst>
            <pc:docMk/>
            <pc:sldMk cId="1153880397" sldId="470"/>
            <ac:spMk id="13" creationId="{9EEEFBE2-D58B-0304-1EEF-C6A93EAE2FDB}"/>
          </ac:spMkLst>
        </pc:spChg>
        <pc:picChg chg="mod">
          <ac:chgData name="Oehrli, Stefan" userId="3f36891e-f853-43e7-bcbc-2879a2513833" providerId="ADAL" clId="{09BEBDDE-AF5B-9146-8B18-471724E5E3DD}" dt="2023-11-20T22:10:47.558" v="524" actId="14100"/>
          <ac:picMkLst>
            <pc:docMk/>
            <pc:sldMk cId="1153880397" sldId="470"/>
            <ac:picMk id="9" creationId="{A61FEC2F-D7C6-91D8-7B41-414E7F4BD194}"/>
          </ac:picMkLst>
        </pc:picChg>
      </pc:sldChg>
      <pc:sldChg chg="modSp add del mod">
        <pc:chgData name="Oehrli, Stefan" userId="3f36891e-f853-43e7-bcbc-2879a2513833" providerId="ADAL" clId="{09BEBDDE-AF5B-9146-8B18-471724E5E3DD}" dt="2023-11-21T07:21:52.827" v="4202" actId="2696"/>
        <pc:sldMkLst>
          <pc:docMk/>
          <pc:sldMk cId="4239886515" sldId="480"/>
        </pc:sldMkLst>
        <pc:spChg chg="mod">
          <ac:chgData name="Oehrli, Stefan" userId="3f36891e-f853-43e7-bcbc-2879a2513833" providerId="ADAL" clId="{09BEBDDE-AF5B-9146-8B18-471724E5E3DD}" dt="2023-11-20T22:11:39.205" v="529" actId="20577"/>
          <ac:spMkLst>
            <pc:docMk/>
            <pc:sldMk cId="4239886515" sldId="480"/>
            <ac:spMk id="4" creationId="{F4D16C22-C1BC-AD85-0A01-6D918C31FBC0}"/>
          </ac:spMkLst>
        </pc:spChg>
      </pc:sldChg>
      <pc:sldChg chg="modSp add mod">
        <pc:chgData name="Oehrli, Stefan" userId="3f36891e-f853-43e7-bcbc-2879a2513833" providerId="ADAL" clId="{09BEBDDE-AF5B-9146-8B18-471724E5E3DD}" dt="2023-11-11T22:51:42.321" v="136" actId="18131"/>
        <pc:sldMkLst>
          <pc:docMk/>
          <pc:sldMk cId="2241462360" sldId="2147138091"/>
        </pc:sldMkLst>
        <pc:picChg chg="mod modCrop">
          <ac:chgData name="Oehrli, Stefan" userId="3f36891e-f853-43e7-bcbc-2879a2513833" providerId="ADAL" clId="{09BEBDDE-AF5B-9146-8B18-471724E5E3DD}" dt="2023-11-11T22:51:42.321" v="136" actId="18131"/>
          <ac:picMkLst>
            <pc:docMk/>
            <pc:sldMk cId="2241462360" sldId="2147138091"/>
            <ac:picMk id="20" creationId="{F9A27A75-13C8-8DF7-897B-0C1C1AE44858}"/>
          </ac:picMkLst>
        </pc:picChg>
      </pc:sldChg>
      <pc:sldChg chg="modSp add del mod">
        <pc:chgData name="Oehrli, Stefan" userId="3f36891e-f853-43e7-bcbc-2879a2513833" providerId="ADAL" clId="{09BEBDDE-AF5B-9146-8B18-471724E5E3DD}" dt="2023-11-20T23:25:47.572" v="1253" actId="2696"/>
        <pc:sldMkLst>
          <pc:docMk/>
          <pc:sldMk cId="2287636559" sldId="2147138092"/>
        </pc:sldMkLst>
        <pc:picChg chg="mod modCrop">
          <ac:chgData name="Oehrli, Stefan" userId="3f36891e-f853-43e7-bcbc-2879a2513833" providerId="ADAL" clId="{09BEBDDE-AF5B-9146-8B18-471724E5E3DD}" dt="2023-11-11T22:59:41.363" v="169" actId="18131"/>
          <ac:picMkLst>
            <pc:docMk/>
            <pc:sldMk cId="2287636559" sldId="2147138092"/>
            <ac:picMk id="20" creationId="{F9A27A75-13C8-8DF7-897B-0C1C1AE44858}"/>
          </ac:picMkLst>
        </pc:picChg>
      </pc:sldChg>
      <pc:sldChg chg="addSp delSp modSp new mod modAnim chgLayout">
        <pc:chgData name="Oehrli, Stefan" userId="3f36891e-f853-43e7-bcbc-2879a2513833" providerId="ADAL" clId="{09BEBDDE-AF5B-9146-8B18-471724E5E3DD}" dt="2023-11-21T10:27:32.592" v="7080"/>
        <pc:sldMkLst>
          <pc:docMk/>
          <pc:sldMk cId="1940722524" sldId="2147138093"/>
        </pc:sldMkLst>
        <pc:spChg chg="del mod ord">
          <ac:chgData name="Oehrli, Stefan" userId="3f36891e-f853-43e7-bcbc-2879a2513833" providerId="ADAL" clId="{09BEBDDE-AF5B-9146-8B18-471724E5E3DD}" dt="2023-11-20T11:18:10.667" v="171" actId="700"/>
          <ac:spMkLst>
            <pc:docMk/>
            <pc:sldMk cId="1940722524" sldId="2147138093"/>
            <ac:spMk id="2" creationId="{06E1057A-E14B-06A2-2DC5-4C99D2166FFD}"/>
          </ac:spMkLst>
        </pc:spChg>
        <pc:spChg chg="add mod ord">
          <ac:chgData name="Oehrli, Stefan" userId="3f36891e-f853-43e7-bcbc-2879a2513833" providerId="ADAL" clId="{09BEBDDE-AF5B-9146-8B18-471724E5E3DD}" dt="2023-11-21T10:18:50.663" v="6880"/>
          <ac:spMkLst>
            <pc:docMk/>
            <pc:sldMk cId="1940722524" sldId="2147138093"/>
            <ac:spMk id="3" creationId="{2896F9B9-7557-8356-E91D-65337D7EEC8C}"/>
          </ac:spMkLst>
        </pc:spChg>
        <pc:spChg chg="add mod ord">
          <ac:chgData name="Oehrli, Stefan" userId="3f36891e-f853-43e7-bcbc-2879a2513833" providerId="ADAL" clId="{09BEBDDE-AF5B-9146-8B18-471724E5E3DD}" dt="2023-11-21T10:27:13.613" v="7077" actId="113"/>
          <ac:spMkLst>
            <pc:docMk/>
            <pc:sldMk cId="1940722524" sldId="2147138093"/>
            <ac:spMk id="4" creationId="{698A75A3-F15B-FBF6-3BA2-AA1CAFD139F5}"/>
          </ac:spMkLst>
        </pc:spChg>
        <pc:spChg chg="add mod ord">
          <ac:chgData name="Oehrli, Stefan" userId="3f36891e-f853-43e7-bcbc-2879a2513833" providerId="ADAL" clId="{09BEBDDE-AF5B-9146-8B18-471724E5E3DD}" dt="2023-11-21T10:19:27.767" v="6903" actId="5793"/>
          <ac:spMkLst>
            <pc:docMk/>
            <pc:sldMk cId="1940722524" sldId="2147138093"/>
            <ac:spMk id="5" creationId="{B9E8DA0E-446D-8305-58A2-9E0B0033D674}"/>
          </ac:spMkLst>
        </pc:spChg>
      </pc:sldChg>
      <pc:sldChg chg="addSp delSp modSp new del mod chgLayout">
        <pc:chgData name="Oehrli, Stefan" userId="3f36891e-f853-43e7-bcbc-2879a2513833" providerId="ADAL" clId="{09BEBDDE-AF5B-9146-8B18-471724E5E3DD}" dt="2023-11-21T05:26:30.321" v="2573" actId="2696"/>
        <pc:sldMkLst>
          <pc:docMk/>
          <pc:sldMk cId="2448084781" sldId="2147138094"/>
        </pc:sldMkLst>
        <pc:spChg chg="del mod ord">
          <ac:chgData name="Oehrli, Stefan" userId="3f36891e-f853-43e7-bcbc-2879a2513833" providerId="ADAL" clId="{09BEBDDE-AF5B-9146-8B18-471724E5E3DD}" dt="2023-11-20T11:24:25.657" v="173" actId="700"/>
          <ac:spMkLst>
            <pc:docMk/>
            <pc:sldMk cId="2448084781" sldId="2147138094"/>
            <ac:spMk id="2" creationId="{577197AB-FB88-BCC3-28CF-2CC3214C3BE1}"/>
          </ac:spMkLst>
        </pc:spChg>
        <pc:spChg chg="add mod ord">
          <ac:chgData name="Oehrli, Stefan" userId="3f36891e-f853-43e7-bcbc-2879a2513833" providerId="ADAL" clId="{09BEBDDE-AF5B-9146-8B18-471724E5E3DD}" dt="2023-11-20T11:24:25.657" v="173" actId="700"/>
          <ac:spMkLst>
            <pc:docMk/>
            <pc:sldMk cId="2448084781" sldId="2147138094"/>
            <ac:spMk id="3" creationId="{CEAFCAE0-F842-34F2-EB92-1D60C03884E7}"/>
          </ac:spMkLst>
        </pc:spChg>
        <pc:spChg chg="add mod ord">
          <ac:chgData name="Oehrli, Stefan" userId="3f36891e-f853-43e7-bcbc-2879a2513833" providerId="ADAL" clId="{09BEBDDE-AF5B-9146-8B18-471724E5E3DD}" dt="2023-11-20T11:24:27.850" v="174"/>
          <ac:spMkLst>
            <pc:docMk/>
            <pc:sldMk cId="2448084781" sldId="2147138094"/>
            <ac:spMk id="4" creationId="{946CA6F4-9448-6AD4-6D2E-3FBD4BF7C6FB}"/>
          </ac:spMkLst>
        </pc:spChg>
        <pc:spChg chg="add mod ord">
          <ac:chgData name="Oehrli, Stefan" userId="3f36891e-f853-43e7-bcbc-2879a2513833" providerId="ADAL" clId="{09BEBDDE-AF5B-9146-8B18-471724E5E3DD}" dt="2023-11-20T11:24:25.657" v="173" actId="700"/>
          <ac:spMkLst>
            <pc:docMk/>
            <pc:sldMk cId="2448084781" sldId="2147138094"/>
            <ac:spMk id="5" creationId="{9784D766-D1AA-1F79-C449-899A26544C05}"/>
          </ac:spMkLst>
        </pc:spChg>
      </pc:sldChg>
      <pc:sldChg chg="addSp modSp add mod ord modClrScheme chgLayout">
        <pc:chgData name="Oehrli, Stefan" userId="3f36891e-f853-43e7-bcbc-2879a2513833" providerId="ADAL" clId="{09BEBDDE-AF5B-9146-8B18-471724E5E3DD}" dt="2023-11-21T10:33:23.826" v="7098" actId="14100"/>
        <pc:sldMkLst>
          <pc:docMk/>
          <pc:sldMk cId="2229416787" sldId="2147138095"/>
        </pc:sldMkLst>
        <pc:spChg chg="add mod ord">
          <ac:chgData name="Oehrli, Stefan" userId="3f36891e-f853-43e7-bcbc-2879a2513833" providerId="ADAL" clId="{09BEBDDE-AF5B-9146-8B18-471724E5E3DD}" dt="2023-11-21T06:59:02.188" v="3896" actId="14100"/>
          <ac:spMkLst>
            <pc:docMk/>
            <pc:sldMk cId="2229416787" sldId="2147138095"/>
            <ac:spMk id="2" creationId="{FB74AED1-4003-E9C6-8D3B-2D77752399C3}"/>
          </ac:spMkLst>
        </pc:spChg>
        <pc:spChg chg="mod ord">
          <ac:chgData name="Oehrli, Stefan" userId="3f36891e-f853-43e7-bcbc-2879a2513833" providerId="ADAL" clId="{09BEBDDE-AF5B-9146-8B18-471724E5E3DD}" dt="2023-11-21T06:57:50.695" v="3890" actId="700"/>
          <ac:spMkLst>
            <pc:docMk/>
            <pc:sldMk cId="2229416787" sldId="2147138095"/>
            <ac:spMk id="3" creationId="{CEAFCAE0-F842-34F2-EB92-1D60C03884E7}"/>
          </ac:spMkLst>
        </pc:spChg>
        <pc:spChg chg="mod ord">
          <ac:chgData name="Oehrli, Stefan" userId="3f36891e-f853-43e7-bcbc-2879a2513833" providerId="ADAL" clId="{09BEBDDE-AF5B-9146-8B18-471724E5E3DD}" dt="2023-11-21T10:33:23.826" v="7098" actId="14100"/>
          <ac:spMkLst>
            <pc:docMk/>
            <pc:sldMk cId="2229416787" sldId="2147138095"/>
            <ac:spMk id="4" creationId="{946CA6F4-9448-6AD4-6D2E-3FBD4BF7C6FB}"/>
          </ac:spMkLst>
        </pc:spChg>
        <pc:spChg chg="mod ord">
          <ac:chgData name="Oehrli, Stefan" userId="3f36891e-f853-43e7-bcbc-2879a2513833" providerId="ADAL" clId="{09BEBDDE-AF5B-9146-8B18-471724E5E3DD}" dt="2023-11-21T06:57:50.695" v="3890" actId="700"/>
          <ac:spMkLst>
            <pc:docMk/>
            <pc:sldMk cId="2229416787" sldId="2147138095"/>
            <ac:spMk id="5" creationId="{9784D766-D1AA-1F79-C449-899A26544C05}"/>
          </ac:spMkLst>
        </pc:spChg>
      </pc:sldChg>
      <pc:sldChg chg="addSp modSp add mod ord modClrScheme modAnim chgLayout">
        <pc:chgData name="Oehrli, Stefan" userId="3f36891e-f853-43e7-bcbc-2879a2513833" providerId="ADAL" clId="{09BEBDDE-AF5B-9146-8B18-471724E5E3DD}" dt="2023-11-21T10:18:21.022" v="6869"/>
        <pc:sldMkLst>
          <pc:docMk/>
          <pc:sldMk cId="3058612435" sldId="2147138096"/>
        </pc:sldMkLst>
        <pc:spChg chg="add mod ord">
          <ac:chgData name="Oehrli, Stefan" userId="3f36891e-f853-43e7-bcbc-2879a2513833" providerId="ADAL" clId="{09BEBDDE-AF5B-9146-8B18-471724E5E3DD}" dt="2023-11-21T10:15:20.573" v="6795" actId="20577"/>
          <ac:spMkLst>
            <pc:docMk/>
            <pc:sldMk cId="3058612435" sldId="2147138096"/>
            <ac:spMk id="2" creationId="{08333D85-B01D-BAAB-A450-15576A159BC7}"/>
          </ac:spMkLst>
        </pc:spChg>
        <pc:spChg chg="mod ord">
          <ac:chgData name="Oehrli, Stefan" userId="3f36891e-f853-43e7-bcbc-2879a2513833" providerId="ADAL" clId="{09BEBDDE-AF5B-9146-8B18-471724E5E3DD}" dt="2023-11-21T10:14:46.649" v="6748" actId="700"/>
          <ac:spMkLst>
            <pc:docMk/>
            <pc:sldMk cId="3058612435" sldId="2147138096"/>
            <ac:spMk id="3" creationId="{CEAFCAE0-F842-34F2-EB92-1D60C03884E7}"/>
          </ac:spMkLst>
        </pc:spChg>
        <pc:spChg chg="mod ord">
          <ac:chgData name="Oehrli, Stefan" userId="3f36891e-f853-43e7-bcbc-2879a2513833" providerId="ADAL" clId="{09BEBDDE-AF5B-9146-8B18-471724E5E3DD}" dt="2023-11-21T10:17:59.460" v="6865" actId="14100"/>
          <ac:spMkLst>
            <pc:docMk/>
            <pc:sldMk cId="3058612435" sldId="2147138096"/>
            <ac:spMk id="4" creationId="{946CA6F4-9448-6AD4-6D2E-3FBD4BF7C6FB}"/>
          </ac:spMkLst>
        </pc:spChg>
        <pc:spChg chg="mod ord">
          <ac:chgData name="Oehrli, Stefan" userId="3f36891e-f853-43e7-bcbc-2879a2513833" providerId="ADAL" clId="{09BEBDDE-AF5B-9146-8B18-471724E5E3DD}" dt="2023-11-21T10:14:46.649" v="6748" actId="700"/>
          <ac:spMkLst>
            <pc:docMk/>
            <pc:sldMk cId="3058612435" sldId="2147138096"/>
            <ac:spMk id="5" creationId="{9784D766-D1AA-1F79-C449-899A26544C05}"/>
          </ac:spMkLst>
        </pc:spChg>
      </pc:sldChg>
      <pc:sldChg chg="addSp delSp modSp add mod ord modClrScheme modAnim chgLayout">
        <pc:chgData name="Oehrli, Stefan" userId="3f36891e-f853-43e7-bcbc-2879a2513833" providerId="ADAL" clId="{09BEBDDE-AF5B-9146-8B18-471724E5E3DD}" dt="2023-11-21T08:33:35.380" v="4718" actId="20577"/>
        <pc:sldMkLst>
          <pc:docMk/>
          <pc:sldMk cId="379875072" sldId="2147138097"/>
        </pc:sldMkLst>
        <pc:spChg chg="add mod ord">
          <ac:chgData name="Oehrli, Stefan" userId="3f36891e-f853-43e7-bcbc-2879a2513833" providerId="ADAL" clId="{09BEBDDE-AF5B-9146-8B18-471724E5E3DD}" dt="2023-11-21T07:52:23.575" v="4506" actId="5793"/>
          <ac:spMkLst>
            <pc:docMk/>
            <pc:sldMk cId="379875072" sldId="2147138097"/>
            <ac:spMk id="2" creationId="{D66543F3-1597-EDB1-C2E4-7B045DFC583D}"/>
          </ac:spMkLst>
        </pc:spChg>
        <pc:spChg chg="mod ord">
          <ac:chgData name="Oehrli, Stefan" userId="3f36891e-f853-43e7-bcbc-2879a2513833" providerId="ADAL" clId="{09BEBDDE-AF5B-9146-8B18-471724E5E3DD}" dt="2023-11-21T07:50:23.179" v="4435" actId="700"/>
          <ac:spMkLst>
            <pc:docMk/>
            <pc:sldMk cId="379875072" sldId="2147138097"/>
            <ac:spMk id="3" creationId="{CEAFCAE0-F842-34F2-EB92-1D60C03884E7}"/>
          </ac:spMkLst>
        </pc:spChg>
        <pc:spChg chg="mod ord">
          <ac:chgData name="Oehrli, Stefan" userId="3f36891e-f853-43e7-bcbc-2879a2513833" providerId="ADAL" clId="{09BEBDDE-AF5B-9146-8B18-471724E5E3DD}" dt="2023-11-21T07:53:01.932" v="4560" actId="14100"/>
          <ac:spMkLst>
            <pc:docMk/>
            <pc:sldMk cId="379875072" sldId="2147138097"/>
            <ac:spMk id="4" creationId="{946CA6F4-9448-6AD4-6D2E-3FBD4BF7C6FB}"/>
          </ac:spMkLst>
        </pc:spChg>
        <pc:spChg chg="del mod ord">
          <ac:chgData name="Oehrli, Stefan" userId="3f36891e-f853-43e7-bcbc-2879a2513833" providerId="ADAL" clId="{09BEBDDE-AF5B-9146-8B18-471724E5E3DD}" dt="2023-11-21T07:50:23.179" v="4435" actId="700"/>
          <ac:spMkLst>
            <pc:docMk/>
            <pc:sldMk cId="379875072" sldId="2147138097"/>
            <ac:spMk id="5" creationId="{9784D766-D1AA-1F79-C449-899A26544C05}"/>
          </ac:spMkLst>
        </pc:spChg>
        <pc:spChg chg="add mod ord">
          <ac:chgData name="Oehrli, Stefan" userId="3f36891e-f853-43e7-bcbc-2879a2513833" providerId="ADAL" clId="{09BEBDDE-AF5B-9146-8B18-471724E5E3DD}" dt="2023-11-21T07:54:24.809" v="4572" actId="113"/>
          <ac:spMkLst>
            <pc:docMk/>
            <pc:sldMk cId="379875072" sldId="2147138097"/>
            <ac:spMk id="6" creationId="{DA7E0BEC-6699-E0C2-0132-2E94D6F271B0}"/>
          </ac:spMkLst>
        </pc:spChg>
        <pc:spChg chg="add mod">
          <ac:chgData name="Oehrli, Stefan" userId="3f36891e-f853-43e7-bcbc-2879a2513833" providerId="ADAL" clId="{09BEBDDE-AF5B-9146-8B18-471724E5E3DD}" dt="2023-11-21T08:33:35.380" v="4718" actId="20577"/>
          <ac:spMkLst>
            <pc:docMk/>
            <pc:sldMk cId="379875072" sldId="2147138097"/>
            <ac:spMk id="7" creationId="{009A78AF-0E02-423D-A0B5-10A84699916F}"/>
          </ac:spMkLst>
        </pc:spChg>
      </pc:sldChg>
      <pc:sldChg chg="addSp modSp add mod ord modAnim modNotesTx">
        <pc:chgData name="Oehrli, Stefan" userId="3f36891e-f853-43e7-bcbc-2879a2513833" providerId="ADAL" clId="{09BEBDDE-AF5B-9146-8B18-471724E5E3DD}" dt="2023-11-21T08:57:27.436" v="5340" actId="14100"/>
        <pc:sldMkLst>
          <pc:docMk/>
          <pc:sldMk cId="3474791128" sldId="2147138098"/>
        </pc:sldMkLst>
        <pc:spChg chg="mod">
          <ac:chgData name="Oehrli, Stefan" userId="3f36891e-f853-43e7-bcbc-2879a2513833" providerId="ADAL" clId="{09BEBDDE-AF5B-9146-8B18-471724E5E3DD}" dt="2023-11-21T08:42:36.582" v="4962" actId="20577"/>
          <ac:spMkLst>
            <pc:docMk/>
            <pc:sldMk cId="3474791128" sldId="2147138098"/>
            <ac:spMk id="3" creationId="{CEAFCAE0-F842-34F2-EB92-1D60C03884E7}"/>
          </ac:spMkLst>
        </pc:spChg>
        <pc:spChg chg="mod">
          <ac:chgData name="Oehrli, Stefan" userId="3f36891e-f853-43e7-bcbc-2879a2513833" providerId="ADAL" clId="{09BEBDDE-AF5B-9146-8B18-471724E5E3DD}" dt="2023-11-21T08:56:31.560" v="5326" actId="5793"/>
          <ac:spMkLst>
            <pc:docMk/>
            <pc:sldMk cId="3474791128" sldId="2147138098"/>
            <ac:spMk id="4" creationId="{946CA6F4-9448-6AD4-6D2E-3FBD4BF7C6FB}"/>
          </ac:spMkLst>
        </pc:spChg>
        <pc:spChg chg="mod">
          <ac:chgData name="Oehrli, Stefan" userId="3f36891e-f853-43e7-bcbc-2879a2513833" providerId="ADAL" clId="{09BEBDDE-AF5B-9146-8B18-471724E5E3DD}" dt="2023-11-21T08:43:59.571" v="4994"/>
          <ac:spMkLst>
            <pc:docMk/>
            <pc:sldMk cId="3474791128" sldId="2147138098"/>
            <ac:spMk id="5" creationId="{9784D766-D1AA-1F79-C449-899A26544C05}"/>
          </ac:spMkLst>
        </pc:spChg>
        <pc:picChg chg="add mod">
          <ac:chgData name="Oehrli, Stefan" userId="3f36891e-f853-43e7-bcbc-2879a2513833" providerId="ADAL" clId="{09BEBDDE-AF5B-9146-8B18-471724E5E3DD}" dt="2023-11-21T08:57:27.436" v="5340" actId="14100"/>
          <ac:picMkLst>
            <pc:docMk/>
            <pc:sldMk cId="3474791128" sldId="2147138098"/>
            <ac:picMk id="2" creationId="{C9255526-B010-A4D9-BA1F-1F6E2E401430}"/>
          </ac:picMkLst>
        </pc:picChg>
      </pc:sldChg>
      <pc:sldChg chg="modSp new del mod">
        <pc:chgData name="Oehrli, Stefan" userId="3f36891e-f853-43e7-bcbc-2879a2513833" providerId="ADAL" clId="{09BEBDDE-AF5B-9146-8B18-471724E5E3DD}" dt="2023-11-21T10:21:13.747" v="6906" actId="2696"/>
        <pc:sldMkLst>
          <pc:docMk/>
          <pc:sldMk cId="3985428786" sldId="2147138099"/>
        </pc:sldMkLst>
        <pc:spChg chg="mod">
          <ac:chgData name="Oehrli, Stefan" userId="3f36891e-f853-43e7-bcbc-2879a2513833" providerId="ADAL" clId="{09BEBDDE-AF5B-9146-8B18-471724E5E3DD}" dt="2023-11-21T10:21:12.405" v="6905" actId="21"/>
          <ac:spMkLst>
            <pc:docMk/>
            <pc:sldMk cId="3985428786" sldId="2147138099"/>
            <ac:spMk id="3" creationId="{BE93259D-2817-6205-1BBB-8832D4F9943A}"/>
          </ac:spMkLst>
        </pc:spChg>
      </pc:sldChg>
      <pc:sldChg chg="addSp delSp modSp new mod modAnim chgLayout">
        <pc:chgData name="Oehrli, Stefan" userId="3f36891e-f853-43e7-bcbc-2879a2513833" providerId="ADAL" clId="{09BEBDDE-AF5B-9146-8B18-471724E5E3DD}" dt="2023-11-20T21:29:34.645" v="267"/>
        <pc:sldMkLst>
          <pc:docMk/>
          <pc:sldMk cId="3843352936" sldId="2147138100"/>
        </pc:sldMkLst>
        <pc:spChg chg="del mod ord">
          <ac:chgData name="Oehrli, Stefan" userId="3f36891e-f853-43e7-bcbc-2879a2513833" providerId="ADAL" clId="{09BEBDDE-AF5B-9146-8B18-471724E5E3DD}" dt="2023-11-20T21:15:12.599" v="192" actId="700"/>
          <ac:spMkLst>
            <pc:docMk/>
            <pc:sldMk cId="3843352936" sldId="2147138100"/>
            <ac:spMk id="2" creationId="{397D16A4-1BF4-0CF3-F636-326291B20C5A}"/>
          </ac:spMkLst>
        </pc:spChg>
        <pc:spChg chg="del mod ord">
          <ac:chgData name="Oehrli, Stefan" userId="3f36891e-f853-43e7-bcbc-2879a2513833" providerId="ADAL" clId="{09BEBDDE-AF5B-9146-8B18-471724E5E3DD}" dt="2023-11-20T21:15:12.599" v="192" actId="700"/>
          <ac:spMkLst>
            <pc:docMk/>
            <pc:sldMk cId="3843352936" sldId="2147138100"/>
            <ac:spMk id="3" creationId="{EF12B41E-E3B3-6E3E-DD35-9F05BEE497F8}"/>
          </ac:spMkLst>
        </pc:spChg>
        <pc:spChg chg="del mod ord">
          <ac:chgData name="Oehrli, Stefan" userId="3f36891e-f853-43e7-bcbc-2879a2513833" providerId="ADAL" clId="{09BEBDDE-AF5B-9146-8B18-471724E5E3DD}" dt="2023-11-20T21:15:12.599" v="192" actId="700"/>
          <ac:spMkLst>
            <pc:docMk/>
            <pc:sldMk cId="3843352936" sldId="2147138100"/>
            <ac:spMk id="4" creationId="{053F0230-0127-6B77-0399-01FBF958BD7E}"/>
          </ac:spMkLst>
        </pc:spChg>
        <pc:spChg chg="mod ord">
          <ac:chgData name="Oehrli, Stefan" userId="3f36891e-f853-43e7-bcbc-2879a2513833" providerId="ADAL" clId="{09BEBDDE-AF5B-9146-8B18-471724E5E3DD}" dt="2023-11-20T21:15:12.599" v="192" actId="700"/>
          <ac:spMkLst>
            <pc:docMk/>
            <pc:sldMk cId="3843352936" sldId="2147138100"/>
            <ac:spMk id="5" creationId="{A9039FAF-E31B-478F-BB0D-D09170DECFD8}"/>
          </ac:spMkLst>
        </pc:spChg>
        <pc:spChg chg="mod ord">
          <ac:chgData name="Oehrli, Stefan" userId="3f36891e-f853-43e7-bcbc-2879a2513833" providerId="ADAL" clId="{09BEBDDE-AF5B-9146-8B18-471724E5E3DD}" dt="2023-11-20T21:15:12.599" v="192" actId="700"/>
          <ac:spMkLst>
            <pc:docMk/>
            <pc:sldMk cId="3843352936" sldId="2147138100"/>
            <ac:spMk id="6" creationId="{E379787E-358B-DA30-D858-5D0E0223AA30}"/>
          </ac:spMkLst>
        </pc:spChg>
        <pc:spChg chg="add mod ord">
          <ac:chgData name="Oehrli, Stefan" userId="3f36891e-f853-43e7-bcbc-2879a2513833" providerId="ADAL" clId="{09BEBDDE-AF5B-9146-8B18-471724E5E3DD}" dt="2023-11-20T21:24:57.916" v="250" actId="20577"/>
          <ac:spMkLst>
            <pc:docMk/>
            <pc:sldMk cId="3843352936" sldId="2147138100"/>
            <ac:spMk id="7" creationId="{CAFE7976-17D6-692E-D734-F2D286653FAC}"/>
          </ac:spMkLst>
        </pc:spChg>
        <pc:spChg chg="add del mod ord">
          <ac:chgData name="Oehrli, Stefan" userId="3f36891e-f853-43e7-bcbc-2879a2513833" providerId="ADAL" clId="{09BEBDDE-AF5B-9146-8B18-471724E5E3DD}" dt="2023-11-20T21:23:41.429" v="193"/>
          <ac:spMkLst>
            <pc:docMk/>
            <pc:sldMk cId="3843352936" sldId="2147138100"/>
            <ac:spMk id="8" creationId="{C0B98C9F-4EA5-B8A9-70CD-7C9CA01E697B}"/>
          </ac:spMkLst>
        </pc:spChg>
        <pc:spChg chg="add mod ord">
          <ac:chgData name="Oehrli, Stefan" userId="3f36891e-f853-43e7-bcbc-2879a2513833" providerId="ADAL" clId="{09BEBDDE-AF5B-9146-8B18-471724E5E3DD}" dt="2023-11-20T21:29:34.645" v="267"/>
          <ac:spMkLst>
            <pc:docMk/>
            <pc:sldMk cId="3843352936" sldId="2147138100"/>
            <ac:spMk id="9" creationId="{6865BB4D-871D-6C55-5CA1-11DC3FDC1291}"/>
          </ac:spMkLst>
        </pc:spChg>
        <pc:picChg chg="add mod">
          <ac:chgData name="Oehrli, Stefan" userId="3f36891e-f853-43e7-bcbc-2879a2513833" providerId="ADAL" clId="{09BEBDDE-AF5B-9146-8B18-471724E5E3DD}" dt="2023-11-20T21:23:47.522" v="194" actId="14100"/>
          <ac:picMkLst>
            <pc:docMk/>
            <pc:sldMk cId="3843352936" sldId="2147138100"/>
            <ac:picMk id="10" creationId="{ED412094-1908-3F9A-F9B9-E2C15AC731C5}"/>
          </ac:picMkLst>
        </pc:picChg>
        <pc:picChg chg="add mod">
          <ac:chgData name="Oehrli, Stefan" userId="3f36891e-f853-43e7-bcbc-2879a2513833" providerId="ADAL" clId="{09BEBDDE-AF5B-9146-8B18-471724E5E3DD}" dt="2023-11-20T21:29:13.393" v="266" actId="1076"/>
          <ac:picMkLst>
            <pc:docMk/>
            <pc:sldMk cId="3843352936" sldId="2147138100"/>
            <ac:picMk id="11" creationId="{D877CA97-1685-A632-3CF6-9641F5B2E675}"/>
          </ac:picMkLst>
        </pc:picChg>
      </pc:sldChg>
      <pc:sldChg chg="addSp delSp modSp new mod modClrScheme modAnim chgLayout">
        <pc:chgData name="Oehrli, Stefan" userId="3f36891e-f853-43e7-bcbc-2879a2513833" providerId="ADAL" clId="{09BEBDDE-AF5B-9146-8B18-471724E5E3DD}" dt="2023-11-20T22:18:14.545" v="558" actId="1076"/>
        <pc:sldMkLst>
          <pc:docMk/>
          <pc:sldMk cId="288964143" sldId="2147138101"/>
        </pc:sldMkLst>
        <pc:spChg chg="del mod ord">
          <ac:chgData name="Oehrli, Stefan" userId="3f36891e-f853-43e7-bcbc-2879a2513833" providerId="ADAL" clId="{09BEBDDE-AF5B-9146-8B18-471724E5E3DD}" dt="2023-11-20T21:36:33.792" v="269" actId="700"/>
          <ac:spMkLst>
            <pc:docMk/>
            <pc:sldMk cId="288964143" sldId="2147138101"/>
            <ac:spMk id="2" creationId="{9DC40D08-D85E-B63B-B435-B69A552BC031}"/>
          </ac:spMkLst>
        </pc:spChg>
        <pc:spChg chg="del mod ord">
          <ac:chgData name="Oehrli, Stefan" userId="3f36891e-f853-43e7-bcbc-2879a2513833" providerId="ADAL" clId="{09BEBDDE-AF5B-9146-8B18-471724E5E3DD}" dt="2023-11-20T21:36:33.792" v="269" actId="700"/>
          <ac:spMkLst>
            <pc:docMk/>
            <pc:sldMk cId="288964143" sldId="2147138101"/>
            <ac:spMk id="3" creationId="{6B7D7EB9-D880-4170-A741-035DEC78D996}"/>
          </ac:spMkLst>
        </pc:spChg>
        <pc:spChg chg="del mod ord">
          <ac:chgData name="Oehrli, Stefan" userId="3f36891e-f853-43e7-bcbc-2879a2513833" providerId="ADAL" clId="{09BEBDDE-AF5B-9146-8B18-471724E5E3DD}" dt="2023-11-20T21:36:33.792" v="269" actId="700"/>
          <ac:spMkLst>
            <pc:docMk/>
            <pc:sldMk cId="288964143" sldId="2147138101"/>
            <ac:spMk id="4" creationId="{891B061F-EA83-5D67-CAB3-ED4CAA5C7E61}"/>
          </ac:spMkLst>
        </pc:spChg>
        <pc:spChg chg="mod ord">
          <ac:chgData name="Oehrli, Stefan" userId="3f36891e-f853-43e7-bcbc-2879a2513833" providerId="ADAL" clId="{09BEBDDE-AF5B-9146-8B18-471724E5E3DD}" dt="2023-11-20T21:36:33.792" v="269" actId="700"/>
          <ac:spMkLst>
            <pc:docMk/>
            <pc:sldMk cId="288964143" sldId="2147138101"/>
            <ac:spMk id="5" creationId="{FBED16AA-2BD8-4FE4-9CF4-A325892E16C4}"/>
          </ac:spMkLst>
        </pc:spChg>
        <pc:spChg chg="mod ord">
          <ac:chgData name="Oehrli, Stefan" userId="3f36891e-f853-43e7-bcbc-2879a2513833" providerId="ADAL" clId="{09BEBDDE-AF5B-9146-8B18-471724E5E3DD}" dt="2023-11-20T21:36:33.792" v="269" actId="700"/>
          <ac:spMkLst>
            <pc:docMk/>
            <pc:sldMk cId="288964143" sldId="2147138101"/>
            <ac:spMk id="6" creationId="{25230E4C-E435-B20C-44B4-3C65D4FF6B0D}"/>
          </ac:spMkLst>
        </pc:spChg>
        <pc:spChg chg="add mod ord">
          <ac:chgData name="Oehrli, Stefan" userId="3f36891e-f853-43e7-bcbc-2879a2513833" providerId="ADAL" clId="{09BEBDDE-AF5B-9146-8B18-471724E5E3DD}" dt="2023-11-20T21:56:21.776" v="324" actId="20577"/>
          <ac:spMkLst>
            <pc:docMk/>
            <pc:sldMk cId="288964143" sldId="2147138101"/>
            <ac:spMk id="7" creationId="{28248BDE-A26B-54FA-B253-9CF5A732A84D}"/>
          </ac:spMkLst>
        </pc:spChg>
        <pc:spChg chg="add mod ord">
          <ac:chgData name="Oehrli, Stefan" userId="3f36891e-f853-43e7-bcbc-2879a2513833" providerId="ADAL" clId="{09BEBDDE-AF5B-9146-8B18-471724E5E3DD}" dt="2023-11-20T22:03:27.120" v="474" actId="1076"/>
          <ac:spMkLst>
            <pc:docMk/>
            <pc:sldMk cId="288964143" sldId="2147138101"/>
            <ac:spMk id="8" creationId="{5EE79F3A-A0A9-701D-5D8B-7F8B130B5732}"/>
          </ac:spMkLst>
        </pc:spChg>
        <pc:spChg chg="add mod ord">
          <ac:chgData name="Oehrli, Stefan" userId="3f36891e-f853-43e7-bcbc-2879a2513833" providerId="ADAL" clId="{09BEBDDE-AF5B-9146-8B18-471724E5E3DD}" dt="2023-11-20T21:52:07.026" v="280" actId="20577"/>
          <ac:spMkLst>
            <pc:docMk/>
            <pc:sldMk cId="288964143" sldId="2147138101"/>
            <ac:spMk id="9" creationId="{8E05A5F2-330F-6A6B-804D-BBD24C560B2E}"/>
          </ac:spMkLst>
        </pc:spChg>
        <pc:spChg chg="add del mod ord">
          <ac:chgData name="Oehrli, Stefan" userId="3f36891e-f853-43e7-bcbc-2879a2513833" providerId="ADAL" clId="{09BEBDDE-AF5B-9146-8B18-471724E5E3DD}" dt="2023-11-20T21:36:50.480" v="272"/>
          <ac:spMkLst>
            <pc:docMk/>
            <pc:sldMk cId="288964143" sldId="2147138101"/>
            <ac:spMk id="10" creationId="{17AAD477-8E4D-36F4-5779-95BB52FD66AA}"/>
          </ac:spMkLst>
        </pc:spChg>
        <pc:picChg chg="add mod">
          <ac:chgData name="Oehrli, Stefan" userId="3f36891e-f853-43e7-bcbc-2879a2513833" providerId="ADAL" clId="{09BEBDDE-AF5B-9146-8B18-471724E5E3DD}" dt="2023-11-20T22:18:14.545" v="558" actId="1076"/>
          <ac:picMkLst>
            <pc:docMk/>
            <pc:sldMk cId="288964143" sldId="2147138101"/>
            <ac:picMk id="1026" creationId="{09E4F1EC-4904-591E-3466-0DD9F42C0E18}"/>
          </ac:picMkLst>
        </pc:picChg>
      </pc:sldChg>
      <pc:sldChg chg="addSp delSp modSp new mod ord modClrScheme chgLayout">
        <pc:chgData name="Oehrli, Stefan" userId="3f36891e-f853-43e7-bcbc-2879a2513833" providerId="ADAL" clId="{09BEBDDE-AF5B-9146-8B18-471724E5E3DD}" dt="2023-11-21T08:41:22.009" v="4920" actId="790"/>
        <pc:sldMkLst>
          <pc:docMk/>
          <pc:sldMk cId="3530393607" sldId="2147138102"/>
        </pc:sldMkLst>
        <pc:spChg chg="del mod ord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" creationId="{B725A59C-5EE5-EED2-C30F-C86F8DB4DEFA}"/>
          </ac:spMkLst>
        </pc:spChg>
        <pc:spChg chg="del mod ord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" creationId="{221C840E-3ED2-EE86-DB00-CF6B1A3D9F55}"/>
          </ac:spMkLst>
        </pc:spChg>
        <pc:spChg chg="del mod ord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4" creationId="{81D0726C-02D5-49D0-F1A1-A397D0CE4451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5" creationId="{65D4C040-3AA8-2192-5BF9-00F7E61B9609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6" creationId="{3F464746-DC42-175B-A796-BB8D9AA17F98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7" creationId="{2D5893CE-CD9F-8C63-94C7-C8D0318C52D2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8" creationId="{6DE532B2-A280-2A0A-B792-62FAD594DC0D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9" creationId="{C090F2D2-2A69-D450-D37E-96483989A66F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0" creationId="{81A66C25-67D2-6CEE-C540-A29D79E0BE18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1" creationId="{702A5669-03B6-0CA8-D041-5C59DB41C154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2" creationId="{84CACA44-7A82-F25D-2544-144007395B95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3" creationId="{FCD7DCFA-7D39-A8CE-A46E-14E2D4B699FC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4" creationId="{A4D96B0A-0BBA-9C42-4D49-9586FC5A5D74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5" creationId="{0E2B5E38-E1CA-C183-C6CE-C8F49FEA004C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6" creationId="{E90447D0-CF44-189E-2E83-9ED26381EF2F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7" creationId="{58D8813E-8E72-D79C-3ADB-E27A9FC463FA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8" creationId="{04947D4F-D9F8-2533-7210-C1834D37D2D8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19" creationId="{F5A74507-E9CC-6154-653C-31DB44D6DDA2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0" creationId="{F433989C-1CDA-B854-EC03-8568CCCF80C5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1" creationId="{D217B024-8D71-1D08-8F4D-55E7EB4AE788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2" creationId="{A27DB1EB-94BC-8E2F-8F80-E53AE59006A6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3" creationId="{7C2F61FA-9C8B-A482-C67F-481598C45CDF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4" creationId="{04885FDB-9107-1F76-BE7E-B385C42C981F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5" creationId="{0E32CAC0-2206-25E5-767F-E42FFC904402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6" creationId="{AF535127-0360-755E-DDA4-9438C81AF1C5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7" creationId="{219AC70D-D840-128F-EFED-6DDE0A82F3F0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8" creationId="{061100A9-903F-10B6-9922-8B21FF613CAA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29" creationId="{95065D16-CCD5-D1BF-2F08-6F2C14C046D7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0" creationId="{2B22EABC-C222-B6A8-92A6-9794D27E8251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1" creationId="{CA23ADD6-869E-71EF-70A1-FDCD5824445D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2" creationId="{A9FCC6BF-3954-A81D-A4E2-2B2B0653CF2B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3" creationId="{1ECA9F6B-D54C-0FFC-C4B3-14171FDD470A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4" creationId="{49437AE3-1F54-81D7-58F4-F92F56BBD261}"/>
          </ac:spMkLst>
        </pc:spChg>
        <pc:spChg chg="del">
          <ac:chgData name="Oehrli, Stefan" userId="3f36891e-f853-43e7-bcbc-2879a2513833" providerId="ADAL" clId="{09BEBDDE-AF5B-9146-8B18-471724E5E3DD}" dt="2023-11-20T22:01:45.566" v="379" actId="700"/>
          <ac:spMkLst>
            <pc:docMk/>
            <pc:sldMk cId="3530393607" sldId="2147138102"/>
            <ac:spMk id="35" creationId="{97B8ED26-8E19-A40E-408D-74F3B9B229E1}"/>
          </ac:spMkLst>
        </pc:spChg>
        <pc:spChg chg="mod ord">
          <ac:chgData name="Oehrli, Stefan" userId="3f36891e-f853-43e7-bcbc-2879a2513833" providerId="ADAL" clId="{09BEBDDE-AF5B-9146-8B18-471724E5E3DD}" dt="2023-11-21T08:34:35.164" v="4743" actId="700"/>
          <ac:spMkLst>
            <pc:docMk/>
            <pc:sldMk cId="3530393607" sldId="2147138102"/>
            <ac:spMk id="36" creationId="{B356ACC4-B1A4-2B3D-AE38-8C211E141379}"/>
          </ac:spMkLst>
        </pc:spChg>
        <pc:spChg chg="mod ord">
          <ac:chgData name="Oehrli, Stefan" userId="3f36891e-f853-43e7-bcbc-2879a2513833" providerId="ADAL" clId="{09BEBDDE-AF5B-9146-8B18-471724E5E3DD}" dt="2023-11-21T08:34:35.164" v="4743" actId="700"/>
          <ac:spMkLst>
            <pc:docMk/>
            <pc:sldMk cId="3530393607" sldId="2147138102"/>
            <ac:spMk id="37" creationId="{CF9ECD87-6D39-64D5-ABAF-1407F6605633}"/>
          </ac:spMkLst>
        </pc:spChg>
        <pc:spChg chg="add mod ord">
          <ac:chgData name="Oehrli, Stefan" userId="3f36891e-f853-43e7-bcbc-2879a2513833" providerId="ADAL" clId="{09BEBDDE-AF5B-9146-8B18-471724E5E3DD}" dt="2023-11-21T08:34:35.164" v="4743" actId="700"/>
          <ac:spMkLst>
            <pc:docMk/>
            <pc:sldMk cId="3530393607" sldId="2147138102"/>
            <ac:spMk id="38" creationId="{1C7172E5-703F-CEF5-2B4D-DE80091CCEF2}"/>
          </ac:spMkLst>
        </pc:spChg>
        <pc:spChg chg="add mod ord">
          <ac:chgData name="Oehrli, Stefan" userId="3f36891e-f853-43e7-bcbc-2879a2513833" providerId="ADAL" clId="{09BEBDDE-AF5B-9146-8B18-471724E5E3DD}" dt="2023-11-21T08:37:25.656" v="4809" actId="14100"/>
          <ac:spMkLst>
            <pc:docMk/>
            <pc:sldMk cId="3530393607" sldId="2147138102"/>
            <ac:spMk id="39" creationId="{04CDB3C4-2895-1BFF-7736-2228CAF73C42}"/>
          </ac:spMkLst>
        </pc:spChg>
        <pc:spChg chg="add mod ord">
          <ac:chgData name="Oehrli, Stefan" userId="3f36891e-f853-43e7-bcbc-2879a2513833" providerId="ADAL" clId="{09BEBDDE-AF5B-9146-8B18-471724E5E3DD}" dt="2023-11-21T08:34:35.164" v="4743" actId="700"/>
          <ac:spMkLst>
            <pc:docMk/>
            <pc:sldMk cId="3530393607" sldId="2147138102"/>
            <ac:spMk id="40" creationId="{AB692460-2053-132D-1E2B-D2FCE06BA224}"/>
          </ac:spMkLst>
        </pc:spChg>
        <pc:spChg chg="add mod ord">
          <ac:chgData name="Oehrli, Stefan" userId="3f36891e-f853-43e7-bcbc-2879a2513833" providerId="ADAL" clId="{09BEBDDE-AF5B-9146-8B18-471724E5E3DD}" dt="2023-11-21T08:40:34.771" v="4868" actId="1035"/>
          <ac:spMkLst>
            <pc:docMk/>
            <pc:sldMk cId="3530393607" sldId="2147138102"/>
            <ac:spMk id="41" creationId="{1D43990D-6B4D-889F-9B90-7852483CF0A6}"/>
          </ac:spMkLst>
        </pc:spChg>
        <pc:spChg chg="add mod ord">
          <ac:chgData name="Oehrli, Stefan" userId="3f36891e-f853-43e7-bcbc-2879a2513833" providerId="ADAL" clId="{09BEBDDE-AF5B-9146-8B18-471724E5E3DD}" dt="2023-11-21T08:40:31.173" v="4862" actId="14100"/>
          <ac:spMkLst>
            <pc:docMk/>
            <pc:sldMk cId="3530393607" sldId="2147138102"/>
            <ac:spMk id="42" creationId="{45A0FC11-71C4-D284-6D87-D048A40EC049}"/>
          </ac:spMkLst>
        </pc:spChg>
        <pc:spChg chg="add mod ord">
          <ac:chgData name="Oehrli, Stefan" userId="3f36891e-f853-43e7-bcbc-2879a2513833" providerId="ADAL" clId="{09BEBDDE-AF5B-9146-8B18-471724E5E3DD}" dt="2023-11-21T08:40:39.817" v="4870" actId="1076"/>
          <ac:spMkLst>
            <pc:docMk/>
            <pc:sldMk cId="3530393607" sldId="2147138102"/>
            <ac:spMk id="43" creationId="{19BF6C6C-D67B-F0A3-2DF9-18B9A00590AB}"/>
          </ac:spMkLst>
        </pc:spChg>
        <pc:spChg chg="add mod">
          <ac:chgData name="Oehrli, Stefan" userId="3f36891e-f853-43e7-bcbc-2879a2513833" providerId="ADAL" clId="{09BEBDDE-AF5B-9146-8B18-471724E5E3DD}" dt="2023-11-21T08:41:22.009" v="4920" actId="790"/>
          <ac:spMkLst>
            <pc:docMk/>
            <pc:sldMk cId="3530393607" sldId="2147138102"/>
            <ac:spMk id="44" creationId="{DB9DCE41-AC99-767A-F95B-444A1DD64DB7}"/>
          </ac:spMkLst>
        </pc:spChg>
      </pc:sldChg>
      <pc:sldChg chg="addSp delSp modSp new del mod ord modClrScheme chgLayout modNotesTx">
        <pc:chgData name="Oehrli, Stefan" userId="3f36891e-f853-43e7-bcbc-2879a2513833" providerId="ADAL" clId="{09BEBDDE-AF5B-9146-8B18-471724E5E3DD}" dt="2023-11-21T04:02:10.581" v="1704" actId="2696"/>
        <pc:sldMkLst>
          <pc:docMk/>
          <pc:sldMk cId="1694193373" sldId="2147138103"/>
        </pc:sldMkLst>
        <pc:spChg chg="del mod ord">
          <ac:chgData name="Oehrli, Stefan" userId="3f36891e-f853-43e7-bcbc-2879a2513833" providerId="ADAL" clId="{09BEBDDE-AF5B-9146-8B18-471724E5E3DD}" dt="2023-11-20T22:57:39.445" v="561" actId="700"/>
          <ac:spMkLst>
            <pc:docMk/>
            <pc:sldMk cId="1694193373" sldId="2147138103"/>
            <ac:spMk id="2" creationId="{14A6295E-93A9-420C-462E-F1EA02FC93FD}"/>
          </ac:spMkLst>
        </pc:spChg>
        <pc:spChg chg="del mod ord">
          <ac:chgData name="Oehrli, Stefan" userId="3f36891e-f853-43e7-bcbc-2879a2513833" providerId="ADAL" clId="{09BEBDDE-AF5B-9146-8B18-471724E5E3DD}" dt="2023-11-20T22:57:39.445" v="561" actId="700"/>
          <ac:spMkLst>
            <pc:docMk/>
            <pc:sldMk cId="1694193373" sldId="2147138103"/>
            <ac:spMk id="3" creationId="{33291B38-1FBA-0370-6ECA-53704BF339D7}"/>
          </ac:spMkLst>
        </pc:spChg>
        <pc:spChg chg="del mod ord">
          <ac:chgData name="Oehrli, Stefan" userId="3f36891e-f853-43e7-bcbc-2879a2513833" providerId="ADAL" clId="{09BEBDDE-AF5B-9146-8B18-471724E5E3DD}" dt="2023-11-20T22:57:39.445" v="561" actId="700"/>
          <ac:spMkLst>
            <pc:docMk/>
            <pc:sldMk cId="1694193373" sldId="2147138103"/>
            <ac:spMk id="4" creationId="{BD156B50-A534-0885-2EA8-5ECFE02C5B95}"/>
          </ac:spMkLst>
        </pc:spChg>
        <pc:spChg chg="mod ord">
          <ac:chgData name="Oehrli, Stefan" userId="3f36891e-f853-43e7-bcbc-2879a2513833" providerId="ADAL" clId="{09BEBDDE-AF5B-9146-8B18-471724E5E3DD}" dt="2023-11-20T22:57:39.445" v="561" actId="700"/>
          <ac:spMkLst>
            <pc:docMk/>
            <pc:sldMk cId="1694193373" sldId="2147138103"/>
            <ac:spMk id="5" creationId="{1B0184CC-8A21-794A-68F5-5AB27FE2553B}"/>
          </ac:spMkLst>
        </pc:spChg>
        <pc:spChg chg="mod ord">
          <ac:chgData name="Oehrli, Stefan" userId="3f36891e-f853-43e7-bcbc-2879a2513833" providerId="ADAL" clId="{09BEBDDE-AF5B-9146-8B18-471724E5E3DD}" dt="2023-11-20T22:57:39.445" v="561" actId="700"/>
          <ac:spMkLst>
            <pc:docMk/>
            <pc:sldMk cId="1694193373" sldId="2147138103"/>
            <ac:spMk id="6" creationId="{266D2535-0BAA-2EB9-016E-490ED699618C}"/>
          </ac:spMkLst>
        </pc:spChg>
        <pc:spChg chg="add mod ord">
          <ac:chgData name="Oehrli, Stefan" userId="3f36891e-f853-43e7-bcbc-2879a2513833" providerId="ADAL" clId="{09BEBDDE-AF5B-9146-8B18-471724E5E3DD}" dt="2023-11-20T22:57:52.840" v="583" actId="20577"/>
          <ac:spMkLst>
            <pc:docMk/>
            <pc:sldMk cId="1694193373" sldId="2147138103"/>
            <ac:spMk id="7" creationId="{0014EE75-CA28-29B2-5BC6-0C276CE8F832}"/>
          </ac:spMkLst>
        </pc:spChg>
        <pc:spChg chg="add mod ord">
          <ac:chgData name="Oehrli, Stefan" userId="3f36891e-f853-43e7-bcbc-2879a2513833" providerId="ADAL" clId="{09BEBDDE-AF5B-9146-8B18-471724E5E3DD}" dt="2023-11-20T23:03:51.797" v="607" actId="20577"/>
          <ac:spMkLst>
            <pc:docMk/>
            <pc:sldMk cId="1694193373" sldId="2147138103"/>
            <ac:spMk id="8" creationId="{09AB6E8E-F6AC-C7D9-21F9-78AE22A992C8}"/>
          </ac:spMkLst>
        </pc:spChg>
        <pc:spChg chg="add mod ord">
          <ac:chgData name="Oehrli, Stefan" userId="3f36891e-f853-43e7-bcbc-2879a2513833" providerId="ADAL" clId="{09BEBDDE-AF5B-9146-8B18-471724E5E3DD}" dt="2023-11-20T22:57:39.445" v="561" actId="700"/>
          <ac:spMkLst>
            <pc:docMk/>
            <pc:sldMk cId="1694193373" sldId="2147138103"/>
            <ac:spMk id="9" creationId="{19E66B63-774F-8366-F7F6-654F9C15E5BE}"/>
          </ac:spMkLst>
        </pc:spChg>
        <pc:spChg chg="add del mod ord">
          <ac:chgData name="Oehrli, Stefan" userId="3f36891e-f853-43e7-bcbc-2879a2513833" providerId="ADAL" clId="{09BEBDDE-AF5B-9146-8B18-471724E5E3DD}" dt="2023-11-20T22:57:41.141" v="562"/>
          <ac:spMkLst>
            <pc:docMk/>
            <pc:sldMk cId="1694193373" sldId="2147138103"/>
            <ac:spMk id="10" creationId="{7D1C921F-3229-DB7E-3F62-58118ACB9D8C}"/>
          </ac:spMkLst>
        </pc:spChg>
        <pc:picChg chg="add mod">
          <ac:chgData name="Oehrli, Stefan" userId="3f36891e-f853-43e7-bcbc-2879a2513833" providerId="ADAL" clId="{09BEBDDE-AF5B-9146-8B18-471724E5E3DD}" dt="2023-11-20T23:03:00.334" v="590" actId="1076"/>
          <ac:picMkLst>
            <pc:docMk/>
            <pc:sldMk cId="1694193373" sldId="2147138103"/>
            <ac:picMk id="11" creationId="{FB11F142-E6D4-5A0D-0FF1-92D143F96044}"/>
          </ac:picMkLst>
        </pc:picChg>
      </pc:sldChg>
      <pc:sldChg chg="addSp delSp modSp new del mod ord modClrScheme chgLayout">
        <pc:chgData name="Oehrli, Stefan" userId="3f36891e-f853-43e7-bcbc-2879a2513833" providerId="ADAL" clId="{09BEBDDE-AF5B-9146-8B18-471724E5E3DD}" dt="2023-11-21T05:00:18.885" v="2046" actId="2696"/>
        <pc:sldMkLst>
          <pc:docMk/>
          <pc:sldMk cId="2332192118" sldId="2147138104"/>
        </pc:sldMkLst>
        <pc:spChg chg="del 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2" creationId="{E2C4DA1A-C8F1-6E69-0E26-CF1A76B7B352}"/>
          </ac:spMkLst>
        </pc:spChg>
        <pc:spChg chg="del 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3" creationId="{CED97462-8069-3FB2-0013-83A37EC13964}"/>
          </ac:spMkLst>
        </pc:spChg>
        <pc:spChg chg="del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4" creationId="{178E30B7-DD8D-0A64-120D-84E36AE18BD5}"/>
          </ac:spMkLst>
        </pc:spChg>
        <pc:spChg chg="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5" creationId="{87C5915C-8769-B231-F6E3-970E4B4ACA6F}"/>
          </ac:spMkLst>
        </pc:spChg>
        <pc:spChg chg="del 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6" creationId="{3DC2748B-434E-3839-08FF-F0F4DA0F8269}"/>
          </ac:spMkLst>
        </pc:spChg>
        <pc:spChg chg="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7" creationId="{8C28121F-69F9-FEB3-AC51-FEC1269D425B}"/>
          </ac:spMkLst>
        </pc:spChg>
        <pc:spChg chg="add 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8" creationId="{1D2E9DBC-D25D-45B8-E496-AE20F829BB4F}"/>
          </ac:spMkLst>
        </pc:spChg>
        <pc:spChg chg="add mod ord">
          <ac:chgData name="Oehrli, Stefan" userId="3f36891e-f853-43e7-bcbc-2879a2513833" providerId="ADAL" clId="{09BEBDDE-AF5B-9146-8B18-471724E5E3DD}" dt="2023-11-20T23:04:50.970" v="616" actId="20577"/>
          <ac:spMkLst>
            <pc:docMk/>
            <pc:sldMk cId="2332192118" sldId="2147138104"/>
            <ac:spMk id="9" creationId="{E9C2071A-9FE1-1658-0688-22C71C68A8A7}"/>
          </ac:spMkLst>
        </pc:spChg>
        <pc:spChg chg="add mod ord">
          <ac:chgData name="Oehrli, Stefan" userId="3f36891e-f853-43e7-bcbc-2879a2513833" providerId="ADAL" clId="{09BEBDDE-AF5B-9146-8B18-471724E5E3DD}" dt="2023-11-20T23:04:29.126" v="610" actId="700"/>
          <ac:spMkLst>
            <pc:docMk/>
            <pc:sldMk cId="2332192118" sldId="2147138104"/>
            <ac:spMk id="10" creationId="{4A98C24A-C4A0-20E0-C065-4F66036824EA}"/>
          </ac:spMkLst>
        </pc:spChg>
      </pc:sldChg>
      <pc:sldChg chg="addSp delSp modSp new mod ord modClrScheme modAnim chgLayout">
        <pc:chgData name="Oehrli, Stefan" userId="3f36891e-f853-43e7-bcbc-2879a2513833" providerId="ADAL" clId="{09BEBDDE-AF5B-9146-8B18-471724E5E3DD}" dt="2023-11-21T04:02:02.020" v="1703" actId="20577"/>
        <pc:sldMkLst>
          <pc:docMk/>
          <pc:sldMk cId="2475241319" sldId="2147138105"/>
        </pc:sldMkLst>
        <pc:spChg chg="del mod ord">
          <ac:chgData name="Oehrli, Stefan" userId="3f36891e-f853-43e7-bcbc-2879a2513833" providerId="ADAL" clId="{09BEBDDE-AF5B-9146-8B18-471724E5E3DD}" dt="2023-11-20T23:05:06.431" v="618" actId="700"/>
          <ac:spMkLst>
            <pc:docMk/>
            <pc:sldMk cId="2475241319" sldId="2147138105"/>
            <ac:spMk id="2" creationId="{529C94DF-02DA-13D9-0B98-405F34C0CE25}"/>
          </ac:spMkLst>
        </pc:spChg>
        <pc:spChg chg="del mod ord">
          <ac:chgData name="Oehrli, Stefan" userId="3f36891e-f853-43e7-bcbc-2879a2513833" providerId="ADAL" clId="{09BEBDDE-AF5B-9146-8B18-471724E5E3DD}" dt="2023-11-20T23:05:06.431" v="618" actId="700"/>
          <ac:spMkLst>
            <pc:docMk/>
            <pc:sldMk cId="2475241319" sldId="2147138105"/>
            <ac:spMk id="3" creationId="{90B78CAD-9F4C-E595-3544-6FD8C4F12BFD}"/>
          </ac:spMkLst>
        </pc:spChg>
        <pc:spChg chg="del">
          <ac:chgData name="Oehrli, Stefan" userId="3f36891e-f853-43e7-bcbc-2879a2513833" providerId="ADAL" clId="{09BEBDDE-AF5B-9146-8B18-471724E5E3DD}" dt="2023-11-20T23:05:06.431" v="618" actId="700"/>
          <ac:spMkLst>
            <pc:docMk/>
            <pc:sldMk cId="2475241319" sldId="2147138105"/>
            <ac:spMk id="4" creationId="{FC8BDFF6-E6BB-E4A8-1C88-9BD95C63D47A}"/>
          </ac:spMkLst>
        </pc:spChg>
        <pc:spChg chg="mod ord">
          <ac:chgData name="Oehrli, Stefan" userId="3f36891e-f853-43e7-bcbc-2879a2513833" providerId="ADAL" clId="{09BEBDDE-AF5B-9146-8B18-471724E5E3DD}" dt="2023-11-20T23:05:06.431" v="618" actId="700"/>
          <ac:spMkLst>
            <pc:docMk/>
            <pc:sldMk cId="2475241319" sldId="2147138105"/>
            <ac:spMk id="5" creationId="{3D7F45EE-BA73-A422-CE1F-D4DC06209B58}"/>
          </ac:spMkLst>
        </pc:spChg>
        <pc:spChg chg="del mod ord">
          <ac:chgData name="Oehrli, Stefan" userId="3f36891e-f853-43e7-bcbc-2879a2513833" providerId="ADAL" clId="{09BEBDDE-AF5B-9146-8B18-471724E5E3DD}" dt="2023-11-20T23:05:06.431" v="618" actId="700"/>
          <ac:spMkLst>
            <pc:docMk/>
            <pc:sldMk cId="2475241319" sldId="2147138105"/>
            <ac:spMk id="6" creationId="{E29644A5-DAD3-BC69-DCD3-F0CB5E712C75}"/>
          </ac:spMkLst>
        </pc:spChg>
        <pc:spChg chg="mod ord">
          <ac:chgData name="Oehrli, Stefan" userId="3f36891e-f853-43e7-bcbc-2879a2513833" providerId="ADAL" clId="{09BEBDDE-AF5B-9146-8B18-471724E5E3DD}" dt="2023-11-20T23:05:06.431" v="618" actId="700"/>
          <ac:spMkLst>
            <pc:docMk/>
            <pc:sldMk cId="2475241319" sldId="2147138105"/>
            <ac:spMk id="7" creationId="{89044E24-A45A-7A0B-F3B8-C24968E77FD6}"/>
          </ac:spMkLst>
        </pc:spChg>
        <pc:spChg chg="add mod ord">
          <ac:chgData name="Oehrli, Stefan" userId="3f36891e-f853-43e7-bcbc-2879a2513833" providerId="ADAL" clId="{09BEBDDE-AF5B-9146-8B18-471724E5E3DD}" dt="2023-11-21T03:17:22.502" v="1263"/>
          <ac:spMkLst>
            <pc:docMk/>
            <pc:sldMk cId="2475241319" sldId="2147138105"/>
            <ac:spMk id="8" creationId="{11095482-1C48-477A-8085-00A480960AB0}"/>
          </ac:spMkLst>
        </pc:spChg>
        <pc:spChg chg="add mod ord">
          <ac:chgData name="Oehrli, Stefan" userId="3f36891e-f853-43e7-bcbc-2879a2513833" providerId="ADAL" clId="{09BEBDDE-AF5B-9146-8B18-471724E5E3DD}" dt="2023-11-21T04:02:02.020" v="1703" actId="20577"/>
          <ac:spMkLst>
            <pc:docMk/>
            <pc:sldMk cId="2475241319" sldId="2147138105"/>
            <ac:spMk id="9" creationId="{C7347C64-0348-3831-8B5A-25F65080DF73}"/>
          </ac:spMkLst>
        </pc:spChg>
        <pc:spChg chg="add mod ord">
          <ac:chgData name="Oehrli, Stefan" userId="3f36891e-f853-43e7-bcbc-2879a2513833" providerId="ADAL" clId="{09BEBDDE-AF5B-9146-8B18-471724E5E3DD}" dt="2023-11-21T03:17:16.304" v="1262" actId="20577"/>
          <ac:spMkLst>
            <pc:docMk/>
            <pc:sldMk cId="2475241319" sldId="2147138105"/>
            <ac:spMk id="10" creationId="{A1F0767F-EF95-3D78-8C45-26ADDE420EBC}"/>
          </ac:spMkLst>
        </pc:spChg>
        <pc:picChg chg="add mod">
          <ac:chgData name="Oehrli, Stefan" userId="3f36891e-f853-43e7-bcbc-2879a2513833" providerId="ADAL" clId="{09BEBDDE-AF5B-9146-8B18-471724E5E3DD}" dt="2023-11-21T04:00:01.021" v="1666" actId="1076"/>
          <ac:picMkLst>
            <pc:docMk/>
            <pc:sldMk cId="2475241319" sldId="2147138105"/>
            <ac:picMk id="11" creationId="{9D7918C6-DADD-7B4B-F03A-3B51E790D399}"/>
          </ac:picMkLst>
        </pc:picChg>
      </pc:sldChg>
      <pc:sldChg chg="modSp new del mod">
        <pc:chgData name="Oehrli, Stefan" userId="3f36891e-f853-43e7-bcbc-2879a2513833" providerId="ADAL" clId="{09BEBDDE-AF5B-9146-8B18-471724E5E3DD}" dt="2023-11-21T05:56:17.990" v="3305" actId="2696"/>
        <pc:sldMkLst>
          <pc:docMk/>
          <pc:sldMk cId="24819970" sldId="2147138106"/>
        </pc:sldMkLst>
        <pc:spChg chg="mod">
          <ac:chgData name="Oehrli, Stefan" userId="3f36891e-f853-43e7-bcbc-2879a2513833" providerId="ADAL" clId="{09BEBDDE-AF5B-9146-8B18-471724E5E3DD}" dt="2023-11-20T23:05:30.504" v="679" actId="20577"/>
          <ac:spMkLst>
            <pc:docMk/>
            <pc:sldMk cId="24819970" sldId="2147138106"/>
            <ac:spMk id="3" creationId="{5C3AA801-0B07-2FC3-FC44-DD1F4AE2AB46}"/>
          </ac:spMkLst>
        </pc:spChg>
      </pc:sldChg>
      <pc:sldChg chg="modSp new del mod ord">
        <pc:chgData name="Oehrli, Stefan" userId="3f36891e-f853-43e7-bcbc-2879a2513833" providerId="ADAL" clId="{09BEBDDE-AF5B-9146-8B18-471724E5E3DD}" dt="2023-11-21T05:56:19.644" v="3306" actId="2696"/>
        <pc:sldMkLst>
          <pc:docMk/>
          <pc:sldMk cId="583801763" sldId="2147138107"/>
        </pc:sldMkLst>
        <pc:spChg chg="mod">
          <ac:chgData name="Oehrli, Stefan" userId="3f36891e-f853-43e7-bcbc-2879a2513833" providerId="ADAL" clId="{09BEBDDE-AF5B-9146-8B18-471724E5E3DD}" dt="2023-11-20T23:05:44.602" v="686" actId="5793"/>
          <ac:spMkLst>
            <pc:docMk/>
            <pc:sldMk cId="583801763" sldId="2147138107"/>
            <ac:spMk id="3" creationId="{08C98366-039C-80F5-1C8B-19BBBE71266C}"/>
          </ac:spMkLst>
        </pc:spChg>
      </pc:sldChg>
      <pc:sldChg chg="modSp new del mod ord">
        <pc:chgData name="Oehrli, Stefan" userId="3f36891e-f853-43e7-bcbc-2879a2513833" providerId="ADAL" clId="{09BEBDDE-AF5B-9146-8B18-471724E5E3DD}" dt="2023-11-21T05:00:23.418" v="2048" actId="2696"/>
        <pc:sldMkLst>
          <pc:docMk/>
          <pc:sldMk cId="3996096580" sldId="2147138108"/>
        </pc:sldMkLst>
        <pc:spChg chg="mod">
          <ac:chgData name="Oehrli, Stefan" userId="3f36891e-f853-43e7-bcbc-2879a2513833" providerId="ADAL" clId="{09BEBDDE-AF5B-9146-8B18-471724E5E3DD}" dt="2023-11-20T23:05:49.174" v="693" actId="20577"/>
          <ac:spMkLst>
            <pc:docMk/>
            <pc:sldMk cId="3996096580" sldId="2147138108"/>
            <ac:spMk id="3" creationId="{937DE279-BF53-3D3C-B2C1-21BF619A6300}"/>
          </ac:spMkLst>
        </pc:spChg>
      </pc:sldChg>
      <pc:sldChg chg="modSp new mod ord modAnim">
        <pc:chgData name="Oehrli, Stefan" userId="3f36891e-f853-43e7-bcbc-2879a2513833" providerId="ADAL" clId="{09BEBDDE-AF5B-9146-8B18-471724E5E3DD}" dt="2023-11-21T10:33:09.670" v="7097"/>
        <pc:sldMkLst>
          <pc:docMk/>
          <pc:sldMk cId="3368936083" sldId="2147138109"/>
        </pc:sldMkLst>
        <pc:spChg chg="mod">
          <ac:chgData name="Oehrli, Stefan" userId="3f36891e-f853-43e7-bcbc-2879a2513833" providerId="ADAL" clId="{09BEBDDE-AF5B-9146-8B18-471724E5E3DD}" dt="2023-11-21T05:15:54.169" v="2207" actId="20577"/>
          <ac:spMkLst>
            <pc:docMk/>
            <pc:sldMk cId="3368936083" sldId="2147138109"/>
            <ac:spMk id="2" creationId="{16497407-374A-8C5A-3077-5D39A5116E11}"/>
          </ac:spMkLst>
        </pc:spChg>
        <pc:spChg chg="mod">
          <ac:chgData name="Oehrli, Stefan" userId="3f36891e-f853-43e7-bcbc-2879a2513833" providerId="ADAL" clId="{09BEBDDE-AF5B-9146-8B18-471724E5E3DD}" dt="2023-11-21T05:26:22.190" v="2572" actId="2711"/>
          <ac:spMkLst>
            <pc:docMk/>
            <pc:sldMk cId="3368936083" sldId="2147138109"/>
            <ac:spMk id="3" creationId="{9C018C55-05F7-440F-D0D1-4C23FD52D6AF}"/>
          </ac:spMkLst>
        </pc:spChg>
        <pc:spChg chg="mod">
          <ac:chgData name="Oehrli, Stefan" userId="3f36891e-f853-43e7-bcbc-2879a2513833" providerId="ADAL" clId="{09BEBDDE-AF5B-9146-8B18-471724E5E3DD}" dt="2023-11-21T05:15:18.372" v="2204"/>
          <ac:spMkLst>
            <pc:docMk/>
            <pc:sldMk cId="3368936083" sldId="2147138109"/>
            <ac:spMk id="4" creationId="{B7F48254-FE32-1B35-62F2-B09B1DDB3F50}"/>
          </ac:spMkLst>
        </pc:spChg>
      </pc:sldChg>
      <pc:sldChg chg="addSp delSp modSp new mod modClrScheme chgLayout">
        <pc:chgData name="Oehrli, Stefan" userId="3f36891e-f853-43e7-bcbc-2879a2513833" providerId="ADAL" clId="{09BEBDDE-AF5B-9146-8B18-471724E5E3DD}" dt="2023-11-20T23:16:36.729" v="1058" actId="1076"/>
        <pc:sldMkLst>
          <pc:docMk/>
          <pc:sldMk cId="4159375980" sldId="2147138110"/>
        </pc:sldMkLst>
        <pc:spChg chg="del mod ord">
          <ac:chgData name="Oehrli, Stefan" userId="3f36891e-f853-43e7-bcbc-2879a2513833" providerId="ADAL" clId="{09BEBDDE-AF5B-9146-8B18-471724E5E3DD}" dt="2023-11-20T23:09:43.039" v="762" actId="700"/>
          <ac:spMkLst>
            <pc:docMk/>
            <pc:sldMk cId="4159375980" sldId="2147138110"/>
            <ac:spMk id="2" creationId="{A3608CF7-84A5-A60A-2A0A-E8AB11EA3060}"/>
          </ac:spMkLst>
        </pc:spChg>
        <pc:spChg chg="del mod ord">
          <ac:chgData name="Oehrli, Stefan" userId="3f36891e-f853-43e7-bcbc-2879a2513833" providerId="ADAL" clId="{09BEBDDE-AF5B-9146-8B18-471724E5E3DD}" dt="2023-11-20T23:09:43.039" v="762" actId="700"/>
          <ac:spMkLst>
            <pc:docMk/>
            <pc:sldMk cId="4159375980" sldId="2147138110"/>
            <ac:spMk id="3" creationId="{1ACAFBD2-53B3-E9E0-8B47-4DD9FC10B0A2}"/>
          </ac:spMkLst>
        </pc:spChg>
        <pc:spChg chg="del mod ord">
          <ac:chgData name="Oehrli, Stefan" userId="3f36891e-f853-43e7-bcbc-2879a2513833" providerId="ADAL" clId="{09BEBDDE-AF5B-9146-8B18-471724E5E3DD}" dt="2023-11-20T23:09:43.039" v="762" actId="700"/>
          <ac:spMkLst>
            <pc:docMk/>
            <pc:sldMk cId="4159375980" sldId="2147138110"/>
            <ac:spMk id="4" creationId="{21B32A94-FBB2-E56B-27B5-851FA2E7B2C7}"/>
          </ac:spMkLst>
        </pc:spChg>
        <pc:spChg chg="mod ord">
          <ac:chgData name="Oehrli, Stefan" userId="3f36891e-f853-43e7-bcbc-2879a2513833" providerId="ADAL" clId="{09BEBDDE-AF5B-9146-8B18-471724E5E3DD}" dt="2023-11-20T23:09:43.039" v="762" actId="700"/>
          <ac:spMkLst>
            <pc:docMk/>
            <pc:sldMk cId="4159375980" sldId="2147138110"/>
            <ac:spMk id="5" creationId="{5DB04688-A81C-633E-5A4C-0BA670A1797C}"/>
          </ac:spMkLst>
        </pc:spChg>
        <pc:spChg chg="mod ord">
          <ac:chgData name="Oehrli, Stefan" userId="3f36891e-f853-43e7-bcbc-2879a2513833" providerId="ADAL" clId="{09BEBDDE-AF5B-9146-8B18-471724E5E3DD}" dt="2023-11-20T23:09:43.039" v="762" actId="700"/>
          <ac:spMkLst>
            <pc:docMk/>
            <pc:sldMk cId="4159375980" sldId="2147138110"/>
            <ac:spMk id="6" creationId="{CA065CD1-DB8A-990B-B6A4-BB7C00380662}"/>
          </ac:spMkLst>
        </pc:spChg>
        <pc:spChg chg="add mod ord">
          <ac:chgData name="Oehrli, Stefan" userId="3f36891e-f853-43e7-bcbc-2879a2513833" providerId="ADAL" clId="{09BEBDDE-AF5B-9146-8B18-471724E5E3DD}" dt="2023-11-20T23:10:08.369" v="815" actId="20577"/>
          <ac:spMkLst>
            <pc:docMk/>
            <pc:sldMk cId="4159375980" sldId="2147138110"/>
            <ac:spMk id="7" creationId="{2EC51D3D-70FE-A392-065C-F745E2992C39}"/>
          </ac:spMkLst>
        </pc:spChg>
        <pc:spChg chg="add mod ord">
          <ac:chgData name="Oehrli, Stefan" userId="3f36891e-f853-43e7-bcbc-2879a2513833" providerId="ADAL" clId="{09BEBDDE-AF5B-9146-8B18-471724E5E3DD}" dt="2023-11-20T23:16:27.345" v="1053" actId="20577"/>
          <ac:spMkLst>
            <pc:docMk/>
            <pc:sldMk cId="4159375980" sldId="2147138110"/>
            <ac:spMk id="8" creationId="{F4778D01-942F-FD1A-E6BC-B581D2B74146}"/>
          </ac:spMkLst>
        </pc:spChg>
        <pc:spChg chg="add mod ord">
          <ac:chgData name="Oehrli, Stefan" userId="3f36891e-f853-43e7-bcbc-2879a2513833" providerId="ADAL" clId="{09BEBDDE-AF5B-9146-8B18-471724E5E3DD}" dt="2023-11-20T23:10:42.114" v="854" actId="20577"/>
          <ac:spMkLst>
            <pc:docMk/>
            <pc:sldMk cId="4159375980" sldId="2147138110"/>
            <ac:spMk id="9" creationId="{2033E105-22FF-3F94-15F0-366E8E86D770}"/>
          </ac:spMkLst>
        </pc:spChg>
        <pc:spChg chg="add del mod ord">
          <ac:chgData name="Oehrli, Stefan" userId="3f36891e-f853-43e7-bcbc-2879a2513833" providerId="ADAL" clId="{09BEBDDE-AF5B-9146-8B18-471724E5E3DD}" dt="2023-11-20T23:09:44.651" v="763"/>
          <ac:spMkLst>
            <pc:docMk/>
            <pc:sldMk cId="4159375980" sldId="2147138110"/>
            <ac:spMk id="10" creationId="{4E9D21CD-2F9F-96ED-9450-7A197A9223F2}"/>
          </ac:spMkLst>
        </pc:spChg>
        <pc:picChg chg="add mod">
          <ac:chgData name="Oehrli, Stefan" userId="3f36891e-f853-43e7-bcbc-2879a2513833" providerId="ADAL" clId="{09BEBDDE-AF5B-9146-8B18-471724E5E3DD}" dt="2023-11-20T23:16:36.729" v="1058" actId="1076"/>
          <ac:picMkLst>
            <pc:docMk/>
            <pc:sldMk cId="4159375980" sldId="2147138110"/>
            <ac:picMk id="11" creationId="{FA279A26-72C4-0026-6F0A-1A0B0E457326}"/>
          </ac:picMkLst>
        </pc:picChg>
      </pc:sldChg>
      <pc:sldChg chg="addSp delSp modSp new mod ord chgLayout">
        <pc:chgData name="Oehrli, Stefan" userId="3f36891e-f853-43e7-bcbc-2879a2513833" providerId="ADAL" clId="{09BEBDDE-AF5B-9146-8B18-471724E5E3DD}" dt="2023-11-20T23:18:27.972" v="1078"/>
        <pc:sldMkLst>
          <pc:docMk/>
          <pc:sldMk cId="2774964817" sldId="2147138111"/>
        </pc:sldMkLst>
        <pc:spChg chg="del mod ord">
          <ac:chgData name="Oehrli, Stefan" userId="3f36891e-f853-43e7-bcbc-2879a2513833" providerId="ADAL" clId="{09BEBDDE-AF5B-9146-8B18-471724E5E3DD}" dt="2023-11-20T23:17:42.325" v="1062" actId="700"/>
          <ac:spMkLst>
            <pc:docMk/>
            <pc:sldMk cId="2774964817" sldId="2147138111"/>
            <ac:spMk id="2" creationId="{8592FB24-12A8-0F4E-CF77-2E2D931B88BA}"/>
          </ac:spMkLst>
        </pc:spChg>
        <pc:spChg chg="del mod ord">
          <ac:chgData name="Oehrli, Stefan" userId="3f36891e-f853-43e7-bcbc-2879a2513833" providerId="ADAL" clId="{09BEBDDE-AF5B-9146-8B18-471724E5E3DD}" dt="2023-11-20T23:17:42.325" v="1062" actId="700"/>
          <ac:spMkLst>
            <pc:docMk/>
            <pc:sldMk cId="2774964817" sldId="2147138111"/>
            <ac:spMk id="3" creationId="{AC28E316-6B11-F641-BFFC-11935C03DFF9}"/>
          </ac:spMkLst>
        </pc:spChg>
        <pc:spChg chg="del">
          <ac:chgData name="Oehrli, Stefan" userId="3f36891e-f853-43e7-bcbc-2879a2513833" providerId="ADAL" clId="{09BEBDDE-AF5B-9146-8B18-471724E5E3DD}" dt="2023-11-20T23:17:42.325" v="1062" actId="700"/>
          <ac:spMkLst>
            <pc:docMk/>
            <pc:sldMk cId="2774964817" sldId="2147138111"/>
            <ac:spMk id="4" creationId="{BA074CCF-9D7B-38C0-BB13-9EB1D91C735E}"/>
          </ac:spMkLst>
        </pc:spChg>
        <pc:spChg chg="mod ord">
          <ac:chgData name="Oehrli, Stefan" userId="3f36891e-f853-43e7-bcbc-2879a2513833" providerId="ADAL" clId="{09BEBDDE-AF5B-9146-8B18-471724E5E3DD}" dt="2023-11-20T23:17:42.325" v="1062" actId="700"/>
          <ac:spMkLst>
            <pc:docMk/>
            <pc:sldMk cId="2774964817" sldId="2147138111"/>
            <ac:spMk id="5" creationId="{87BED978-7378-65D6-B7A8-716E186EF83A}"/>
          </ac:spMkLst>
        </pc:spChg>
        <pc:spChg chg="del mod ord">
          <ac:chgData name="Oehrli, Stefan" userId="3f36891e-f853-43e7-bcbc-2879a2513833" providerId="ADAL" clId="{09BEBDDE-AF5B-9146-8B18-471724E5E3DD}" dt="2023-11-20T23:17:42.325" v="1062" actId="700"/>
          <ac:spMkLst>
            <pc:docMk/>
            <pc:sldMk cId="2774964817" sldId="2147138111"/>
            <ac:spMk id="6" creationId="{56C1E882-E98D-84C9-FA59-A6D42E3CA327}"/>
          </ac:spMkLst>
        </pc:spChg>
        <pc:spChg chg="mod ord">
          <ac:chgData name="Oehrli, Stefan" userId="3f36891e-f853-43e7-bcbc-2879a2513833" providerId="ADAL" clId="{09BEBDDE-AF5B-9146-8B18-471724E5E3DD}" dt="2023-11-20T23:17:42.325" v="1062" actId="700"/>
          <ac:spMkLst>
            <pc:docMk/>
            <pc:sldMk cId="2774964817" sldId="2147138111"/>
            <ac:spMk id="7" creationId="{FCF82A4F-E3A4-D879-F8D9-0AFBD63F9526}"/>
          </ac:spMkLst>
        </pc:spChg>
        <pc:spChg chg="add mod ord">
          <ac:chgData name="Oehrli, Stefan" userId="3f36891e-f853-43e7-bcbc-2879a2513833" providerId="ADAL" clId="{09BEBDDE-AF5B-9146-8B18-471724E5E3DD}" dt="2023-11-20T23:17:54.753" v="1075" actId="20577"/>
          <ac:spMkLst>
            <pc:docMk/>
            <pc:sldMk cId="2774964817" sldId="2147138111"/>
            <ac:spMk id="8" creationId="{BF25CD4C-3D0E-21F4-901C-AF885FE6C13E}"/>
          </ac:spMkLst>
        </pc:spChg>
        <pc:spChg chg="add mod ord">
          <ac:chgData name="Oehrli, Stefan" userId="3f36891e-f853-43e7-bcbc-2879a2513833" providerId="ADAL" clId="{09BEBDDE-AF5B-9146-8B18-471724E5E3DD}" dt="2023-11-20T23:17:49.364" v="1063" actId="20577"/>
          <ac:spMkLst>
            <pc:docMk/>
            <pc:sldMk cId="2774964817" sldId="2147138111"/>
            <ac:spMk id="9" creationId="{3C3E011B-8CC5-AF32-E555-24EF991C1C28}"/>
          </ac:spMkLst>
        </pc:spChg>
        <pc:spChg chg="add mod ord">
          <ac:chgData name="Oehrli, Stefan" userId="3f36891e-f853-43e7-bcbc-2879a2513833" providerId="ADAL" clId="{09BEBDDE-AF5B-9146-8B18-471724E5E3DD}" dt="2023-11-20T23:18:27.972" v="1078"/>
          <ac:spMkLst>
            <pc:docMk/>
            <pc:sldMk cId="2774964817" sldId="2147138111"/>
            <ac:spMk id="10" creationId="{E71E492B-E171-42B1-2E24-469DFA041F48}"/>
          </ac:spMkLst>
        </pc:spChg>
      </pc:sldChg>
      <pc:sldChg chg="addSp delSp modSp new mod ord chgLayout">
        <pc:chgData name="Oehrli, Stefan" userId="3f36891e-f853-43e7-bcbc-2879a2513833" providerId="ADAL" clId="{09BEBDDE-AF5B-9146-8B18-471724E5E3DD}" dt="2023-11-20T23:19:21.223" v="1098" actId="114"/>
        <pc:sldMkLst>
          <pc:docMk/>
          <pc:sldMk cId="424518403" sldId="2147138112"/>
        </pc:sldMkLst>
        <pc:spChg chg="del mod ord">
          <ac:chgData name="Oehrli, Stefan" userId="3f36891e-f853-43e7-bcbc-2879a2513833" providerId="ADAL" clId="{09BEBDDE-AF5B-9146-8B18-471724E5E3DD}" dt="2023-11-20T23:18:40.533" v="1081" actId="700"/>
          <ac:spMkLst>
            <pc:docMk/>
            <pc:sldMk cId="424518403" sldId="2147138112"/>
            <ac:spMk id="2" creationId="{A3EEAFC1-B98E-39D6-81CF-59DD8106CA11}"/>
          </ac:spMkLst>
        </pc:spChg>
        <pc:spChg chg="del mod ord">
          <ac:chgData name="Oehrli, Stefan" userId="3f36891e-f853-43e7-bcbc-2879a2513833" providerId="ADAL" clId="{09BEBDDE-AF5B-9146-8B18-471724E5E3DD}" dt="2023-11-20T23:18:40.533" v="1081" actId="700"/>
          <ac:spMkLst>
            <pc:docMk/>
            <pc:sldMk cId="424518403" sldId="2147138112"/>
            <ac:spMk id="3" creationId="{B30ED5DD-EC20-3A33-64E9-9F3349F77674}"/>
          </ac:spMkLst>
        </pc:spChg>
        <pc:spChg chg="del mod ord">
          <ac:chgData name="Oehrli, Stefan" userId="3f36891e-f853-43e7-bcbc-2879a2513833" providerId="ADAL" clId="{09BEBDDE-AF5B-9146-8B18-471724E5E3DD}" dt="2023-11-20T23:18:40.533" v="1081" actId="700"/>
          <ac:spMkLst>
            <pc:docMk/>
            <pc:sldMk cId="424518403" sldId="2147138112"/>
            <ac:spMk id="4" creationId="{A5D2D620-574C-925C-5047-6DCEEF67B933}"/>
          </ac:spMkLst>
        </pc:spChg>
        <pc:spChg chg="mod ord">
          <ac:chgData name="Oehrli, Stefan" userId="3f36891e-f853-43e7-bcbc-2879a2513833" providerId="ADAL" clId="{09BEBDDE-AF5B-9146-8B18-471724E5E3DD}" dt="2023-11-20T23:18:40.533" v="1081" actId="700"/>
          <ac:spMkLst>
            <pc:docMk/>
            <pc:sldMk cId="424518403" sldId="2147138112"/>
            <ac:spMk id="5" creationId="{92149BEA-677C-50DA-6461-8492D93FE99A}"/>
          </ac:spMkLst>
        </pc:spChg>
        <pc:spChg chg="mod ord">
          <ac:chgData name="Oehrli, Stefan" userId="3f36891e-f853-43e7-bcbc-2879a2513833" providerId="ADAL" clId="{09BEBDDE-AF5B-9146-8B18-471724E5E3DD}" dt="2023-11-20T23:18:40.533" v="1081" actId="700"/>
          <ac:spMkLst>
            <pc:docMk/>
            <pc:sldMk cId="424518403" sldId="2147138112"/>
            <ac:spMk id="6" creationId="{6602F1E7-1191-71C6-FAA9-F19CB163EFC9}"/>
          </ac:spMkLst>
        </pc:spChg>
        <pc:spChg chg="add mod ord">
          <ac:chgData name="Oehrli, Stefan" userId="3f36891e-f853-43e7-bcbc-2879a2513833" providerId="ADAL" clId="{09BEBDDE-AF5B-9146-8B18-471724E5E3DD}" dt="2023-11-20T23:18:46.620" v="1096" actId="20577"/>
          <ac:spMkLst>
            <pc:docMk/>
            <pc:sldMk cId="424518403" sldId="2147138112"/>
            <ac:spMk id="7" creationId="{F68201F2-BCFB-6D14-7C78-E0C2C0496BF4}"/>
          </ac:spMkLst>
        </pc:spChg>
        <pc:spChg chg="add mod ord">
          <ac:chgData name="Oehrli, Stefan" userId="3f36891e-f853-43e7-bcbc-2879a2513833" providerId="ADAL" clId="{09BEBDDE-AF5B-9146-8B18-471724E5E3DD}" dt="2023-11-20T23:18:42.240" v="1082" actId="20577"/>
          <ac:spMkLst>
            <pc:docMk/>
            <pc:sldMk cId="424518403" sldId="2147138112"/>
            <ac:spMk id="8" creationId="{731D6917-619F-E945-C176-D1FBB4B2F553}"/>
          </ac:spMkLst>
        </pc:spChg>
        <pc:spChg chg="add mod ord">
          <ac:chgData name="Oehrli, Stefan" userId="3f36891e-f853-43e7-bcbc-2879a2513833" providerId="ADAL" clId="{09BEBDDE-AF5B-9146-8B18-471724E5E3DD}" dt="2023-11-20T23:19:21.223" v="1098" actId="114"/>
          <ac:spMkLst>
            <pc:docMk/>
            <pc:sldMk cId="424518403" sldId="2147138112"/>
            <ac:spMk id="9" creationId="{A75A3D33-4831-D4E5-56F6-537BE3375A4D}"/>
          </ac:spMkLst>
        </pc:spChg>
      </pc:sldChg>
      <pc:sldChg chg="addSp delSp modSp new mod ord chgLayout">
        <pc:chgData name="Oehrli, Stefan" userId="3f36891e-f853-43e7-bcbc-2879a2513833" providerId="ADAL" clId="{09BEBDDE-AF5B-9146-8B18-471724E5E3DD}" dt="2023-11-20T23:20:38.799" v="1132" actId="5793"/>
        <pc:sldMkLst>
          <pc:docMk/>
          <pc:sldMk cId="1136284001" sldId="2147138113"/>
        </pc:sldMkLst>
        <pc:spChg chg="del mod ord">
          <ac:chgData name="Oehrli, Stefan" userId="3f36891e-f853-43e7-bcbc-2879a2513833" providerId="ADAL" clId="{09BEBDDE-AF5B-9146-8B18-471724E5E3DD}" dt="2023-11-20T23:19:32.573" v="1101" actId="700"/>
          <ac:spMkLst>
            <pc:docMk/>
            <pc:sldMk cId="1136284001" sldId="2147138113"/>
            <ac:spMk id="2" creationId="{69CDE5CF-2FA5-D87F-5A31-56A6257C14B8}"/>
          </ac:spMkLst>
        </pc:spChg>
        <pc:spChg chg="del mod ord">
          <ac:chgData name="Oehrli, Stefan" userId="3f36891e-f853-43e7-bcbc-2879a2513833" providerId="ADAL" clId="{09BEBDDE-AF5B-9146-8B18-471724E5E3DD}" dt="2023-11-20T23:19:32.573" v="1101" actId="700"/>
          <ac:spMkLst>
            <pc:docMk/>
            <pc:sldMk cId="1136284001" sldId="2147138113"/>
            <ac:spMk id="3" creationId="{7F602AAE-413B-1C48-11D1-54F13CC85160}"/>
          </ac:spMkLst>
        </pc:spChg>
        <pc:spChg chg="del mod ord">
          <ac:chgData name="Oehrli, Stefan" userId="3f36891e-f853-43e7-bcbc-2879a2513833" providerId="ADAL" clId="{09BEBDDE-AF5B-9146-8B18-471724E5E3DD}" dt="2023-11-20T23:19:32.573" v="1101" actId="700"/>
          <ac:spMkLst>
            <pc:docMk/>
            <pc:sldMk cId="1136284001" sldId="2147138113"/>
            <ac:spMk id="4" creationId="{EC748F11-0F85-3D5D-DBE4-359F455FA7E4}"/>
          </ac:spMkLst>
        </pc:spChg>
        <pc:spChg chg="mod ord">
          <ac:chgData name="Oehrli, Stefan" userId="3f36891e-f853-43e7-bcbc-2879a2513833" providerId="ADAL" clId="{09BEBDDE-AF5B-9146-8B18-471724E5E3DD}" dt="2023-11-20T23:19:32.573" v="1101" actId="700"/>
          <ac:spMkLst>
            <pc:docMk/>
            <pc:sldMk cId="1136284001" sldId="2147138113"/>
            <ac:spMk id="5" creationId="{1725330E-B7A1-751A-6ADE-B3DC9023C734}"/>
          </ac:spMkLst>
        </pc:spChg>
        <pc:spChg chg="mod ord">
          <ac:chgData name="Oehrli, Stefan" userId="3f36891e-f853-43e7-bcbc-2879a2513833" providerId="ADAL" clId="{09BEBDDE-AF5B-9146-8B18-471724E5E3DD}" dt="2023-11-20T23:19:32.573" v="1101" actId="700"/>
          <ac:spMkLst>
            <pc:docMk/>
            <pc:sldMk cId="1136284001" sldId="2147138113"/>
            <ac:spMk id="6" creationId="{876787A2-A2A3-CBB6-98C2-941C8FFC91E3}"/>
          </ac:spMkLst>
        </pc:spChg>
        <pc:spChg chg="add mod ord">
          <ac:chgData name="Oehrli, Stefan" userId="3f36891e-f853-43e7-bcbc-2879a2513833" providerId="ADAL" clId="{09BEBDDE-AF5B-9146-8B18-471724E5E3DD}" dt="2023-11-20T23:20:01.519" v="1127" actId="20577"/>
          <ac:spMkLst>
            <pc:docMk/>
            <pc:sldMk cId="1136284001" sldId="2147138113"/>
            <ac:spMk id="7" creationId="{C3A4703B-8513-4EF1-E20F-196FA209EA29}"/>
          </ac:spMkLst>
        </pc:spChg>
        <pc:spChg chg="add mod ord">
          <ac:chgData name="Oehrli, Stefan" userId="3f36891e-f853-43e7-bcbc-2879a2513833" providerId="ADAL" clId="{09BEBDDE-AF5B-9146-8B18-471724E5E3DD}" dt="2023-11-20T23:19:52.258" v="1102" actId="20577"/>
          <ac:spMkLst>
            <pc:docMk/>
            <pc:sldMk cId="1136284001" sldId="2147138113"/>
            <ac:spMk id="8" creationId="{DC155FE0-F932-177C-D091-A6660EC4F92D}"/>
          </ac:spMkLst>
        </pc:spChg>
        <pc:spChg chg="add mod ord">
          <ac:chgData name="Oehrli, Stefan" userId="3f36891e-f853-43e7-bcbc-2879a2513833" providerId="ADAL" clId="{09BEBDDE-AF5B-9146-8B18-471724E5E3DD}" dt="2023-11-20T23:20:38.799" v="1132" actId="5793"/>
          <ac:spMkLst>
            <pc:docMk/>
            <pc:sldMk cId="1136284001" sldId="2147138113"/>
            <ac:spMk id="9" creationId="{F768FB15-6BB3-0B89-C93E-8D8962A8795D}"/>
          </ac:spMkLst>
        </pc:spChg>
      </pc:sldChg>
      <pc:sldChg chg="addSp delSp modSp new mod ord modClrScheme chgLayout">
        <pc:chgData name="Oehrli, Stefan" userId="3f36891e-f853-43e7-bcbc-2879a2513833" providerId="ADAL" clId="{09BEBDDE-AF5B-9146-8B18-471724E5E3DD}" dt="2023-11-21T06:11:29.777" v="3594" actId="20577"/>
        <pc:sldMkLst>
          <pc:docMk/>
          <pc:sldMk cId="2191559807" sldId="2147138114"/>
        </pc:sldMkLst>
        <pc:spChg chg="del mod ord">
          <ac:chgData name="Oehrli, Stefan" userId="3f36891e-f853-43e7-bcbc-2879a2513833" providerId="ADAL" clId="{09BEBDDE-AF5B-9146-8B18-471724E5E3DD}" dt="2023-11-21T06:05:00.240" v="3332" actId="700"/>
          <ac:spMkLst>
            <pc:docMk/>
            <pc:sldMk cId="2191559807" sldId="2147138114"/>
            <ac:spMk id="2" creationId="{FCC4E52D-4BA0-708D-5D85-13EA669837B3}"/>
          </ac:spMkLst>
        </pc:spChg>
        <pc:spChg chg="del mod ord">
          <ac:chgData name="Oehrli, Stefan" userId="3f36891e-f853-43e7-bcbc-2879a2513833" providerId="ADAL" clId="{09BEBDDE-AF5B-9146-8B18-471724E5E3DD}" dt="2023-11-21T06:05:00.240" v="3332" actId="700"/>
          <ac:spMkLst>
            <pc:docMk/>
            <pc:sldMk cId="2191559807" sldId="2147138114"/>
            <ac:spMk id="3" creationId="{0A6CFD29-B884-7992-60D9-4FCEC7EA3214}"/>
          </ac:spMkLst>
        </pc:spChg>
        <pc:spChg chg="del mod ord">
          <ac:chgData name="Oehrli, Stefan" userId="3f36891e-f853-43e7-bcbc-2879a2513833" providerId="ADAL" clId="{09BEBDDE-AF5B-9146-8B18-471724E5E3DD}" dt="2023-11-21T06:05:00.240" v="3332" actId="700"/>
          <ac:spMkLst>
            <pc:docMk/>
            <pc:sldMk cId="2191559807" sldId="2147138114"/>
            <ac:spMk id="4" creationId="{93A61C8B-240B-5082-3E37-C32643E2F068}"/>
          </ac:spMkLst>
        </pc:spChg>
        <pc:spChg chg="mod ord">
          <ac:chgData name="Oehrli, Stefan" userId="3f36891e-f853-43e7-bcbc-2879a2513833" providerId="ADAL" clId="{09BEBDDE-AF5B-9146-8B18-471724E5E3DD}" dt="2023-11-21T06:05:00.240" v="3332" actId="700"/>
          <ac:spMkLst>
            <pc:docMk/>
            <pc:sldMk cId="2191559807" sldId="2147138114"/>
            <ac:spMk id="5" creationId="{29EACC0F-45CE-32AA-E022-C01807FE393D}"/>
          </ac:spMkLst>
        </pc:spChg>
        <pc:spChg chg="mod ord">
          <ac:chgData name="Oehrli, Stefan" userId="3f36891e-f853-43e7-bcbc-2879a2513833" providerId="ADAL" clId="{09BEBDDE-AF5B-9146-8B18-471724E5E3DD}" dt="2023-11-21T06:05:00.240" v="3332" actId="700"/>
          <ac:spMkLst>
            <pc:docMk/>
            <pc:sldMk cId="2191559807" sldId="2147138114"/>
            <ac:spMk id="6" creationId="{E05EC5CD-B857-F78D-6868-E05AAEB32A7B}"/>
          </ac:spMkLst>
        </pc:spChg>
        <pc:spChg chg="add mod ord">
          <ac:chgData name="Oehrli, Stefan" userId="3f36891e-f853-43e7-bcbc-2879a2513833" providerId="ADAL" clId="{09BEBDDE-AF5B-9146-8B18-471724E5E3DD}" dt="2023-11-21T06:05:37.198" v="3338"/>
          <ac:spMkLst>
            <pc:docMk/>
            <pc:sldMk cId="2191559807" sldId="2147138114"/>
            <ac:spMk id="7" creationId="{6D88795F-0EDA-2EBE-2839-3FE8707FFA7F}"/>
          </ac:spMkLst>
        </pc:spChg>
        <pc:spChg chg="add mod ord">
          <ac:chgData name="Oehrli, Stefan" userId="3f36891e-f853-43e7-bcbc-2879a2513833" providerId="ADAL" clId="{09BEBDDE-AF5B-9146-8B18-471724E5E3DD}" dt="2023-11-21T06:11:29.777" v="3594" actId="20577"/>
          <ac:spMkLst>
            <pc:docMk/>
            <pc:sldMk cId="2191559807" sldId="2147138114"/>
            <ac:spMk id="8" creationId="{98B1479F-3595-4B9A-276B-AA5E96561411}"/>
          </ac:spMkLst>
        </pc:spChg>
        <pc:spChg chg="add mod ord">
          <ac:chgData name="Oehrli, Stefan" userId="3f36891e-f853-43e7-bcbc-2879a2513833" providerId="ADAL" clId="{09BEBDDE-AF5B-9146-8B18-471724E5E3DD}" dt="2023-11-21T06:06:36.524" v="3346" actId="5793"/>
          <ac:spMkLst>
            <pc:docMk/>
            <pc:sldMk cId="2191559807" sldId="2147138114"/>
            <ac:spMk id="9" creationId="{ACF0A545-D7D6-2B33-7E91-E1DEFB0D11BD}"/>
          </ac:spMkLst>
        </pc:spChg>
        <pc:spChg chg="add mod ord">
          <ac:chgData name="Oehrli, Stefan" userId="3f36891e-f853-43e7-bcbc-2879a2513833" providerId="ADAL" clId="{09BEBDDE-AF5B-9146-8B18-471724E5E3DD}" dt="2023-11-21T06:05:50.419" v="3341" actId="14100"/>
          <ac:spMkLst>
            <pc:docMk/>
            <pc:sldMk cId="2191559807" sldId="2147138114"/>
            <ac:spMk id="10" creationId="{37D37A2F-F89E-5AAB-C1EF-0DBDE759A4D0}"/>
          </ac:spMkLst>
        </pc:spChg>
      </pc:sldChg>
      <pc:sldChg chg="modSp new mod ord">
        <pc:chgData name="Oehrli, Stefan" userId="3f36891e-f853-43e7-bcbc-2879a2513833" providerId="ADAL" clId="{09BEBDDE-AF5B-9146-8B18-471724E5E3DD}" dt="2023-11-21T05:56:44.517" v="3310" actId="20578"/>
        <pc:sldMkLst>
          <pc:docMk/>
          <pc:sldMk cId="934375759" sldId="2147138115"/>
        </pc:sldMkLst>
        <pc:spChg chg="mod">
          <ac:chgData name="Oehrli, Stefan" userId="3f36891e-f853-43e7-bcbc-2879a2513833" providerId="ADAL" clId="{09BEBDDE-AF5B-9146-8B18-471724E5E3DD}" dt="2023-11-20T23:21:01.604" v="1146" actId="20577"/>
          <ac:spMkLst>
            <pc:docMk/>
            <pc:sldMk cId="934375759" sldId="2147138115"/>
            <ac:spMk id="2" creationId="{A491A190-E5DC-85B4-6B73-11DC9D3F712C}"/>
          </ac:spMkLst>
        </pc:spChg>
        <pc:spChg chg="mod">
          <ac:chgData name="Oehrli, Stefan" userId="3f36891e-f853-43e7-bcbc-2879a2513833" providerId="ADAL" clId="{09BEBDDE-AF5B-9146-8B18-471724E5E3DD}" dt="2023-11-20T23:20:54.254" v="1138" actId="20577"/>
          <ac:spMkLst>
            <pc:docMk/>
            <pc:sldMk cId="934375759" sldId="2147138115"/>
            <ac:spMk id="3" creationId="{639CAD41-CE78-FDB1-2BFD-3E6C9D835A82}"/>
          </ac:spMkLst>
        </pc:spChg>
        <pc:spChg chg="mod">
          <ac:chgData name="Oehrli, Stefan" userId="3f36891e-f853-43e7-bcbc-2879a2513833" providerId="ADAL" clId="{09BEBDDE-AF5B-9146-8B18-471724E5E3DD}" dt="2023-11-20T23:23:32.976" v="1208" actId="5793"/>
          <ac:spMkLst>
            <pc:docMk/>
            <pc:sldMk cId="934375759" sldId="2147138115"/>
            <ac:spMk id="4" creationId="{B336FFE9-9195-5BAA-DD49-6BD6759D0324}"/>
          </ac:spMkLst>
        </pc:spChg>
      </pc:sldChg>
      <pc:sldChg chg="addSp delSp modSp new mod ord chgLayout">
        <pc:chgData name="Oehrli, Stefan" userId="3f36891e-f853-43e7-bcbc-2879a2513833" providerId="ADAL" clId="{09BEBDDE-AF5B-9146-8B18-471724E5E3DD}" dt="2023-11-21T08:42:23.030" v="4953" actId="14100"/>
        <pc:sldMkLst>
          <pc:docMk/>
          <pc:sldMk cId="1484047602" sldId="2147138116"/>
        </pc:sldMkLst>
        <pc:spChg chg="del mod ord">
          <ac:chgData name="Oehrli, Stefan" userId="3f36891e-f853-43e7-bcbc-2879a2513833" providerId="ADAL" clId="{09BEBDDE-AF5B-9146-8B18-471724E5E3DD}" dt="2023-11-20T23:23:43.876" v="1211" actId="700"/>
          <ac:spMkLst>
            <pc:docMk/>
            <pc:sldMk cId="1484047602" sldId="2147138116"/>
            <ac:spMk id="2" creationId="{866E175A-4010-1768-AB55-4889EE385554}"/>
          </ac:spMkLst>
        </pc:spChg>
        <pc:spChg chg="del mod ord">
          <ac:chgData name="Oehrli, Stefan" userId="3f36891e-f853-43e7-bcbc-2879a2513833" providerId="ADAL" clId="{09BEBDDE-AF5B-9146-8B18-471724E5E3DD}" dt="2023-11-20T23:23:43.876" v="1211" actId="700"/>
          <ac:spMkLst>
            <pc:docMk/>
            <pc:sldMk cId="1484047602" sldId="2147138116"/>
            <ac:spMk id="3" creationId="{3A469E9C-D191-8880-DDBD-40C504F4A2B6}"/>
          </ac:spMkLst>
        </pc:spChg>
        <pc:spChg chg="del mod ord">
          <ac:chgData name="Oehrli, Stefan" userId="3f36891e-f853-43e7-bcbc-2879a2513833" providerId="ADAL" clId="{09BEBDDE-AF5B-9146-8B18-471724E5E3DD}" dt="2023-11-20T23:23:43.876" v="1211" actId="700"/>
          <ac:spMkLst>
            <pc:docMk/>
            <pc:sldMk cId="1484047602" sldId="2147138116"/>
            <ac:spMk id="4" creationId="{256FB468-7C87-7AF5-F621-A8272B31BAC3}"/>
          </ac:spMkLst>
        </pc:spChg>
        <pc:spChg chg="mod ord">
          <ac:chgData name="Oehrli, Stefan" userId="3f36891e-f853-43e7-bcbc-2879a2513833" providerId="ADAL" clId="{09BEBDDE-AF5B-9146-8B18-471724E5E3DD}" dt="2023-11-20T23:23:43.876" v="1211" actId="700"/>
          <ac:spMkLst>
            <pc:docMk/>
            <pc:sldMk cId="1484047602" sldId="2147138116"/>
            <ac:spMk id="5" creationId="{068B6656-227D-1437-59DF-E0F1CEF6F0F3}"/>
          </ac:spMkLst>
        </pc:spChg>
        <pc:spChg chg="mod ord">
          <ac:chgData name="Oehrli, Stefan" userId="3f36891e-f853-43e7-bcbc-2879a2513833" providerId="ADAL" clId="{09BEBDDE-AF5B-9146-8B18-471724E5E3DD}" dt="2023-11-20T23:23:43.876" v="1211" actId="700"/>
          <ac:spMkLst>
            <pc:docMk/>
            <pc:sldMk cId="1484047602" sldId="2147138116"/>
            <ac:spMk id="6" creationId="{0040640B-312F-924E-48B1-77CCB1207059}"/>
          </ac:spMkLst>
        </pc:spChg>
        <pc:spChg chg="add mod ord">
          <ac:chgData name="Oehrli, Stefan" userId="3f36891e-f853-43e7-bcbc-2879a2513833" providerId="ADAL" clId="{09BEBDDE-AF5B-9146-8B18-471724E5E3DD}" dt="2023-11-20T23:23:48.222" v="1222" actId="20577"/>
          <ac:spMkLst>
            <pc:docMk/>
            <pc:sldMk cId="1484047602" sldId="2147138116"/>
            <ac:spMk id="7" creationId="{21563638-2555-70F4-D5D7-85126C84FD2E}"/>
          </ac:spMkLst>
        </pc:spChg>
        <pc:spChg chg="add mod ord">
          <ac:chgData name="Oehrli, Stefan" userId="3f36891e-f853-43e7-bcbc-2879a2513833" providerId="ADAL" clId="{09BEBDDE-AF5B-9146-8B18-471724E5E3DD}" dt="2023-11-20T23:23:45.761" v="1212" actId="20577"/>
          <ac:spMkLst>
            <pc:docMk/>
            <pc:sldMk cId="1484047602" sldId="2147138116"/>
            <ac:spMk id="8" creationId="{090913A8-0830-2CF3-54C0-DDF4B6F4EB1C}"/>
          </ac:spMkLst>
        </pc:spChg>
        <pc:spChg chg="add mod ord">
          <ac:chgData name="Oehrli, Stefan" userId="3f36891e-f853-43e7-bcbc-2879a2513833" providerId="ADAL" clId="{09BEBDDE-AF5B-9146-8B18-471724E5E3DD}" dt="2023-11-21T08:42:23.030" v="4953" actId="14100"/>
          <ac:spMkLst>
            <pc:docMk/>
            <pc:sldMk cId="1484047602" sldId="2147138116"/>
            <ac:spMk id="9" creationId="{166E3A80-C738-37AD-AEAA-5DE6CAA31919}"/>
          </ac:spMkLst>
        </pc:spChg>
      </pc:sldChg>
      <pc:sldChg chg="addSp delSp modSp new mod ord chgLayout">
        <pc:chgData name="Oehrli, Stefan" userId="3f36891e-f853-43e7-bcbc-2879a2513833" providerId="ADAL" clId="{09BEBDDE-AF5B-9146-8B18-471724E5E3DD}" dt="2023-11-21T10:18:46.400" v="6879" actId="20577"/>
        <pc:sldMkLst>
          <pc:docMk/>
          <pc:sldMk cId="1497942445" sldId="2147138117"/>
        </pc:sldMkLst>
        <pc:spChg chg="del mod ord">
          <ac:chgData name="Oehrli, Stefan" userId="3f36891e-f853-43e7-bcbc-2879a2513833" providerId="ADAL" clId="{09BEBDDE-AF5B-9146-8B18-471724E5E3DD}" dt="2023-11-20T23:24:07.333" v="1225" actId="700"/>
          <ac:spMkLst>
            <pc:docMk/>
            <pc:sldMk cId="1497942445" sldId="2147138117"/>
            <ac:spMk id="2" creationId="{AA27723A-E747-BA76-E4DB-A7E76D1DD92F}"/>
          </ac:spMkLst>
        </pc:spChg>
        <pc:spChg chg="del mod ord">
          <ac:chgData name="Oehrli, Stefan" userId="3f36891e-f853-43e7-bcbc-2879a2513833" providerId="ADAL" clId="{09BEBDDE-AF5B-9146-8B18-471724E5E3DD}" dt="2023-11-20T23:24:07.333" v="1225" actId="700"/>
          <ac:spMkLst>
            <pc:docMk/>
            <pc:sldMk cId="1497942445" sldId="2147138117"/>
            <ac:spMk id="3" creationId="{E78B728B-4527-5F91-FB52-C7A1FFF563AC}"/>
          </ac:spMkLst>
        </pc:spChg>
        <pc:spChg chg="del mod ord">
          <ac:chgData name="Oehrli, Stefan" userId="3f36891e-f853-43e7-bcbc-2879a2513833" providerId="ADAL" clId="{09BEBDDE-AF5B-9146-8B18-471724E5E3DD}" dt="2023-11-20T23:24:07.333" v="1225" actId="700"/>
          <ac:spMkLst>
            <pc:docMk/>
            <pc:sldMk cId="1497942445" sldId="2147138117"/>
            <ac:spMk id="4" creationId="{55769487-575A-C320-7D80-E1BEE8119901}"/>
          </ac:spMkLst>
        </pc:spChg>
        <pc:spChg chg="mod ord">
          <ac:chgData name="Oehrli, Stefan" userId="3f36891e-f853-43e7-bcbc-2879a2513833" providerId="ADAL" clId="{09BEBDDE-AF5B-9146-8B18-471724E5E3DD}" dt="2023-11-20T23:24:07.333" v="1225" actId="700"/>
          <ac:spMkLst>
            <pc:docMk/>
            <pc:sldMk cId="1497942445" sldId="2147138117"/>
            <ac:spMk id="5" creationId="{51283F34-A071-DC50-D839-8C3FCA0A2359}"/>
          </ac:spMkLst>
        </pc:spChg>
        <pc:spChg chg="mod ord">
          <ac:chgData name="Oehrli, Stefan" userId="3f36891e-f853-43e7-bcbc-2879a2513833" providerId="ADAL" clId="{09BEBDDE-AF5B-9146-8B18-471724E5E3DD}" dt="2023-11-20T23:24:07.333" v="1225" actId="700"/>
          <ac:spMkLst>
            <pc:docMk/>
            <pc:sldMk cId="1497942445" sldId="2147138117"/>
            <ac:spMk id="6" creationId="{180AF892-E159-1919-DA23-CA1EACFD7145}"/>
          </ac:spMkLst>
        </pc:spChg>
        <pc:spChg chg="add mod ord">
          <ac:chgData name="Oehrli, Stefan" userId="3f36891e-f853-43e7-bcbc-2879a2513833" providerId="ADAL" clId="{09BEBDDE-AF5B-9146-8B18-471724E5E3DD}" dt="2023-11-20T23:25:26.376" v="1251"/>
          <ac:spMkLst>
            <pc:docMk/>
            <pc:sldMk cId="1497942445" sldId="2147138117"/>
            <ac:spMk id="7" creationId="{5AFF6F87-7A68-7D91-A83F-C627637985B1}"/>
          </ac:spMkLst>
        </pc:spChg>
        <pc:spChg chg="add mod ord">
          <ac:chgData name="Oehrli, Stefan" userId="3f36891e-f853-43e7-bcbc-2879a2513833" providerId="ADAL" clId="{09BEBDDE-AF5B-9146-8B18-471724E5E3DD}" dt="2023-11-20T23:24:30.045" v="1233" actId="20577"/>
          <ac:spMkLst>
            <pc:docMk/>
            <pc:sldMk cId="1497942445" sldId="2147138117"/>
            <ac:spMk id="8" creationId="{5B4980FA-B259-287E-D836-01816D048B1B}"/>
          </ac:spMkLst>
        </pc:spChg>
        <pc:spChg chg="add mod ord">
          <ac:chgData name="Oehrli, Stefan" userId="3f36891e-f853-43e7-bcbc-2879a2513833" providerId="ADAL" clId="{09BEBDDE-AF5B-9146-8B18-471724E5E3DD}" dt="2023-11-21T10:18:46.400" v="6879" actId="20577"/>
          <ac:spMkLst>
            <pc:docMk/>
            <pc:sldMk cId="1497942445" sldId="2147138117"/>
            <ac:spMk id="9" creationId="{AF4E43EF-F115-6195-4B3F-408A358F3C4B}"/>
          </ac:spMkLst>
        </pc:spChg>
      </pc:sldChg>
      <pc:sldChg chg="modSp add del mod">
        <pc:chgData name="Oehrli, Stefan" userId="3f36891e-f853-43e7-bcbc-2879a2513833" providerId="ADAL" clId="{09BEBDDE-AF5B-9146-8B18-471724E5E3DD}" dt="2023-11-21T05:00:05.429" v="2044" actId="2696"/>
        <pc:sldMkLst>
          <pc:docMk/>
          <pc:sldMk cId="1058470750" sldId="2147138118"/>
        </pc:sldMkLst>
        <pc:spChg chg="mod">
          <ac:chgData name="Oehrli, Stefan" userId="3f36891e-f853-43e7-bcbc-2879a2513833" providerId="ADAL" clId="{09BEBDDE-AF5B-9146-8B18-471724E5E3DD}" dt="2023-11-21T04:46:51.770" v="1821" actId="20577"/>
          <ac:spMkLst>
            <pc:docMk/>
            <pc:sldMk cId="1058470750" sldId="2147138118"/>
            <ac:spMk id="9" creationId="{C7347C64-0348-3831-8B5A-25F65080DF73}"/>
          </ac:spMkLst>
        </pc:spChg>
      </pc:sldChg>
      <pc:sldChg chg="addSp delSp modSp new mod modClrScheme modAnim chgLayout">
        <pc:chgData name="Oehrli, Stefan" userId="3f36891e-f853-43e7-bcbc-2879a2513833" providerId="ADAL" clId="{09BEBDDE-AF5B-9146-8B18-471724E5E3DD}" dt="2023-11-21T03:48:59.742" v="1516"/>
        <pc:sldMkLst>
          <pc:docMk/>
          <pc:sldMk cId="2826333923" sldId="2147138119"/>
        </pc:sldMkLst>
        <pc:spChg chg="del mod ord">
          <ac:chgData name="Oehrli, Stefan" userId="3f36891e-f853-43e7-bcbc-2879a2513833" providerId="ADAL" clId="{09BEBDDE-AF5B-9146-8B18-471724E5E3DD}" dt="2023-11-21T03:23:44.025" v="1334" actId="700"/>
          <ac:spMkLst>
            <pc:docMk/>
            <pc:sldMk cId="2826333923" sldId="2147138119"/>
            <ac:spMk id="2" creationId="{7AAEE823-CA95-74E9-ADAA-C3E0CC509EBB}"/>
          </ac:spMkLst>
        </pc:spChg>
        <pc:spChg chg="del mod ord">
          <ac:chgData name="Oehrli, Stefan" userId="3f36891e-f853-43e7-bcbc-2879a2513833" providerId="ADAL" clId="{09BEBDDE-AF5B-9146-8B18-471724E5E3DD}" dt="2023-11-21T03:23:44.025" v="1334" actId="700"/>
          <ac:spMkLst>
            <pc:docMk/>
            <pc:sldMk cId="2826333923" sldId="2147138119"/>
            <ac:spMk id="3" creationId="{4CE06FB6-9FA2-3FD2-9BCA-A964CB21ABB8}"/>
          </ac:spMkLst>
        </pc:spChg>
        <pc:spChg chg="del mod ord">
          <ac:chgData name="Oehrli, Stefan" userId="3f36891e-f853-43e7-bcbc-2879a2513833" providerId="ADAL" clId="{09BEBDDE-AF5B-9146-8B18-471724E5E3DD}" dt="2023-11-21T03:23:44.025" v="1334" actId="700"/>
          <ac:spMkLst>
            <pc:docMk/>
            <pc:sldMk cId="2826333923" sldId="2147138119"/>
            <ac:spMk id="4" creationId="{8CBBD033-9C43-459F-741A-AD9DFD88B92E}"/>
          </ac:spMkLst>
        </pc:spChg>
        <pc:spChg chg="mod ord">
          <ac:chgData name="Oehrli, Stefan" userId="3f36891e-f853-43e7-bcbc-2879a2513833" providerId="ADAL" clId="{09BEBDDE-AF5B-9146-8B18-471724E5E3DD}" dt="2023-11-21T03:23:52.883" v="1335" actId="700"/>
          <ac:spMkLst>
            <pc:docMk/>
            <pc:sldMk cId="2826333923" sldId="2147138119"/>
            <ac:spMk id="5" creationId="{FA8546D9-CB6C-5FE9-0D00-7266E0ACD3A9}"/>
          </ac:spMkLst>
        </pc:spChg>
        <pc:spChg chg="mod ord">
          <ac:chgData name="Oehrli, Stefan" userId="3f36891e-f853-43e7-bcbc-2879a2513833" providerId="ADAL" clId="{09BEBDDE-AF5B-9146-8B18-471724E5E3DD}" dt="2023-11-21T03:23:52.883" v="1335" actId="700"/>
          <ac:spMkLst>
            <pc:docMk/>
            <pc:sldMk cId="2826333923" sldId="2147138119"/>
            <ac:spMk id="6" creationId="{D38AAB2C-94A3-ECDE-3CCD-F43A3D74ADBF}"/>
          </ac:spMkLst>
        </pc:spChg>
        <pc:spChg chg="add del mod ord">
          <ac:chgData name="Oehrli, Stefan" userId="3f36891e-f853-43e7-bcbc-2879a2513833" providerId="ADAL" clId="{09BEBDDE-AF5B-9146-8B18-471724E5E3DD}" dt="2023-11-21T03:23:52.883" v="1335" actId="700"/>
          <ac:spMkLst>
            <pc:docMk/>
            <pc:sldMk cId="2826333923" sldId="2147138119"/>
            <ac:spMk id="7" creationId="{654E4491-1A88-E1F4-E4A2-217D6EEF3FCD}"/>
          </ac:spMkLst>
        </pc:spChg>
        <pc:spChg chg="add del mod ord">
          <ac:chgData name="Oehrli, Stefan" userId="3f36891e-f853-43e7-bcbc-2879a2513833" providerId="ADAL" clId="{09BEBDDE-AF5B-9146-8B18-471724E5E3DD}" dt="2023-11-21T03:23:52.883" v="1335" actId="700"/>
          <ac:spMkLst>
            <pc:docMk/>
            <pc:sldMk cId="2826333923" sldId="2147138119"/>
            <ac:spMk id="8" creationId="{068BFD81-9201-6164-3C98-9083AE454B94}"/>
          </ac:spMkLst>
        </pc:spChg>
        <pc:spChg chg="add del mod ord">
          <ac:chgData name="Oehrli, Stefan" userId="3f36891e-f853-43e7-bcbc-2879a2513833" providerId="ADAL" clId="{09BEBDDE-AF5B-9146-8B18-471724E5E3DD}" dt="2023-11-21T03:23:52.883" v="1335" actId="700"/>
          <ac:spMkLst>
            <pc:docMk/>
            <pc:sldMk cId="2826333923" sldId="2147138119"/>
            <ac:spMk id="9" creationId="{30C476F9-AD5A-2F97-EDC7-2AEC251042FA}"/>
          </ac:spMkLst>
        </pc:spChg>
        <pc:spChg chg="add mod ord">
          <ac:chgData name="Oehrli, Stefan" userId="3f36891e-f853-43e7-bcbc-2879a2513833" providerId="ADAL" clId="{09BEBDDE-AF5B-9146-8B18-471724E5E3DD}" dt="2023-11-21T03:35:54.646" v="1419"/>
          <ac:spMkLst>
            <pc:docMk/>
            <pc:sldMk cId="2826333923" sldId="2147138119"/>
            <ac:spMk id="10" creationId="{5F3ADBAD-2ABE-B405-CFCE-543412CD3950}"/>
          </ac:spMkLst>
        </pc:spChg>
        <pc:spChg chg="add mod ord">
          <ac:chgData name="Oehrli, Stefan" userId="3f36891e-f853-43e7-bcbc-2879a2513833" providerId="ADAL" clId="{09BEBDDE-AF5B-9146-8B18-471724E5E3DD}" dt="2023-11-21T03:47:43.123" v="1503" actId="20577"/>
          <ac:spMkLst>
            <pc:docMk/>
            <pc:sldMk cId="2826333923" sldId="2147138119"/>
            <ac:spMk id="11" creationId="{C5540C4A-C200-C46D-BABB-120EA10F9077}"/>
          </ac:spMkLst>
        </pc:spChg>
        <pc:spChg chg="add mod ord">
          <ac:chgData name="Oehrli, Stefan" userId="3f36891e-f853-43e7-bcbc-2879a2513833" providerId="ADAL" clId="{09BEBDDE-AF5B-9146-8B18-471724E5E3DD}" dt="2023-11-21T03:36:12.861" v="1424" actId="5793"/>
          <ac:spMkLst>
            <pc:docMk/>
            <pc:sldMk cId="2826333923" sldId="2147138119"/>
            <ac:spMk id="12" creationId="{EA3EACE1-1657-1420-0EE2-A684DBE10F52}"/>
          </ac:spMkLst>
        </pc:spChg>
        <pc:spChg chg="add del mod ord">
          <ac:chgData name="Oehrli, Stefan" userId="3f36891e-f853-43e7-bcbc-2879a2513833" providerId="ADAL" clId="{09BEBDDE-AF5B-9146-8B18-471724E5E3DD}" dt="2023-11-21T03:37:43.211" v="1427"/>
          <ac:spMkLst>
            <pc:docMk/>
            <pc:sldMk cId="2826333923" sldId="2147138119"/>
            <ac:spMk id="13" creationId="{FD076448-43A0-4538-7018-B3E546585ABF}"/>
          </ac:spMkLst>
        </pc:spChg>
        <pc:picChg chg="add mod">
          <ac:chgData name="Oehrli, Stefan" userId="3f36891e-f853-43e7-bcbc-2879a2513833" providerId="ADAL" clId="{09BEBDDE-AF5B-9146-8B18-471724E5E3DD}" dt="2023-11-21T03:47:39.199" v="1501" actId="1076"/>
          <ac:picMkLst>
            <pc:docMk/>
            <pc:sldMk cId="2826333923" sldId="2147138119"/>
            <ac:picMk id="14" creationId="{5DDB58A2-B3C7-10E5-2E6A-227AB4475995}"/>
          </ac:picMkLst>
        </pc:picChg>
        <pc:picChg chg="add del mod">
          <ac:chgData name="Oehrli, Stefan" userId="3f36891e-f853-43e7-bcbc-2879a2513833" providerId="ADAL" clId="{09BEBDDE-AF5B-9146-8B18-471724E5E3DD}" dt="2023-11-21T03:31:23.480" v="1351" actId="478"/>
          <ac:picMkLst>
            <pc:docMk/>
            <pc:sldMk cId="2826333923" sldId="2147138119"/>
            <ac:picMk id="2050" creationId="{951DAC8C-A24E-7D31-F2A9-FA34A2973924}"/>
          </ac:picMkLst>
        </pc:picChg>
      </pc:sldChg>
      <pc:sldChg chg="addSp delSp modSp add mod modClrScheme chgLayout">
        <pc:chgData name="Oehrli, Stefan" userId="3f36891e-f853-43e7-bcbc-2879a2513833" providerId="ADAL" clId="{09BEBDDE-AF5B-9146-8B18-471724E5E3DD}" dt="2023-11-21T03:34:30.604" v="1418" actId="14100"/>
        <pc:sldMkLst>
          <pc:docMk/>
          <pc:sldMk cId="3662948178" sldId="2147138120"/>
        </pc:sldMkLst>
        <pc:spChg chg="add mod ord">
          <ac:chgData name="Oehrli, Stefan" userId="3f36891e-f853-43e7-bcbc-2879a2513833" providerId="ADAL" clId="{09BEBDDE-AF5B-9146-8B18-471724E5E3DD}" dt="2023-11-21T03:32:45.699" v="1393"/>
          <ac:spMkLst>
            <pc:docMk/>
            <pc:sldMk cId="3662948178" sldId="2147138120"/>
            <ac:spMk id="2" creationId="{5692B88E-56A0-120C-F379-E60AA4EF7C6D}"/>
          </ac:spMkLst>
        </pc:spChg>
        <pc:spChg chg="add mod">
          <ac:chgData name="Oehrli, Stefan" userId="3f36891e-f853-43e7-bcbc-2879a2513833" providerId="ADAL" clId="{09BEBDDE-AF5B-9146-8B18-471724E5E3DD}" dt="2023-11-21T03:34:25.736" v="1416" actId="1076"/>
          <ac:spMkLst>
            <pc:docMk/>
            <pc:sldMk cId="3662948178" sldId="2147138120"/>
            <ac:spMk id="4" creationId="{02C2D682-9317-223E-2615-C845EBFA3E36}"/>
          </ac:spMkLst>
        </pc:spChg>
        <pc:spChg chg="mod ord">
          <ac:chgData name="Oehrli, Stefan" userId="3f36891e-f853-43e7-bcbc-2879a2513833" providerId="ADAL" clId="{09BEBDDE-AF5B-9146-8B18-471724E5E3DD}" dt="2023-11-21T03:31:59.010" v="1367" actId="700"/>
          <ac:spMkLst>
            <pc:docMk/>
            <pc:sldMk cId="3662948178" sldId="2147138120"/>
            <ac:spMk id="5" creationId="{FA8546D9-CB6C-5FE9-0D00-7266E0ACD3A9}"/>
          </ac:spMkLst>
        </pc:spChg>
        <pc:spChg chg="mod ord">
          <ac:chgData name="Oehrli, Stefan" userId="3f36891e-f853-43e7-bcbc-2879a2513833" providerId="ADAL" clId="{09BEBDDE-AF5B-9146-8B18-471724E5E3DD}" dt="2023-11-21T03:31:59.010" v="1367" actId="700"/>
          <ac:spMkLst>
            <pc:docMk/>
            <pc:sldMk cId="3662948178" sldId="2147138120"/>
            <ac:spMk id="6" creationId="{D38AAB2C-94A3-ECDE-3CCD-F43A3D74ADBF}"/>
          </ac:spMkLst>
        </pc:spChg>
        <pc:spChg chg="mod ord">
          <ac:chgData name="Oehrli, Stefan" userId="3f36891e-f853-43e7-bcbc-2879a2513833" providerId="ADAL" clId="{09BEBDDE-AF5B-9146-8B18-471724E5E3DD}" dt="2023-11-21T03:31:59.010" v="1367" actId="700"/>
          <ac:spMkLst>
            <pc:docMk/>
            <pc:sldMk cId="3662948178" sldId="2147138120"/>
            <ac:spMk id="10" creationId="{5F3ADBAD-2ABE-B405-CFCE-543412CD3950}"/>
          </ac:spMkLst>
        </pc:spChg>
        <pc:spChg chg="del mod ord">
          <ac:chgData name="Oehrli, Stefan" userId="3f36891e-f853-43e7-bcbc-2879a2513833" providerId="ADAL" clId="{09BEBDDE-AF5B-9146-8B18-471724E5E3DD}" dt="2023-11-21T03:32:02.313" v="1370"/>
          <ac:spMkLst>
            <pc:docMk/>
            <pc:sldMk cId="3662948178" sldId="2147138120"/>
            <ac:spMk id="11" creationId="{C5540C4A-C200-C46D-BABB-120EA10F9077}"/>
          </ac:spMkLst>
        </pc:spChg>
        <pc:spChg chg="del mod ord">
          <ac:chgData name="Oehrli, Stefan" userId="3f36891e-f853-43e7-bcbc-2879a2513833" providerId="ADAL" clId="{09BEBDDE-AF5B-9146-8B18-471724E5E3DD}" dt="2023-11-21T03:31:59.010" v="1367" actId="700"/>
          <ac:spMkLst>
            <pc:docMk/>
            <pc:sldMk cId="3662948178" sldId="2147138120"/>
            <ac:spMk id="12" creationId="{EA3EACE1-1657-1420-0EE2-A684DBE10F52}"/>
          </ac:spMkLst>
        </pc:spChg>
        <pc:spChg chg="del">
          <ac:chgData name="Oehrli, Stefan" userId="3f36891e-f853-43e7-bcbc-2879a2513833" providerId="ADAL" clId="{09BEBDDE-AF5B-9146-8B18-471724E5E3DD}" dt="2023-11-21T03:31:59.010" v="1367" actId="700"/>
          <ac:spMkLst>
            <pc:docMk/>
            <pc:sldMk cId="3662948178" sldId="2147138120"/>
            <ac:spMk id="13" creationId="{FD076448-43A0-4538-7018-B3E546585ABF}"/>
          </ac:spMkLst>
        </pc:spChg>
        <pc:picChg chg="add mod">
          <ac:chgData name="Oehrli, Stefan" userId="3f36891e-f853-43e7-bcbc-2879a2513833" providerId="ADAL" clId="{09BEBDDE-AF5B-9146-8B18-471724E5E3DD}" dt="2023-11-21T03:34:30.604" v="1418" actId="14100"/>
          <ac:picMkLst>
            <pc:docMk/>
            <pc:sldMk cId="3662948178" sldId="2147138120"/>
            <ac:picMk id="3" creationId="{CF0842FF-84BC-886A-151D-287C10DE1E5F}"/>
          </ac:picMkLst>
        </pc:picChg>
        <pc:picChg chg="del">
          <ac:chgData name="Oehrli, Stefan" userId="3f36891e-f853-43e7-bcbc-2879a2513833" providerId="ADAL" clId="{09BEBDDE-AF5B-9146-8B18-471724E5E3DD}" dt="2023-11-21T03:31:35.344" v="1353" actId="21"/>
          <ac:picMkLst>
            <pc:docMk/>
            <pc:sldMk cId="3662948178" sldId="2147138120"/>
            <ac:picMk id="2050" creationId="{951DAC8C-A24E-7D31-F2A9-FA34A2973924}"/>
          </ac:picMkLst>
        </pc:picChg>
      </pc:sldChg>
      <pc:sldChg chg="addSp delSp modSp new mod ord modClrScheme modAnim chgLayout">
        <pc:chgData name="Oehrli, Stefan" userId="3f36891e-f853-43e7-bcbc-2879a2513833" providerId="ADAL" clId="{09BEBDDE-AF5B-9146-8B18-471724E5E3DD}" dt="2023-11-21T03:58:19.161" v="1659" actId="20578"/>
        <pc:sldMkLst>
          <pc:docMk/>
          <pc:sldMk cId="666160610" sldId="2147138121"/>
        </pc:sldMkLst>
        <pc:spChg chg="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2" creationId="{21BAA32E-87E5-FFE6-197E-BF8279A3AD1D}"/>
          </ac:spMkLst>
        </pc:spChg>
        <pc:spChg chg="del mod ord">
          <ac:chgData name="Oehrli, Stefan" userId="3f36891e-f853-43e7-bcbc-2879a2513833" providerId="ADAL" clId="{09BEBDDE-AF5B-9146-8B18-471724E5E3DD}" dt="2023-11-21T03:53:50.774" v="1545" actId="700"/>
          <ac:spMkLst>
            <pc:docMk/>
            <pc:sldMk cId="666160610" sldId="2147138121"/>
            <ac:spMk id="3" creationId="{70E039D7-D0F5-167B-8B6F-46B5CF8EA1A0}"/>
          </ac:spMkLst>
        </pc:spChg>
        <pc:spChg chg="del mod ord">
          <ac:chgData name="Oehrli, Stefan" userId="3f36891e-f853-43e7-bcbc-2879a2513833" providerId="ADAL" clId="{09BEBDDE-AF5B-9146-8B18-471724E5E3DD}" dt="2023-11-21T03:53:50.774" v="1545" actId="700"/>
          <ac:spMkLst>
            <pc:docMk/>
            <pc:sldMk cId="666160610" sldId="2147138121"/>
            <ac:spMk id="4" creationId="{8A681B70-57FD-5E45-981C-3DA93D32B759}"/>
          </ac:spMkLst>
        </pc:spChg>
        <pc:spChg chg="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5" creationId="{7D2CB076-2424-25D2-6CA8-3F62F4D30AE5}"/>
          </ac:spMkLst>
        </pc:spChg>
        <pc:spChg chg="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6" creationId="{FEEFF248-800B-F3E2-5F15-18B8CF7297A6}"/>
          </ac:spMkLst>
        </pc:spChg>
        <pc:spChg chg="add del mod ord">
          <ac:chgData name="Oehrli, Stefan" userId="3f36891e-f853-43e7-bcbc-2879a2513833" providerId="ADAL" clId="{09BEBDDE-AF5B-9146-8B18-471724E5E3DD}" dt="2023-11-21T03:54:55.833" v="1636" actId="12"/>
          <ac:spMkLst>
            <pc:docMk/>
            <pc:sldMk cId="666160610" sldId="2147138121"/>
            <ac:spMk id="7" creationId="{370701DC-A45B-E549-24ED-868B1C20E7F9}"/>
          </ac:spMkLst>
        </pc:spChg>
        <pc:spChg chg="add del 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8" creationId="{7B7C21A9-BA8E-8035-8AF7-8D125C866046}"/>
          </ac:spMkLst>
        </pc:spChg>
        <pc:spChg chg="add del mod ord">
          <ac:chgData name="Oehrli, Stefan" userId="3f36891e-f853-43e7-bcbc-2879a2513833" providerId="ADAL" clId="{09BEBDDE-AF5B-9146-8B18-471724E5E3DD}" dt="2023-11-21T03:54:57.938" v="1637" actId="12"/>
          <ac:spMkLst>
            <pc:docMk/>
            <pc:sldMk cId="666160610" sldId="2147138121"/>
            <ac:spMk id="9" creationId="{92860932-76E1-E164-1A33-41CEDE602802}"/>
          </ac:spMkLst>
        </pc:spChg>
        <pc:spChg chg="add del 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10" creationId="{0E51F200-46AB-EC66-E727-5444528ECB71}"/>
          </ac:spMkLst>
        </pc:spChg>
        <pc:spChg chg="add del 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11" creationId="{8774FB65-3C59-A5C2-62FF-1B2D95D86F3C}"/>
          </ac:spMkLst>
        </pc:spChg>
        <pc:spChg chg="add del 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12" creationId="{A3374EA3-279D-05F1-FB39-0440103CFE5D}"/>
          </ac:spMkLst>
        </pc:spChg>
        <pc:spChg chg="add del 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13" creationId="{544CCD76-D238-5CAB-9DEA-97F3773419D0}"/>
          </ac:spMkLst>
        </pc:spChg>
        <pc:spChg chg="add del mod ord">
          <ac:chgData name="Oehrli, Stefan" userId="3f36891e-f853-43e7-bcbc-2879a2513833" providerId="ADAL" clId="{09BEBDDE-AF5B-9146-8B18-471724E5E3DD}" dt="2023-11-21T03:53:56.677" v="1547" actId="700"/>
          <ac:spMkLst>
            <pc:docMk/>
            <pc:sldMk cId="666160610" sldId="2147138121"/>
            <ac:spMk id="14" creationId="{3D608334-5978-4410-2098-0622286AB3AF}"/>
          </ac:spMkLst>
        </pc:spChg>
        <pc:picChg chg="add del mod">
          <ac:chgData name="Oehrli, Stefan" userId="3f36891e-f853-43e7-bcbc-2879a2513833" providerId="ADAL" clId="{09BEBDDE-AF5B-9146-8B18-471724E5E3DD}" dt="2023-11-21T03:54:31.928" v="1557"/>
          <ac:picMkLst>
            <pc:docMk/>
            <pc:sldMk cId="666160610" sldId="2147138121"/>
            <ac:picMk id="15" creationId="{8D47D2FB-99A9-802F-6F59-A35EE3E99198}"/>
          </ac:picMkLst>
        </pc:picChg>
        <pc:picChg chg="add del mod">
          <ac:chgData name="Oehrli, Stefan" userId="3f36891e-f853-43e7-bcbc-2879a2513833" providerId="ADAL" clId="{09BEBDDE-AF5B-9146-8B18-471724E5E3DD}" dt="2023-11-21T03:54:31.514" v="1556"/>
          <ac:picMkLst>
            <pc:docMk/>
            <pc:sldMk cId="666160610" sldId="2147138121"/>
            <ac:picMk id="16" creationId="{3FE347CA-2122-9DDF-0CDD-704C1C9A7781}"/>
          </ac:picMkLst>
        </pc:picChg>
        <pc:picChg chg="add mod">
          <ac:chgData name="Oehrli, Stefan" userId="3f36891e-f853-43e7-bcbc-2879a2513833" providerId="ADAL" clId="{09BEBDDE-AF5B-9146-8B18-471724E5E3DD}" dt="2023-11-21T03:55:09.589" v="1645" actId="1076"/>
          <ac:picMkLst>
            <pc:docMk/>
            <pc:sldMk cId="666160610" sldId="2147138121"/>
            <ac:picMk id="17" creationId="{4D5342C5-1B70-C8E2-457B-621F5981C0DF}"/>
          </ac:picMkLst>
        </pc:picChg>
        <pc:picChg chg="add del mod">
          <ac:chgData name="Oehrli, Stefan" userId="3f36891e-f853-43e7-bcbc-2879a2513833" providerId="ADAL" clId="{09BEBDDE-AF5B-9146-8B18-471724E5E3DD}" dt="2023-11-21T03:57:09.497" v="1651"/>
          <ac:picMkLst>
            <pc:docMk/>
            <pc:sldMk cId="666160610" sldId="2147138121"/>
            <ac:picMk id="18" creationId="{21509633-A763-6241-A26D-22CF7DAB6B81}"/>
          </ac:picMkLst>
        </pc:picChg>
        <pc:picChg chg="add mod">
          <ac:chgData name="Oehrli, Stefan" userId="3f36891e-f853-43e7-bcbc-2879a2513833" providerId="ADAL" clId="{09BEBDDE-AF5B-9146-8B18-471724E5E3DD}" dt="2023-11-21T03:57:40.941" v="1656" actId="1076"/>
          <ac:picMkLst>
            <pc:docMk/>
            <pc:sldMk cId="666160610" sldId="2147138121"/>
            <ac:picMk id="19" creationId="{5B4FC075-4F81-DA69-730F-84B41EA31162}"/>
          </ac:picMkLst>
        </pc:picChg>
      </pc:sldChg>
      <pc:sldChg chg="addSp delSp modSp new mod modClrScheme modAnim chgLayout">
        <pc:chgData name="Oehrli, Stefan" userId="3f36891e-f853-43e7-bcbc-2879a2513833" providerId="ADAL" clId="{09BEBDDE-AF5B-9146-8B18-471724E5E3DD}" dt="2023-11-21T10:31:34.361" v="7083"/>
        <pc:sldMkLst>
          <pc:docMk/>
          <pc:sldMk cId="3069574028" sldId="2147138122"/>
        </pc:sldMkLst>
        <pc:spChg chg="mod ord">
          <ac:chgData name="Oehrli, Stefan" userId="3f36891e-f853-43e7-bcbc-2879a2513833" providerId="ADAL" clId="{09BEBDDE-AF5B-9146-8B18-471724E5E3DD}" dt="2023-11-21T04:49:31.397" v="1871" actId="21"/>
          <ac:spMkLst>
            <pc:docMk/>
            <pc:sldMk cId="3069574028" sldId="2147138122"/>
            <ac:spMk id="2" creationId="{62E73163-1B94-708C-37BC-35D761D25724}"/>
          </ac:spMkLst>
        </pc:spChg>
        <pc:spChg chg="add del mod ord">
          <ac:chgData name="Oehrli, Stefan" userId="3f36891e-f853-43e7-bcbc-2879a2513833" providerId="ADAL" clId="{09BEBDDE-AF5B-9146-8B18-471724E5E3DD}" dt="2023-11-21T04:12:52.246" v="1721" actId="700"/>
          <ac:spMkLst>
            <pc:docMk/>
            <pc:sldMk cId="3069574028" sldId="2147138122"/>
            <ac:spMk id="3" creationId="{AC13F4CD-BC00-D570-B046-2D48E7E39415}"/>
          </ac:spMkLst>
        </pc:spChg>
        <pc:spChg chg="mod ord">
          <ac:chgData name="Oehrli, Stefan" userId="3f36891e-f853-43e7-bcbc-2879a2513833" providerId="ADAL" clId="{09BEBDDE-AF5B-9146-8B18-471724E5E3DD}" dt="2023-11-21T04:41:25.159" v="1735" actId="20577"/>
          <ac:spMkLst>
            <pc:docMk/>
            <pc:sldMk cId="3069574028" sldId="2147138122"/>
            <ac:spMk id="4" creationId="{FFAFCD88-0E5D-281C-5604-87E09897D04C}"/>
          </ac:spMkLst>
        </pc:spChg>
        <pc:spChg chg="mod ord">
          <ac:chgData name="Oehrli, Stefan" userId="3f36891e-f853-43e7-bcbc-2879a2513833" providerId="ADAL" clId="{09BEBDDE-AF5B-9146-8B18-471724E5E3DD}" dt="2023-11-21T04:12:52.246" v="1721" actId="700"/>
          <ac:spMkLst>
            <pc:docMk/>
            <pc:sldMk cId="3069574028" sldId="2147138122"/>
            <ac:spMk id="5" creationId="{A0A79A1A-7907-B696-6A7F-004778F6F9C4}"/>
          </ac:spMkLst>
        </pc:spChg>
        <pc:spChg chg="mod ord">
          <ac:chgData name="Oehrli, Stefan" userId="3f36891e-f853-43e7-bcbc-2879a2513833" providerId="ADAL" clId="{09BEBDDE-AF5B-9146-8B18-471724E5E3DD}" dt="2023-11-21T04:12:52.246" v="1721" actId="700"/>
          <ac:spMkLst>
            <pc:docMk/>
            <pc:sldMk cId="3069574028" sldId="2147138122"/>
            <ac:spMk id="6" creationId="{1C10A12B-6A1A-FDD8-47DB-B11161F50D6D}"/>
          </ac:spMkLst>
        </pc:spChg>
        <pc:spChg chg="add mod ord">
          <ac:chgData name="Oehrli, Stefan" userId="3f36891e-f853-43e7-bcbc-2879a2513833" providerId="ADAL" clId="{09BEBDDE-AF5B-9146-8B18-471724E5E3DD}" dt="2023-11-21T04:43:07.027" v="1797" actId="113"/>
          <ac:spMkLst>
            <pc:docMk/>
            <pc:sldMk cId="3069574028" sldId="2147138122"/>
            <ac:spMk id="7" creationId="{AEFEA64C-4A2E-B929-4793-FB0973DFD19B}"/>
          </ac:spMkLst>
        </pc:spChg>
        <pc:spChg chg="add mod ord">
          <ac:chgData name="Oehrli, Stefan" userId="3f36891e-f853-43e7-bcbc-2879a2513833" providerId="ADAL" clId="{09BEBDDE-AF5B-9146-8B18-471724E5E3DD}" dt="2023-11-21T04:43:10.214" v="1798" actId="113"/>
          <ac:spMkLst>
            <pc:docMk/>
            <pc:sldMk cId="3069574028" sldId="2147138122"/>
            <ac:spMk id="8" creationId="{C3813C3A-9C3B-3133-5893-052CB15DC1E0}"/>
          </ac:spMkLst>
        </pc:spChg>
        <pc:picChg chg="add del mod">
          <ac:chgData name="Oehrli, Stefan" userId="3f36891e-f853-43e7-bcbc-2879a2513833" providerId="ADAL" clId="{09BEBDDE-AF5B-9146-8B18-471724E5E3DD}" dt="2023-11-21T04:39:57.856" v="1727" actId="478"/>
          <ac:picMkLst>
            <pc:docMk/>
            <pc:sldMk cId="3069574028" sldId="2147138122"/>
            <ac:picMk id="9" creationId="{E169D652-E9FE-61A4-4C3F-2838160AF862}"/>
          </ac:picMkLst>
        </pc:picChg>
        <pc:picChg chg="add del mod">
          <ac:chgData name="Oehrli, Stefan" userId="3f36891e-f853-43e7-bcbc-2879a2513833" providerId="ADAL" clId="{09BEBDDE-AF5B-9146-8B18-471724E5E3DD}" dt="2023-11-21T04:45:59.982" v="1805" actId="478"/>
          <ac:picMkLst>
            <pc:docMk/>
            <pc:sldMk cId="3069574028" sldId="2147138122"/>
            <ac:picMk id="10" creationId="{4832F601-5FFC-A7C6-693E-21A1D0649CA2}"/>
          </ac:picMkLst>
        </pc:picChg>
        <pc:picChg chg="add mod">
          <ac:chgData name="Oehrli, Stefan" userId="3f36891e-f853-43e7-bcbc-2879a2513833" providerId="ADAL" clId="{09BEBDDE-AF5B-9146-8B18-471724E5E3DD}" dt="2023-11-21T04:46:05.856" v="1810" actId="1076"/>
          <ac:picMkLst>
            <pc:docMk/>
            <pc:sldMk cId="3069574028" sldId="2147138122"/>
            <ac:picMk id="11" creationId="{8FD42AF6-F68D-4B8D-08D0-D7C2DC16CE19}"/>
          </ac:picMkLst>
        </pc:picChg>
        <pc:picChg chg="add mod">
          <ac:chgData name="Oehrli, Stefan" userId="3f36891e-f853-43e7-bcbc-2879a2513833" providerId="ADAL" clId="{09BEBDDE-AF5B-9146-8B18-471724E5E3DD}" dt="2023-11-21T04:46:27.341" v="1818" actId="1036"/>
          <ac:picMkLst>
            <pc:docMk/>
            <pc:sldMk cId="3069574028" sldId="2147138122"/>
            <ac:picMk id="12" creationId="{2C634B4B-70C2-981D-E089-BEE9753B0BFD}"/>
          </ac:picMkLst>
        </pc:picChg>
        <pc:picChg chg="add del mod">
          <ac:chgData name="Oehrli, Stefan" userId="3f36891e-f853-43e7-bcbc-2879a2513833" providerId="ADAL" clId="{09BEBDDE-AF5B-9146-8B18-471724E5E3DD}" dt="2023-11-21T04:09:38.058" v="1707"/>
          <ac:picMkLst>
            <pc:docMk/>
            <pc:sldMk cId="3069574028" sldId="2147138122"/>
            <ac:picMk id="5122" creationId="{40CE46AB-4DE3-1D90-0550-4B571D6C457A}"/>
          </ac:picMkLst>
        </pc:picChg>
      </pc:sldChg>
      <pc:sldChg chg="addSp delSp modSp new del">
        <pc:chgData name="Oehrli, Stefan" userId="3f36891e-f853-43e7-bcbc-2879a2513833" providerId="ADAL" clId="{09BEBDDE-AF5B-9146-8B18-471724E5E3DD}" dt="2023-11-21T03:58:22.145" v="1660" actId="2696"/>
        <pc:sldMkLst>
          <pc:docMk/>
          <pc:sldMk cId="3373334715" sldId="2147138122"/>
        </pc:sldMkLst>
        <pc:spChg chg="del">
          <ac:chgData name="Oehrli, Stefan" userId="3f36891e-f853-43e7-bcbc-2879a2513833" providerId="ADAL" clId="{09BEBDDE-AF5B-9146-8B18-471724E5E3DD}" dt="2023-11-21T03:50:39.656" v="1544"/>
          <ac:spMkLst>
            <pc:docMk/>
            <pc:sldMk cId="3373334715" sldId="2147138122"/>
            <ac:spMk id="3" creationId="{4F8A4754-5958-F4EF-0AC1-1A22553A63A8}"/>
          </ac:spMkLst>
        </pc:spChg>
        <pc:picChg chg="add mod">
          <ac:chgData name="Oehrli, Stefan" userId="3f36891e-f853-43e7-bcbc-2879a2513833" providerId="ADAL" clId="{09BEBDDE-AF5B-9146-8B18-471724E5E3DD}" dt="2023-11-21T03:50:39.656" v="1544"/>
          <ac:picMkLst>
            <pc:docMk/>
            <pc:sldMk cId="3373334715" sldId="2147138122"/>
            <ac:picMk id="8" creationId="{91DDAF12-899A-9552-C897-5A5BD740F054}"/>
          </ac:picMkLst>
        </pc:picChg>
      </pc:sldChg>
      <pc:sldChg chg="addSp delSp modSp new mod modAnim">
        <pc:chgData name="Oehrli, Stefan" userId="3f36891e-f853-43e7-bcbc-2879a2513833" providerId="ADAL" clId="{09BEBDDE-AF5B-9146-8B18-471724E5E3DD}" dt="2023-11-21T05:10:27.359" v="2184" actId="20577"/>
        <pc:sldMkLst>
          <pc:docMk/>
          <pc:sldMk cId="764597068" sldId="2147138123"/>
        </pc:sldMkLst>
        <pc:spChg chg="mod">
          <ac:chgData name="Oehrli, Stefan" userId="3f36891e-f853-43e7-bcbc-2879a2513833" providerId="ADAL" clId="{09BEBDDE-AF5B-9146-8B18-471724E5E3DD}" dt="2023-11-21T04:49:47.067" v="1879" actId="20577"/>
          <ac:spMkLst>
            <pc:docMk/>
            <pc:sldMk cId="764597068" sldId="2147138123"/>
            <ac:spMk id="2" creationId="{93173BB2-FF72-F38D-B305-3AAB3F55CE4F}"/>
          </ac:spMkLst>
        </pc:spChg>
        <pc:spChg chg="mod">
          <ac:chgData name="Oehrli, Stefan" userId="3f36891e-f853-43e7-bcbc-2879a2513833" providerId="ADAL" clId="{09BEBDDE-AF5B-9146-8B18-471724E5E3DD}" dt="2023-11-21T05:10:27.359" v="2184" actId="20577"/>
          <ac:spMkLst>
            <pc:docMk/>
            <pc:sldMk cId="764597068" sldId="2147138123"/>
            <ac:spMk id="3" creationId="{A52441E0-7614-B876-9C6E-6749BDE4FF10}"/>
          </ac:spMkLst>
        </pc:spChg>
        <pc:spChg chg="mod">
          <ac:chgData name="Oehrli, Stefan" userId="3f36891e-f853-43e7-bcbc-2879a2513833" providerId="ADAL" clId="{09BEBDDE-AF5B-9146-8B18-471724E5E3DD}" dt="2023-11-21T04:49:16.812" v="1868" actId="20577"/>
          <ac:spMkLst>
            <pc:docMk/>
            <pc:sldMk cId="764597068" sldId="2147138123"/>
            <ac:spMk id="4" creationId="{BD29FBB0-F567-7177-2760-3FC112794BAB}"/>
          </ac:spMkLst>
        </pc:spChg>
        <pc:spChg chg="mod">
          <ac:chgData name="Oehrli, Stefan" userId="3f36891e-f853-43e7-bcbc-2879a2513833" providerId="ADAL" clId="{09BEBDDE-AF5B-9146-8B18-471724E5E3DD}" dt="2023-11-21T04:53:27.314" v="1894"/>
          <ac:spMkLst>
            <pc:docMk/>
            <pc:sldMk cId="764597068" sldId="2147138123"/>
            <ac:spMk id="6" creationId="{4FB5419F-40C9-65FD-1092-DD0D29B147CE}"/>
          </ac:spMkLst>
        </pc:spChg>
        <pc:picChg chg="add del mod">
          <ac:chgData name="Oehrli, Stefan" userId="3f36891e-f853-43e7-bcbc-2879a2513833" providerId="ADAL" clId="{09BEBDDE-AF5B-9146-8B18-471724E5E3DD}" dt="2023-11-21T04:48:16.141" v="1843"/>
          <ac:picMkLst>
            <pc:docMk/>
            <pc:sldMk cId="764597068" sldId="2147138123"/>
            <ac:picMk id="6146" creationId="{E6001A0F-EFAC-1722-10AA-D98B2C57EF3F}"/>
          </ac:picMkLst>
        </pc:picChg>
        <pc:picChg chg="add mod">
          <ac:chgData name="Oehrli, Stefan" userId="3f36891e-f853-43e7-bcbc-2879a2513833" providerId="ADAL" clId="{09BEBDDE-AF5B-9146-8B18-471724E5E3DD}" dt="2023-11-21T04:48:30.487" v="1854" actId="1440"/>
          <ac:picMkLst>
            <pc:docMk/>
            <pc:sldMk cId="764597068" sldId="2147138123"/>
            <ac:picMk id="6148" creationId="{89F8648E-6EEF-ED5E-D97D-D8B7DBD8D58A}"/>
          </ac:picMkLst>
        </pc:picChg>
      </pc:sldChg>
      <pc:sldChg chg="new del">
        <pc:chgData name="Oehrli, Stefan" userId="3f36891e-f853-43e7-bcbc-2879a2513833" providerId="ADAL" clId="{09BEBDDE-AF5B-9146-8B18-471724E5E3DD}" dt="2023-11-21T03:50:10.780" v="1543" actId="2696"/>
        <pc:sldMkLst>
          <pc:docMk/>
          <pc:sldMk cId="3515238191" sldId="2147138123"/>
        </pc:sldMkLst>
      </pc:sldChg>
      <pc:sldChg chg="modSp add mod">
        <pc:chgData name="Oehrli, Stefan" userId="3f36891e-f853-43e7-bcbc-2879a2513833" providerId="ADAL" clId="{09BEBDDE-AF5B-9146-8B18-471724E5E3DD}" dt="2023-11-21T05:33:46.514" v="2686"/>
        <pc:sldMkLst>
          <pc:docMk/>
          <pc:sldMk cId="2147595729" sldId="2147138181"/>
        </pc:sldMkLst>
        <pc:spChg chg="mod">
          <ac:chgData name="Oehrli, Stefan" userId="3f36891e-f853-43e7-bcbc-2879a2513833" providerId="ADAL" clId="{09BEBDDE-AF5B-9146-8B18-471724E5E3DD}" dt="2023-11-21T05:28:44.469" v="2576"/>
          <ac:spMkLst>
            <pc:docMk/>
            <pc:sldMk cId="2147595729" sldId="2147138181"/>
            <ac:spMk id="7" creationId="{F49A733B-B185-4709-5A80-3E1F17C8C916}"/>
          </ac:spMkLst>
        </pc:spChg>
        <pc:spChg chg="mod">
          <ac:chgData name="Oehrli, Stefan" userId="3f36891e-f853-43e7-bcbc-2879a2513833" providerId="ADAL" clId="{09BEBDDE-AF5B-9146-8B18-471724E5E3DD}" dt="2023-11-21T05:29:22.385" v="2625" actId="20577"/>
          <ac:spMkLst>
            <pc:docMk/>
            <pc:sldMk cId="2147595729" sldId="2147138181"/>
            <ac:spMk id="8" creationId="{D98EAEC6-8BCA-19B6-01C7-301242300258}"/>
          </ac:spMkLst>
        </pc:spChg>
        <pc:spChg chg="mod">
          <ac:chgData name="Oehrli, Stefan" userId="3f36891e-f853-43e7-bcbc-2879a2513833" providerId="ADAL" clId="{09BEBDDE-AF5B-9146-8B18-471724E5E3DD}" dt="2023-11-21T05:33:46.514" v="2686"/>
          <ac:spMkLst>
            <pc:docMk/>
            <pc:sldMk cId="2147595729" sldId="2147138181"/>
            <ac:spMk id="9" creationId="{B8094804-B49D-7A28-E44A-3540F234031C}"/>
          </ac:spMkLst>
        </pc:spChg>
        <pc:spChg chg="mod">
          <ac:chgData name="Oehrli, Stefan" userId="3f36891e-f853-43e7-bcbc-2879a2513833" providerId="ADAL" clId="{09BEBDDE-AF5B-9146-8B18-471724E5E3DD}" dt="2023-11-21T05:31:47.288" v="2683" actId="14100"/>
          <ac:spMkLst>
            <pc:docMk/>
            <pc:sldMk cId="2147595729" sldId="2147138181"/>
            <ac:spMk id="10" creationId="{149A24A5-33B8-6C9D-DFCA-9F0F82CA298D}"/>
          </ac:spMkLst>
        </pc:spChg>
        <pc:spChg chg="mod">
          <ac:chgData name="Oehrli, Stefan" userId="3f36891e-f853-43e7-bcbc-2879a2513833" providerId="ADAL" clId="{09BEBDDE-AF5B-9146-8B18-471724E5E3DD}" dt="2023-11-21T05:29:26.401" v="2626" actId="14100"/>
          <ac:spMkLst>
            <pc:docMk/>
            <pc:sldMk cId="2147595729" sldId="2147138181"/>
            <ac:spMk id="11" creationId="{926D7446-2477-F7F5-2BDC-681F76FBB01C}"/>
          </ac:spMkLst>
        </pc:spChg>
        <pc:spChg chg="mod">
          <ac:chgData name="Oehrli, Stefan" userId="3f36891e-f853-43e7-bcbc-2879a2513833" providerId="ADAL" clId="{09BEBDDE-AF5B-9146-8B18-471724E5E3DD}" dt="2023-11-21T05:31:52.040" v="2685" actId="1076"/>
          <ac:spMkLst>
            <pc:docMk/>
            <pc:sldMk cId="2147595729" sldId="2147138181"/>
            <ac:spMk id="12" creationId="{E7B67226-0BC5-D209-C4F7-0C51409AA094}"/>
          </ac:spMkLst>
        </pc:spChg>
      </pc:sldChg>
      <pc:sldChg chg="addSp modSp add mod">
        <pc:chgData name="Oehrli, Stefan" userId="3f36891e-f853-43e7-bcbc-2879a2513833" providerId="ADAL" clId="{09BEBDDE-AF5B-9146-8B18-471724E5E3DD}" dt="2023-11-21T05:56:14.060" v="3304"/>
        <pc:sldMkLst>
          <pc:docMk/>
          <pc:sldMk cId="2709564194" sldId="2147138182"/>
        </pc:sldMkLst>
        <pc:spChg chg="add mod">
          <ac:chgData name="Oehrli, Stefan" userId="3f36891e-f853-43e7-bcbc-2879a2513833" providerId="ADAL" clId="{09BEBDDE-AF5B-9146-8B18-471724E5E3DD}" dt="2023-11-21T05:56:14.060" v="3304"/>
          <ac:spMkLst>
            <pc:docMk/>
            <pc:sldMk cId="2709564194" sldId="2147138182"/>
            <ac:spMk id="2" creationId="{D914D4C2-B808-80B7-6D20-FF7ED9E56333}"/>
          </ac:spMkLst>
        </pc:spChg>
        <pc:spChg chg="mod">
          <ac:chgData name="Oehrli, Stefan" userId="3f36891e-f853-43e7-bcbc-2879a2513833" providerId="ADAL" clId="{09BEBDDE-AF5B-9146-8B18-471724E5E3DD}" dt="2023-11-21T05:53:57.867" v="3177"/>
          <ac:spMkLst>
            <pc:docMk/>
            <pc:sldMk cId="2709564194" sldId="2147138182"/>
            <ac:spMk id="10" creationId="{B9480EA0-9DBE-A72B-236B-1BC6DB618B0A}"/>
          </ac:spMkLst>
        </pc:spChg>
        <pc:spChg chg="mod">
          <ac:chgData name="Oehrli, Stefan" userId="3f36891e-f853-43e7-bcbc-2879a2513833" providerId="ADAL" clId="{09BEBDDE-AF5B-9146-8B18-471724E5E3DD}" dt="2023-11-21T05:54:24.165" v="3210" actId="14100"/>
          <ac:spMkLst>
            <pc:docMk/>
            <pc:sldMk cId="2709564194" sldId="2147138182"/>
            <ac:spMk id="11" creationId="{415B4406-FA99-D570-AD52-CED2E4B840A4}"/>
          </ac:spMkLst>
        </pc:spChg>
        <pc:spChg chg="mod">
          <ac:chgData name="Oehrli, Stefan" userId="3f36891e-f853-43e7-bcbc-2879a2513833" providerId="ADAL" clId="{09BEBDDE-AF5B-9146-8B18-471724E5E3DD}" dt="2023-11-21T05:54:03.444" v="3179" actId="20577"/>
          <ac:spMkLst>
            <pc:docMk/>
            <pc:sldMk cId="2709564194" sldId="2147138182"/>
            <ac:spMk id="12" creationId="{74E927DB-7412-F646-06AF-F4CA9770700D}"/>
          </ac:spMkLst>
        </pc:spChg>
        <pc:spChg chg="mod">
          <ac:chgData name="Oehrli, Stefan" userId="3f36891e-f853-43e7-bcbc-2879a2513833" providerId="ADAL" clId="{09BEBDDE-AF5B-9146-8B18-471724E5E3DD}" dt="2023-11-21T05:55:30.070" v="3215" actId="14100"/>
          <ac:spMkLst>
            <pc:docMk/>
            <pc:sldMk cId="2709564194" sldId="2147138182"/>
            <ac:spMk id="13" creationId="{F60375B8-9360-50A7-52F6-F169C3D8D243}"/>
          </ac:spMkLst>
        </pc:spChg>
      </pc:sldChg>
      <pc:sldChg chg="modSp new mod">
        <pc:chgData name="Oehrli, Stefan" userId="3f36891e-f853-43e7-bcbc-2879a2513833" providerId="ADAL" clId="{09BEBDDE-AF5B-9146-8B18-471724E5E3DD}" dt="2023-11-21T05:40:44.797" v="2840" actId="1076"/>
        <pc:sldMkLst>
          <pc:docMk/>
          <pc:sldMk cId="608967408" sldId="2147138183"/>
        </pc:sldMkLst>
        <pc:spChg chg="mod">
          <ac:chgData name="Oehrli, Stefan" userId="3f36891e-f853-43e7-bcbc-2879a2513833" providerId="ADAL" clId="{09BEBDDE-AF5B-9146-8B18-471724E5E3DD}" dt="2023-11-21T05:34:29.470" v="2708"/>
          <ac:spMkLst>
            <pc:docMk/>
            <pc:sldMk cId="608967408" sldId="2147138183"/>
            <ac:spMk id="2" creationId="{F47209B2-D914-51F2-4538-7F4C74C08F2C}"/>
          </ac:spMkLst>
        </pc:spChg>
        <pc:spChg chg="mod">
          <ac:chgData name="Oehrli, Stefan" userId="3f36891e-f853-43e7-bcbc-2879a2513833" providerId="ADAL" clId="{09BEBDDE-AF5B-9146-8B18-471724E5E3DD}" dt="2023-11-21T05:34:54.826" v="2759" actId="14100"/>
          <ac:spMkLst>
            <pc:docMk/>
            <pc:sldMk cId="608967408" sldId="2147138183"/>
            <ac:spMk id="3" creationId="{A7D7D1A1-BE62-160F-DDAD-CA75BFD7B4F1}"/>
          </ac:spMkLst>
        </pc:spChg>
        <pc:spChg chg="mod">
          <ac:chgData name="Oehrli, Stefan" userId="3f36891e-f853-43e7-bcbc-2879a2513833" providerId="ADAL" clId="{09BEBDDE-AF5B-9146-8B18-471724E5E3DD}" dt="2023-11-21T05:34:34.936" v="2710" actId="20577"/>
          <ac:spMkLst>
            <pc:docMk/>
            <pc:sldMk cId="608967408" sldId="2147138183"/>
            <ac:spMk id="4" creationId="{5CDCC8FD-22A4-8E0B-AD59-FF4E0FD3C3AB}"/>
          </ac:spMkLst>
        </pc:spChg>
        <pc:spChg chg="mod">
          <ac:chgData name="Oehrli, Stefan" userId="3f36891e-f853-43e7-bcbc-2879a2513833" providerId="ADAL" clId="{09BEBDDE-AF5B-9146-8B18-471724E5E3DD}" dt="2023-11-21T05:37:28.109" v="2838" actId="1076"/>
          <ac:spMkLst>
            <pc:docMk/>
            <pc:sldMk cId="608967408" sldId="2147138183"/>
            <ac:spMk id="7" creationId="{38039909-5DC4-F701-04DE-AC87871C99AF}"/>
          </ac:spMkLst>
        </pc:spChg>
        <pc:spChg chg="mod">
          <ac:chgData name="Oehrli, Stefan" userId="3f36891e-f853-43e7-bcbc-2879a2513833" providerId="ADAL" clId="{09BEBDDE-AF5B-9146-8B18-471724E5E3DD}" dt="2023-11-21T05:37:32.220" v="2839" actId="14100"/>
          <ac:spMkLst>
            <pc:docMk/>
            <pc:sldMk cId="608967408" sldId="2147138183"/>
            <ac:spMk id="8" creationId="{F722C1A2-8CB2-3FD8-BDA6-16F5D4E58EC0}"/>
          </ac:spMkLst>
        </pc:spChg>
        <pc:spChg chg="mod">
          <ac:chgData name="Oehrli, Stefan" userId="3f36891e-f853-43e7-bcbc-2879a2513833" providerId="ADAL" clId="{09BEBDDE-AF5B-9146-8B18-471724E5E3DD}" dt="2023-11-21T05:40:44.797" v="2840" actId="1076"/>
          <ac:spMkLst>
            <pc:docMk/>
            <pc:sldMk cId="608967408" sldId="2147138183"/>
            <ac:spMk id="9" creationId="{A5FD1EC3-8C8F-520F-79AC-71B74C027B3C}"/>
          </ac:spMkLst>
        </pc:spChg>
      </pc:sldChg>
      <pc:sldChg chg="addSp delSp modSp new mod">
        <pc:chgData name="Oehrli, Stefan" userId="3f36891e-f853-43e7-bcbc-2879a2513833" providerId="ADAL" clId="{09BEBDDE-AF5B-9146-8B18-471724E5E3DD}" dt="2023-11-21T05:48:14.854" v="3026" actId="20577"/>
        <pc:sldMkLst>
          <pc:docMk/>
          <pc:sldMk cId="1555260919" sldId="2147138184"/>
        </pc:sldMkLst>
        <pc:spChg chg="mod">
          <ac:chgData name="Oehrli, Stefan" userId="3f36891e-f853-43e7-bcbc-2879a2513833" providerId="ADAL" clId="{09BEBDDE-AF5B-9146-8B18-471724E5E3DD}" dt="2023-11-21T05:42:41.869" v="2850"/>
          <ac:spMkLst>
            <pc:docMk/>
            <pc:sldMk cId="1555260919" sldId="2147138184"/>
            <ac:spMk id="2" creationId="{923A2719-33E7-55FD-BAE3-0EC137C47FAF}"/>
          </ac:spMkLst>
        </pc:spChg>
        <pc:spChg chg="mod">
          <ac:chgData name="Oehrli, Stefan" userId="3f36891e-f853-43e7-bcbc-2879a2513833" providerId="ADAL" clId="{09BEBDDE-AF5B-9146-8B18-471724E5E3DD}" dt="2023-11-21T05:43:03.209" v="2886" actId="14100"/>
          <ac:spMkLst>
            <pc:docMk/>
            <pc:sldMk cId="1555260919" sldId="2147138184"/>
            <ac:spMk id="3" creationId="{2819C6C8-C472-2DC4-0509-B769C28F8CDB}"/>
          </ac:spMkLst>
        </pc:spChg>
        <pc:spChg chg="mod">
          <ac:chgData name="Oehrli, Stefan" userId="3f36891e-f853-43e7-bcbc-2879a2513833" providerId="ADAL" clId="{09BEBDDE-AF5B-9146-8B18-471724E5E3DD}" dt="2023-11-21T05:42:48.067" v="2852" actId="20577"/>
          <ac:spMkLst>
            <pc:docMk/>
            <pc:sldMk cId="1555260919" sldId="2147138184"/>
            <ac:spMk id="4" creationId="{8AAD9335-92EB-C815-224E-70066C914AB4}"/>
          </ac:spMkLst>
        </pc:spChg>
        <pc:spChg chg="mod">
          <ac:chgData name="Oehrli, Stefan" userId="3f36891e-f853-43e7-bcbc-2879a2513833" providerId="ADAL" clId="{09BEBDDE-AF5B-9146-8B18-471724E5E3DD}" dt="2023-11-21T05:43:51.617" v="2936" actId="1076"/>
          <ac:spMkLst>
            <pc:docMk/>
            <pc:sldMk cId="1555260919" sldId="2147138184"/>
            <ac:spMk id="7" creationId="{28301F9C-3BC5-4E70-E798-81625D685A23}"/>
          </ac:spMkLst>
        </pc:spChg>
        <pc:spChg chg="mod">
          <ac:chgData name="Oehrli, Stefan" userId="3f36891e-f853-43e7-bcbc-2879a2513833" providerId="ADAL" clId="{09BEBDDE-AF5B-9146-8B18-471724E5E3DD}" dt="2023-11-21T05:45:41.914" v="2968" actId="14100"/>
          <ac:spMkLst>
            <pc:docMk/>
            <pc:sldMk cId="1555260919" sldId="2147138184"/>
            <ac:spMk id="8" creationId="{74391E79-CCE6-C7C0-DA18-A17EC1C529D0}"/>
          </ac:spMkLst>
        </pc:spChg>
        <pc:spChg chg="mod">
          <ac:chgData name="Oehrli, Stefan" userId="3f36891e-f853-43e7-bcbc-2879a2513833" providerId="ADAL" clId="{09BEBDDE-AF5B-9146-8B18-471724E5E3DD}" dt="2023-11-21T05:45:42.658" v="2969" actId="14100"/>
          <ac:spMkLst>
            <pc:docMk/>
            <pc:sldMk cId="1555260919" sldId="2147138184"/>
            <ac:spMk id="9" creationId="{176B216C-E6F5-0248-3FBF-FF83F7C2E6C5}"/>
          </ac:spMkLst>
        </pc:spChg>
        <pc:spChg chg="add mod">
          <ac:chgData name="Oehrli, Stefan" userId="3f36891e-f853-43e7-bcbc-2879a2513833" providerId="ADAL" clId="{09BEBDDE-AF5B-9146-8B18-471724E5E3DD}" dt="2023-11-21T05:48:14.854" v="3026" actId="20577"/>
          <ac:spMkLst>
            <pc:docMk/>
            <pc:sldMk cId="1555260919" sldId="2147138184"/>
            <ac:spMk id="10" creationId="{15F76C95-D01A-E35A-D434-8A2027B6F2B0}"/>
          </ac:spMkLst>
        </pc:spChg>
        <pc:spChg chg="add del mod">
          <ac:chgData name="Oehrli, Stefan" userId="3f36891e-f853-43e7-bcbc-2879a2513833" providerId="ADAL" clId="{09BEBDDE-AF5B-9146-8B18-471724E5E3DD}" dt="2023-11-21T05:47:49.263" v="2991" actId="478"/>
          <ac:spMkLst>
            <pc:docMk/>
            <pc:sldMk cId="1555260919" sldId="2147138184"/>
            <ac:spMk id="11" creationId="{FD65105F-BF67-FF13-53C9-CC3DBCBF2452}"/>
          </ac:spMkLst>
        </pc:spChg>
      </pc:sldChg>
      <pc:sldChg chg="addSp delSp modSp new mod">
        <pc:chgData name="Oehrli, Stefan" userId="3f36891e-f853-43e7-bcbc-2879a2513833" providerId="ADAL" clId="{09BEBDDE-AF5B-9146-8B18-471724E5E3DD}" dt="2023-11-21T10:32:24.162" v="7092" actId="20577"/>
        <pc:sldMkLst>
          <pc:docMk/>
          <pc:sldMk cId="359752795" sldId="2147138185"/>
        </pc:sldMkLst>
        <pc:spChg chg="mod">
          <ac:chgData name="Oehrli, Stefan" userId="3f36891e-f853-43e7-bcbc-2879a2513833" providerId="ADAL" clId="{09BEBDDE-AF5B-9146-8B18-471724E5E3DD}" dt="2023-11-21T05:49:08.160" v="3028"/>
          <ac:spMkLst>
            <pc:docMk/>
            <pc:sldMk cId="359752795" sldId="2147138185"/>
            <ac:spMk id="2" creationId="{F4C7841E-58C0-27B4-A3C1-63E546F70D19}"/>
          </ac:spMkLst>
        </pc:spChg>
        <pc:spChg chg="mod">
          <ac:chgData name="Oehrli, Stefan" userId="3f36891e-f853-43e7-bcbc-2879a2513833" providerId="ADAL" clId="{09BEBDDE-AF5B-9146-8B18-471724E5E3DD}" dt="2023-11-21T05:53:15.281" v="3118" actId="14100"/>
          <ac:spMkLst>
            <pc:docMk/>
            <pc:sldMk cId="359752795" sldId="2147138185"/>
            <ac:spMk id="3" creationId="{BCDD5297-0405-9219-1F8C-D2FECB445D68}"/>
          </ac:spMkLst>
        </pc:spChg>
        <pc:spChg chg="mod">
          <ac:chgData name="Oehrli, Stefan" userId="3f36891e-f853-43e7-bcbc-2879a2513833" providerId="ADAL" clId="{09BEBDDE-AF5B-9146-8B18-471724E5E3DD}" dt="2023-11-21T05:49:14.605" v="3030" actId="20577"/>
          <ac:spMkLst>
            <pc:docMk/>
            <pc:sldMk cId="359752795" sldId="2147138185"/>
            <ac:spMk id="4" creationId="{3479D3A0-E417-D2A3-D37F-4729F8076F7C}"/>
          </ac:spMkLst>
        </pc:spChg>
        <pc:spChg chg="add del mod">
          <ac:chgData name="Oehrli, Stefan" userId="3f36891e-f853-43e7-bcbc-2879a2513833" providerId="ADAL" clId="{09BEBDDE-AF5B-9146-8B18-471724E5E3DD}" dt="2023-11-21T10:32:24.162" v="7092" actId="20577"/>
          <ac:spMkLst>
            <pc:docMk/>
            <pc:sldMk cId="359752795" sldId="2147138185"/>
            <ac:spMk id="7" creationId="{F63E5CBE-332D-120C-3EA6-36A03230EE0A}"/>
          </ac:spMkLst>
        </pc:spChg>
        <pc:spChg chg="mod">
          <ac:chgData name="Oehrli, Stefan" userId="3f36891e-f853-43e7-bcbc-2879a2513833" providerId="ADAL" clId="{09BEBDDE-AF5B-9146-8B18-471724E5E3DD}" dt="2023-11-21T05:53:18.643" v="3119" actId="1076"/>
          <ac:spMkLst>
            <pc:docMk/>
            <pc:sldMk cId="359752795" sldId="2147138185"/>
            <ac:spMk id="8" creationId="{FEEC9AB0-CCA6-525D-E878-7FA4B450EEC4}"/>
          </ac:spMkLst>
        </pc:spChg>
        <pc:spChg chg="del mod">
          <ac:chgData name="Oehrli, Stefan" userId="3f36891e-f853-43e7-bcbc-2879a2513833" providerId="ADAL" clId="{09BEBDDE-AF5B-9146-8B18-471724E5E3DD}" dt="2023-11-21T05:53:21.798" v="3120" actId="478"/>
          <ac:spMkLst>
            <pc:docMk/>
            <pc:sldMk cId="359752795" sldId="2147138185"/>
            <ac:spMk id="9" creationId="{5F8FE063-F2E0-7095-A8A8-CF85D259D24E}"/>
          </ac:spMkLst>
        </pc:spChg>
      </pc:sldChg>
      <pc:sldChg chg="addSp delSp modSp new mod ord">
        <pc:chgData name="Oehrli, Stefan" userId="3f36891e-f853-43e7-bcbc-2879a2513833" providerId="ADAL" clId="{09BEBDDE-AF5B-9146-8B18-471724E5E3DD}" dt="2023-11-21T06:11:53.658" v="3596" actId="20578"/>
        <pc:sldMkLst>
          <pc:docMk/>
          <pc:sldMk cId="47853685" sldId="2147138186"/>
        </pc:sldMkLst>
        <pc:spChg chg="mod">
          <ac:chgData name="Oehrli, Stefan" userId="3f36891e-f853-43e7-bcbc-2879a2513833" providerId="ADAL" clId="{09BEBDDE-AF5B-9146-8B18-471724E5E3DD}" dt="2023-11-21T05:59:10.608" v="3329" actId="20577"/>
          <ac:spMkLst>
            <pc:docMk/>
            <pc:sldMk cId="47853685" sldId="2147138186"/>
            <ac:spMk id="2" creationId="{BA7E7B1B-0CB1-85FD-D899-8073B7E44EA2}"/>
          </ac:spMkLst>
        </pc:spChg>
        <pc:spChg chg="del mod">
          <ac:chgData name="Oehrli, Stefan" userId="3f36891e-f853-43e7-bcbc-2879a2513833" providerId="ADAL" clId="{09BEBDDE-AF5B-9146-8B18-471724E5E3DD}" dt="2023-11-21T05:58:57.925" v="3314"/>
          <ac:spMkLst>
            <pc:docMk/>
            <pc:sldMk cId="47853685" sldId="2147138186"/>
            <ac:spMk id="3" creationId="{022BC624-D2EB-494F-2308-84C780AAA9C0}"/>
          </ac:spMkLst>
        </pc:spChg>
        <pc:spChg chg="mod">
          <ac:chgData name="Oehrli, Stefan" userId="3f36891e-f853-43e7-bcbc-2879a2513833" providerId="ADAL" clId="{09BEBDDE-AF5B-9146-8B18-471724E5E3DD}" dt="2023-11-21T05:59:32.995" v="3331" actId="20577"/>
          <ac:spMkLst>
            <pc:docMk/>
            <pc:sldMk cId="47853685" sldId="2147138186"/>
            <ac:spMk id="4" creationId="{D296051F-462C-BFA9-2716-E38FB3C5D933}"/>
          </ac:spMkLst>
        </pc:spChg>
        <pc:picChg chg="add mod">
          <ac:chgData name="Oehrli, Stefan" userId="3f36891e-f853-43e7-bcbc-2879a2513833" providerId="ADAL" clId="{09BEBDDE-AF5B-9146-8B18-471724E5E3DD}" dt="2023-11-21T05:58:57.925" v="3314"/>
          <ac:picMkLst>
            <pc:docMk/>
            <pc:sldMk cId="47853685" sldId="2147138186"/>
            <ac:picMk id="7" creationId="{C03D7ED1-049D-126A-B88D-196C2D20CE88}"/>
          </ac:picMkLst>
        </pc:picChg>
      </pc:sldChg>
      <pc:sldChg chg="addSp modSp new mod modAnim">
        <pc:chgData name="Oehrli, Stefan" userId="3f36891e-f853-43e7-bcbc-2879a2513833" providerId="ADAL" clId="{09BEBDDE-AF5B-9146-8B18-471724E5E3DD}" dt="2023-11-21T08:29:35.849" v="4619" actId="20577"/>
        <pc:sldMkLst>
          <pc:docMk/>
          <pc:sldMk cId="3736502658" sldId="2147138187"/>
        </pc:sldMkLst>
        <pc:spChg chg="mod">
          <ac:chgData name="Oehrli, Stefan" userId="3f36891e-f853-43e7-bcbc-2879a2513833" providerId="ADAL" clId="{09BEBDDE-AF5B-9146-8B18-471724E5E3DD}" dt="2023-11-21T06:14:34.072" v="3671"/>
          <ac:spMkLst>
            <pc:docMk/>
            <pc:sldMk cId="3736502658" sldId="2147138187"/>
            <ac:spMk id="2" creationId="{D5F85041-5D2A-50DE-B72E-32DB926A7F60}"/>
          </ac:spMkLst>
        </pc:spChg>
        <pc:spChg chg="mod">
          <ac:chgData name="Oehrli, Stefan" userId="3f36891e-f853-43e7-bcbc-2879a2513833" providerId="ADAL" clId="{09BEBDDE-AF5B-9146-8B18-471724E5E3DD}" dt="2023-11-21T08:29:35.849" v="4619" actId="20577"/>
          <ac:spMkLst>
            <pc:docMk/>
            <pc:sldMk cId="3736502658" sldId="2147138187"/>
            <ac:spMk id="3" creationId="{7345E89E-1AF6-0EEE-F052-FE458C10D639}"/>
          </ac:spMkLst>
        </pc:spChg>
        <pc:spChg chg="mod">
          <ac:chgData name="Oehrli, Stefan" userId="3f36891e-f853-43e7-bcbc-2879a2513833" providerId="ADAL" clId="{09BEBDDE-AF5B-9146-8B18-471724E5E3DD}" dt="2023-11-21T06:14:12.829" v="3668"/>
          <ac:spMkLst>
            <pc:docMk/>
            <pc:sldMk cId="3736502658" sldId="2147138187"/>
            <ac:spMk id="4" creationId="{BD70E906-EC14-1C26-665B-8307429B1387}"/>
          </ac:spMkLst>
        </pc:spChg>
        <pc:picChg chg="add mod">
          <ac:chgData name="Oehrli, Stefan" userId="3f36891e-f853-43e7-bcbc-2879a2513833" providerId="ADAL" clId="{09BEBDDE-AF5B-9146-8B18-471724E5E3DD}" dt="2023-11-21T07:25:11.125" v="4393" actId="1076"/>
          <ac:picMkLst>
            <pc:docMk/>
            <pc:sldMk cId="3736502658" sldId="2147138187"/>
            <ac:picMk id="7" creationId="{F7EF9DDA-76E9-B4C0-19A5-316686C37EDB}"/>
          </ac:picMkLst>
        </pc:picChg>
      </pc:sldChg>
      <pc:sldChg chg="addSp modSp add mod modAnim">
        <pc:chgData name="Oehrli, Stefan" userId="3f36891e-f853-43e7-bcbc-2879a2513833" providerId="ADAL" clId="{09BEBDDE-AF5B-9146-8B18-471724E5E3DD}" dt="2023-11-21T07:18:07.199" v="4188"/>
        <pc:sldMkLst>
          <pc:docMk/>
          <pc:sldMk cId="529553536" sldId="2147138188"/>
        </pc:sldMkLst>
        <pc:spChg chg="mod">
          <ac:chgData name="Oehrli, Stefan" userId="3f36891e-f853-43e7-bcbc-2879a2513833" providerId="ADAL" clId="{09BEBDDE-AF5B-9146-8B18-471724E5E3DD}" dt="2023-11-21T07:17:36.937" v="4183" actId="20577"/>
          <ac:spMkLst>
            <pc:docMk/>
            <pc:sldMk cId="529553536" sldId="2147138188"/>
            <ac:spMk id="4" creationId="{946CA6F4-9448-6AD4-6D2E-3FBD4BF7C6FB}"/>
          </ac:spMkLst>
        </pc:spChg>
        <pc:picChg chg="add mod">
          <ac:chgData name="Oehrli, Stefan" userId="3f36891e-f853-43e7-bcbc-2879a2513833" providerId="ADAL" clId="{09BEBDDE-AF5B-9146-8B18-471724E5E3DD}" dt="2023-11-21T07:17:29.553" v="4182" actId="1076"/>
          <ac:picMkLst>
            <pc:docMk/>
            <pc:sldMk cId="529553536" sldId="2147138188"/>
            <ac:picMk id="2" creationId="{764922C8-43D4-FBA5-14AB-0C594B9B9E90}"/>
          </ac:picMkLst>
        </pc:picChg>
      </pc:sldChg>
      <pc:sldChg chg="addSp delSp modSp add mod delAnim modAnim">
        <pc:chgData name="Oehrli, Stefan" userId="3f36891e-f853-43e7-bcbc-2879a2513833" providerId="ADAL" clId="{09BEBDDE-AF5B-9146-8B18-471724E5E3DD}" dt="2023-11-21T09:22:05.898" v="5758"/>
        <pc:sldMkLst>
          <pc:docMk/>
          <pc:sldMk cId="3307806032" sldId="2147138189"/>
        </pc:sldMkLst>
        <pc:spChg chg="mod">
          <ac:chgData name="Oehrli, Stefan" userId="3f36891e-f853-43e7-bcbc-2879a2513833" providerId="ADAL" clId="{09BEBDDE-AF5B-9146-8B18-471724E5E3DD}" dt="2023-11-21T08:42:49.590" v="4988" actId="20577"/>
          <ac:spMkLst>
            <pc:docMk/>
            <pc:sldMk cId="3307806032" sldId="2147138189"/>
            <ac:spMk id="3" creationId="{CEAFCAE0-F842-34F2-EB92-1D60C03884E7}"/>
          </ac:spMkLst>
        </pc:spChg>
        <pc:spChg chg="mod">
          <ac:chgData name="Oehrli, Stefan" userId="3f36891e-f853-43e7-bcbc-2879a2513833" providerId="ADAL" clId="{09BEBDDE-AF5B-9146-8B18-471724E5E3DD}" dt="2023-11-21T09:20:33.872" v="5737" actId="20577"/>
          <ac:spMkLst>
            <pc:docMk/>
            <pc:sldMk cId="3307806032" sldId="2147138189"/>
            <ac:spMk id="4" creationId="{946CA6F4-9448-6AD4-6D2E-3FBD4BF7C6FB}"/>
          </ac:spMkLst>
        </pc:spChg>
        <pc:spChg chg="mod">
          <ac:chgData name="Oehrli, Stefan" userId="3f36891e-f853-43e7-bcbc-2879a2513833" providerId="ADAL" clId="{09BEBDDE-AF5B-9146-8B18-471724E5E3DD}" dt="2023-11-21T09:01:26.730" v="5397" actId="313"/>
          <ac:spMkLst>
            <pc:docMk/>
            <pc:sldMk cId="3307806032" sldId="2147138189"/>
            <ac:spMk id="5" creationId="{9784D766-D1AA-1F79-C449-899A26544C05}"/>
          </ac:spMkLst>
        </pc:spChg>
        <pc:spChg chg="add del">
          <ac:chgData name="Oehrli, Stefan" userId="3f36891e-f853-43e7-bcbc-2879a2513833" providerId="ADAL" clId="{09BEBDDE-AF5B-9146-8B18-471724E5E3DD}" dt="2023-11-21T09:15:42.349" v="5676" actId="22"/>
          <ac:spMkLst>
            <pc:docMk/>
            <pc:sldMk cId="3307806032" sldId="2147138189"/>
            <ac:spMk id="6" creationId="{3C991582-5CA0-46F3-7B91-F5D846266870}"/>
          </ac:spMkLst>
        </pc:spChg>
        <pc:picChg chg="add del mod">
          <ac:chgData name="Oehrli, Stefan" userId="3f36891e-f853-43e7-bcbc-2879a2513833" providerId="ADAL" clId="{09BEBDDE-AF5B-9146-8B18-471724E5E3DD}" dt="2023-11-21T09:21:48.501" v="5740" actId="478"/>
          <ac:picMkLst>
            <pc:docMk/>
            <pc:sldMk cId="3307806032" sldId="2147138189"/>
            <ac:picMk id="7" creationId="{3B3584F6-12A9-94BD-1504-FF6BDAE9EF3B}"/>
          </ac:picMkLst>
        </pc:picChg>
        <pc:picChg chg="add mod">
          <ac:chgData name="Oehrli, Stefan" userId="3f36891e-f853-43e7-bcbc-2879a2513833" providerId="ADAL" clId="{09BEBDDE-AF5B-9146-8B18-471724E5E3DD}" dt="2023-11-21T09:21:59.553" v="5756" actId="1076"/>
          <ac:picMkLst>
            <pc:docMk/>
            <pc:sldMk cId="3307806032" sldId="2147138189"/>
            <ac:picMk id="8" creationId="{D5CE4942-9522-88CC-4F0A-74CE6E9C98F2}"/>
          </ac:picMkLst>
        </pc:picChg>
      </pc:sldChg>
      <pc:sldChg chg="modSp new add del mod">
        <pc:chgData name="Oehrli, Stefan" userId="3f36891e-f853-43e7-bcbc-2879a2513833" providerId="ADAL" clId="{09BEBDDE-AF5B-9146-8B18-471724E5E3DD}" dt="2023-11-21T07:21:38.259" v="4199" actId="2696"/>
        <pc:sldMkLst>
          <pc:docMk/>
          <pc:sldMk cId="3470909482" sldId="2147138189"/>
        </pc:sldMkLst>
        <pc:spChg chg="mod">
          <ac:chgData name="Oehrli, Stefan" userId="3f36891e-f853-43e7-bcbc-2879a2513833" providerId="ADAL" clId="{09BEBDDE-AF5B-9146-8B18-471724E5E3DD}" dt="2023-11-21T07:21:36.086" v="4198" actId="5793"/>
          <ac:spMkLst>
            <pc:docMk/>
            <pc:sldMk cId="3470909482" sldId="2147138189"/>
            <ac:spMk id="3" creationId="{1A8E2F58-6B28-623B-E70E-7DD0892B6215}"/>
          </ac:spMkLst>
        </pc:spChg>
      </pc:sldChg>
      <pc:sldChg chg="addSp modSp add mod ord modClrScheme modAnim chgLayout">
        <pc:chgData name="Oehrli, Stefan" userId="3f36891e-f853-43e7-bcbc-2879a2513833" providerId="ADAL" clId="{09BEBDDE-AF5B-9146-8B18-471724E5E3DD}" dt="2023-11-21T08:53:37.111" v="5279"/>
        <pc:sldMkLst>
          <pc:docMk/>
          <pc:sldMk cId="2582172254" sldId="2147138190"/>
        </pc:sldMkLst>
        <pc:spChg chg="add mod ord">
          <ac:chgData name="Oehrli, Stefan" userId="3f36891e-f853-43e7-bcbc-2879a2513833" providerId="ADAL" clId="{09BEBDDE-AF5B-9146-8B18-471724E5E3DD}" dt="2023-11-21T08:53:21.196" v="5276" actId="20577"/>
          <ac:spMkLst>
            <pc:docMk/>
            <pc:sldMk cId="2582172254" sldId="2147138190"/>
            <ac:spMk id="2" creationId="{5B8BC93B-00BA-9736-AD4C-6D7E4FD95083}"/>
          </ac:spMkLst>
        </pc:spChg>
        <pc:spChg chg="mod ord">
          <ac:chgData name="Oehrli, Stefan" userId="3f36891e-f853-43e7-bcbc-2879a2513833" providerId="ADAL" clId="{09BEBDDE-AF5B-9146-8B18-471724E5E3DD}" dt="2023-11-21T08:51:15.243" v="5212" actId="700"/>
          <ac:spMkLst>
            <pc:docMk/>
            <pc:sldMk cId="2582172254" sldId="2147138190"/>
            <ac:spMk id="3" creationId="{CEAFCAE0-F842-34F2-EB92-1D60C03884E7}"/>
          </ac:spMkLst>
        </pc:spChg>
        <pc:spChg chg="mod ord">
          <ac:chgData name="Oehrli, Stefan" userId="3f36891e-f853-43e7-bcbc-2879a2513833" providerId="ADAL" clId="{09BEBDDE-AF5B-9146-8B18-471724E5E3DD}" dt="2023-11-21T08:51:34.729" v="5223" actId="113"/>
          <ac:spMkLst>
            <pc:docMk/>
            <pc:sldMk cId="2582172254" sldId="2147138190"/>
            <ac:spMk id="4" creationId="{946CA6F4-9448-6AD4-6D2E-3FBD4BF7C6FB}"/>
          </ac:spMkLst>
        </pc:spChg>
        <pc:spChg chg="mod ord">
          <ac:chgData name="Oehrli, Stefan" userId="3f36891e-f853-43e7-bcbc-2879a2513833" providerId="ADAL" clId="{09BEBDDE-AF5B-9146-8B18-471724E5E3DD}" dt="2023-11-21T08:51:15.243" v="5212" actId="700"/>
          <ac:spMkLst>
            <pc:docMk/>
            <pc:sldMk cId="2582172254" sldId="2147138190"/>
            <ac:spMk id="5" creationId="{9784D766-D1AA-1F79-C449-899A26544C05}"/>
          </ac:spMkLst>
        </pc:spChg>
      </pc:sldChg>
      <pc:sldChg chg="addSp delSp modSp new mod modClrScheme modAnim chgLayout">
        <pc:chgData name="Oehrli, Stefan" userId="3f36891e-f853-43e7-bcbc-2879a2513833" providerId="ADAL" clId="{09BEBDDE-AF5B-9146-8B18-471724E5E3DD}" dt="2023-11-21T14:16:15.346" v="7102" actId="20577"/>
        <pc:sldMkLst>
          <pc:docMk/>
          <pc:sldMk cId="2312882381" sldId="2147138191"/>
        </pc:sldMkLst>
        <pc:spChg chg="del mod ord">
          <ac:chgData name="Oehrli, Stefan" userId="3f36891e-f853-43e7-bcbc-2879a2513833" providerId="ADAL" clId="{09BEBDDE-AF5B-9146-8B18-471724E5E3DD}" dt="2023-11-21T09:22:49.167" v="5763" actId="700"/>
          <ac:spMkLst>
            <pc:docMk/>
            <pc:sldMk cId="2312882381" sldId="2147138191"/>
            <ac:spMk id="2" creationId="{76A9A7DB-CB4A-3570-4CEF-E73255D9E091}"/>
          </ac:spMkLst>
        </pc:spChg>
        <pc:spChg chg="del mod ord">
          <ac:chgData name="Oehrli, Stefan" userId="3f36891e-f853-43e7-bcbc-2879a2513833" providerId="ADAL" clId="{09BEBDDE-AF5B-9146-8B18-471724E5E3DD}" dt="2023-11-21T09:22:49.167" v="5763" actId="700"/>
          <ac:spMkLst>
            <pc:docMk/>
            <pc:sldMk cId="2312882381" sldId="2147138191"/>
            <ac:spMk id="3" creationId="{E8C31FCA-B56F-016B-562F-F4CC042D479B}"/>
          </ac:spMkLst>
        </pc:spChg>
        <pc:spChg chg="del mod ord">
          <ac:chgData name="Oehrli, Stefan" userId="3f36891e-f853-43e7-bcbc-2879a2513833" providerId="ADAL" clId="{09BEBDDE-AF5B-9146-8B18-471724E5E3DD}" dt="2023-11-21T09:22:49.167" v="5763" actId="700"/>
          <ac:spMkLst>
            <pc:docMk/>
            <pc:sldMk cId="2312882381" sldId="2147138191"/>
            <ac:spMk id="4" creationId="{0A3762F3-719B-555A-5810-2EADA1073125}"/>
          </ac:spMkLst>
        </pc:spChg>
        <pc:spChg chg="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5" creationId="{3B795C26-C67F-1099-80AD-892DA22FB1F2}"/>
          </ac:spMkLst>
        </pc:spChg>
        <pc:spChg chg="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6" creationId="{1411F5A9-DC78-E587-CD3E-578EEF365D3C}"/>
          </ac:spMkLst>
        </pc:spChg>
        <pc:spChg chg="add mod ord">
          <ac:chgData name="Oehrli, Stefan" userId="3f36891e-f853-43e7-bcbc-2879a2513833" providerId="ADAL" clId="{09BEBDDE-AF5B-9146-8B18-471724E5E3DD}" dt="2023-11-21T09:39:32.005" v="6161" actId="20577"/>
          <ac:spMkLst>
            <pc:docMk/>
            <pc:sldMk cId="2312882381" sldId="2147138191"/>
            <ac:spMk id="7" creationId="{0330C398-CC72-8FA1-C8A9-CBE2CA6882AC}"/>
          </ac:spMkLst>
        </pc:spChg>
        <pc:spChg chg="add del 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8" creationId="{F2ADD750-1ECD-0452-D9F0-F5969A3FBE12}"/>
          </ac:spMkLst>
        </pc:spChg>
        <pc:spChg chg="add del 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9" creationId="{50F1C8F4-F91E-E06E-C81C-77653E460064}"/>
          </ac:spMkLst>
        </pc:spChg>
        <pc:spChg chg="add del 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10" creationId="{1C73F2F6-21FD-1CAD-1F3F-AA8CD3B4284C}"/>
          </ac:spMkLst>
        </pc:spChg>
        <pc:spChg chg="add del 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11" creationId="{6B4D6349-3D4C-BCC7-7274-8E8EED355DBF}"/>
          </ac:spMkLst>
        </pc:spChg>
        <pc:spChg chg="add del mod ord">
          <ac:chgData name="Oehrli, Stefan" userId="3f36891e-f853-43e7-bcbc-2879a2513833" providerId="ADAL" clId="{09BEBDDE-AF5B-9146-8B18-471724E5E3DD}" dt="2023-11-21T09:23:52.875" v="5766" actId="700"/>
          <ac:spMkLst>
            <pc:docMk/>
            <pc:sldMk cId="2312882381" sldId="2147138191"/>
            <ac:spMk id="12" creationId="{13E7FF7C-1314-41A5-7272-754F2AE86FA0}"/>
          </ac:spMkLst>
        </pc:spChg>
        <pc:spChg chg="add mod ord">
          <ac:chgData name="Oehrli, Stefan" userId="3f36891e-f853-43e7-bcbc-2879a2513833" providerId="ADAL" clId="{09BEBDDE-AF5B-9146-8B18-471724E5E3DD}" dt="2023-11-21T09:38:23.546" v="6146" actId="14100"/>
          <ac:spMkLst>
            <pc:docMk/>
            <pc:sldMk cId="2312882381" sldId="2147138191"/>
            <ac:spMk id="13" creationId="{999C2DD0-5008-DFFB-6883-D253543253F6}"/>
          </ac:spMkLst>
        </pc:spChg>
        <pc:spChg chg="add mod ord">
          <ac:chgData name="Oehrli, Stefan" userId="3f36891e-f853-43e7-bcbc-2879a2513833" providerId="ADAL" clId="{09BEBDDE-AF5B-9146-8B18-471724E5E3DD}" dt="2023-11-21T09:25:14.606" v="5772" actId="20577"/>
          <ac:spMkLst>
            <pc:docMk/>
            <pc:sldMk cId="2312882381" sldId="2147138191"/>
            <ac:spMk id="14" creationId="{7F2126D2-D58F-D2D1-FE2B-ACA7E97917EE}"/>
          </ac:spMkLst>
        </pc:spChg>
        <pc:spChg chg="add mod ord">
          <ac:chgData name="Oehrli, Stefan" userId="3f36891e-f853-43e7-bcbc-2879a2513833" providerId="ADAL" clId="{09BEBDDE-AF5B-9146-8B18-471724E5E3DD}" dt="2023-11-21T14:16:15.346" v="7102" actId="20577"/>
          <ac:spMkLst>
            <pc:docMk/>
            <pc:sldMk cId="2312882381" sldId="2147138191"/>
            <ac:spMk id="15" creationId="{E9C0567E-985C-B436-2AD1-4EDF434A4723}"/>
          </ac:spMkLst>
        </pc:spChg>
        <pc:spChg chg="add mod">
          <ac:chgData name="Oehrli, Stefan" userId="3f36891e-f853-43e7-bcbc-2879a2513833" providerId="ADAL" clId="{09BEBDDE-AF5B-9146-8B18-471724E5E3DD}" dt="2023-11-21T09:35:00.578" v="6109" actId="1076"/>
          <ac:spMkLst>
            <pc:docMk/>
            <pc:sldMk cId="2312882381" sldId="2147138191"/>
            <ac:spMk id="16" creationId="{835D818A-918E-8BA1-5F9E-0FB377EED9E5}"/>
          </ac:spMkLst>
        </pc:spChg>
        <pc:spChg chg="add del mod">
          <ac:chgData name="Oehrli, Stefan" userId="3f36891e-f853-43e7-bcbc-2879a2513833" providerId="ADAL" clId="{09BEBDDE-AF5B-9146-8B18-471724E5E3DD}" dt="2023-11-21T09:35:04.024" v="6110" actId="478"/>
          <ac:spMkLst>
            <pc:docMk/>
            <pc:sldMk cId="2312882381" sldId="2147138191"/>
            <ac:spMk id="17" creationId="{9B67CDFF-623B-CB73-B26C-A44072A3892D}"/>
          </ac:spMkLst>
        </pc:spChg>
      </pc:sldChg>
      <pc:sldChg chg="new del">
        <pc:chgData name="Oehrli, Stefan" userId="3f36891e-f853-43e7-bcbc-2879a2513833" providerId="ADAL" clId="{09BEBDDE-AF5B-9146-8B18-471724E5E3DD}" dt="2023-11-21T09:22:41.323" v="5761" actId="680"/>
        <pc:sldMkLst>
          <pc:docMk/>
          <pc:sldMk cId="3472705739" sldId="2147138191"/>
        </pc:sldMkLst>
      </pc:sldChg>
      <pc:sldChg chg="addSp modSp new mod modClrScheme modAnim chgLayout">
        <pc:chgData name="Oehrli, Stefan" userId="3f36891e-f853-43e7-bcbc-2879a2513833" providerId="ADAL" clId="{09BEBDDE-AF5B-9146-8B18-471724E5E3DD}" dt="2023-11-21T10:10:04.381" v="6499"/>
        <pc:sldMkLst>
          <pc:docMk/>
          <pc:sldMk cId="3816320732" sldId="2147138192"/>
        </pc:sldMkLst>
        <pc:spChg chg="mod ord">
          <ac:chgData name="Oehrli, Stefan" userId="3f36891e-f853-43e7-bcbc-2879a2513833" providerId="ADAL" clId="{09BEBDDE-AF5B-9146-8B18-471724E5E3DD}" dt="2023-11-21T09:42:32.134" v="6219" actId="700"/>
          <ac:spMkLst>
            <pc:docMk/>
            <pc:sldMk cId="3816320732" sldId="2147138192"/>
            <ac:spMk id="2" creationId="{AC396108-BFA3-C1AD-F5AB-E868896E4460}"/>
          </ac:spMkLst>
        </pc:spChg>
        <pc:spChg chg="mod ord">
          <ac:chgData name="Oehrli, Stefan" userId="3f36891e-f853-43e7-bcbc-2879a2513833" providerId="ADAL" clId="{09BEBDDE-AF5B-9146-8B18-471724E5E3DD}" dt="2023-11-21T10:06:11.039" v="6447" actId="15"/>
          <ac:spMkLst>
            <pc:docMk/>
            <pc:sldMk cId="3816320732" sldId="2147138192"/>
            <ac:spMk id="3" creationId="{D2694F25-2A15-653B-9E8D-32C71A720F88}"/>
          </ac:spMkLst>
        </pc:spChg>
        <pc:spChg chg="mod ord">
          <ac:chgData name="Oehrli, Stefan" userId="3f36891e-f853-43e7-bcbc-2879a2513833" providerId="ADAL" clId="{09BEBDDE-AF5B-9146-8B18-471724E5E3DD}" dt="2023-11-21T09:42:32.134" v="6219" actId="700"/>
          <ac:spMkLst>
            <pc:docMk/>
            <pc:sldMk cId="3816320732" sldId="2147138192"/>
            <ac:spMk id="4" creationId="{DAC999A3-E423-431B-8584-D01014EF9AB2}"/>
          </ac:spMkLst>
        </pc:spChg>
        <pc:spChg chg="mod ord">
          <ac:chgData name="Oehrli, Stefan" userId="3f36891e-f853-43e7-bcbc-2879a2513833" providerId="ADAL" clId="{09BEBDDE-AF5B-9146-8B18-471724E5E3DD}" dt="2023-11-21T09:42:32.134" v="6219" actId="700"/>
          <ac:spMkLst>
            <pc:docMk/>
            <pc:sldMk cId="3816320732" sldId="2147138192"/>
            <ac:spMk id="5" creationId="{A73784C6-F2BE-8364-A404-D3DE68E31A45}"/>
          </ac:spMkLst>
        </pc:spChg>
        <pc:spChg chg="mod ord">
          <ac:chgData name="Oehrli, Stefan" userId="3f36891e-f853-43e7-bcbc-2879a2513833" providerId="ADAL" clId="{09BEBDDE-AF5B-9146-8B18-471724E5E3DD}" dt="2023-11-21T09:42:32.134" v="6219" actId="700"/>
          <ac:spMkLst>
            <pc:docMk/>
            <pc:sldMk cId="3816320732" sldId="2147138192"/>
            <ac:spMk id="6" creationId="{8FD27A11-05AA-0E3D-3ABA-78A599A766F1}"/>
          </ac:spMkLst>
        </pc:spChg>
        <pc:spChg chg="mod ord">
          <ac:chgData name="Oehrli, Stefan" userId="3f36891e-f853-43e7-bcbc-2879a2513833" providerId="ADAL" clId="{09BEBDDE-AF5B-9146-8B18-471724E5E3DD}" dt="2023-11-21T10:06:04.584" v="6446" actId="5793"/>
          <ac:spMkLst>
            <pc:docMk/>
            <pc:sldMk cId="3816320732" sldId="2147138192"/>
            <ac:spMk id="7" creationId="{CF8C683E-8A48-A67D-16A3-C1396F62E7F7}"/>
          </ac:spMkLst>
        </pc:spChg>
        <pc:spChg chg="add mod ord">
          <ac:chgData name="Oehrli, Stefan" userId="3f36891e-f853-43e7-bcbc-2879a2513833" providerId="ADAL" clId="{09BEBDDE-AF5B-9146-8B18-471724E5E3DD}" dt="2023-11-21T09:44:57.441" v="6296" actId="1076"/>
          <ac:spMkLst>
            <pc:docMk/>
            <pc:sldMk cId="3816320732" sldId="2147138192"/>
            <ac:spMk id="8" creationId="{BC9B1CE3-B4D6-8177-3C2F-9922A3A3C38A}"/>
          </ac:spMkLst>
        </pc:spChg>
        <pc:spChg chg="add mod ord">
          <ac:chgData name="Oehrli, Stefan" userId="3f36891e-f853-43e7-bcbc-2879a2513833" providerId="ADAL" clId="{09BEBDDE-AF5B-9146-8B18-471724E5E3DD}" dt="2023-11-21T10:07:19.616" v="6448" actId="14100"/>
          <ac:spMkLst>
            <pc:docMk/>
            <pc:sldMk cId="3816320732" sldId="2147138192"/>
            <ac:spMk id="9" creationId="{0984AE4D-3DB7-BB8C-8515-E4B3F143CB16}"/>
          </ac:spMkLst>
        </pc:spChg>
        <pc:spChg chg="add mod">
          <ac:chgData name="Oehrli, Stefan" userId="3f36891e-f853-43e7-bcbc-2879a2513833" providerId="ADAL" clId="{09BEBDDE-AF5B-9146-8B18-471724E5E3DD}" dt="2023-11-21T10:08:23.622" v="6491" actId="20577"/>
          <ac:spMkLst>
            <pc:docMk/>
            <pc:sldMk cId="3816320732" sldId="2147138192"/>
            <ac:spMk id="10" creationId="{6BFCC7A4-3119-251D-CF78-7474254E1A52}"/>
          </ac:spMkLst>
        </pc:spChg>
      </pc:sldChg>
      <pc:sldChg chg="addSp delSp modSp new mod chgLayout">
        <pc:chgData name="Oehrli, Stefan" userId="3f36891e-f853-43e7-bcbc-2879a2513833" providerId="ADAL" clId="{09BEBDDE-AF5B-9146-8B18-471724E5E3DD}" dt="2023-11-23T21:01:43.691" v="7104" actId="700"/>
        <pc:sldMkLst>
          <pc:docMk/>
          <pc:sldMk cId="354290953" sldId="2147138193"/>
        </pc:sldMkLst>
        <pc:spChg chg="del 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2" creationId="{F70BF2BB-FE4F-EC65-E9A2-BECEE5E2B134}"/>
          </ac:spMkLst>
        </pc:spChg>
        <pc:spChg chg="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3" creationId="{09270624-DB2F-5790-7394-5247FB7484E4}"/>
          </ac:spMkLst>
        </pc:spChg>
        <pc:spChg chg="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4" creationId="{C0E159C0-DDC6-060B-9E85-4842008AFAF6}"/>
          </ac:spMkLst>
        </pc:spChg>
        <pc:spChg chg="add 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5" creationId="{425700E5-E8D3-C4DC-DC24-E8F8452EFD13}"/>
          </ac:spMkLst>
        </pc:spChg>
        <pc:spChg chg="add 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6" creationId="{51E811E9-FE9E-A201-2FC9-4DE62FF66868}"/>
          </ac:spMkLst>
        </pc:spChg>
        <pc:spChg chg="add 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7" creationId="{C103DB0E-9CBB-1238-0235-D395009C4904}"/>
          </ac:spMkLst>
        </pc:spChg>
        <pc:spChg chg="add mod ord">
          <ac:chgData name="Oehrli, Stefan" userId="3f36891e-f853-43e7-bcbc-2879a2513833" providerId="ADAL" clId="{09BEBDDE-AF5B-9146-8B18-471724E5E3DD}" dt="2023-11-23T21:01:43.691" v="7104" actId="700"/>
          <ac:spMkLst>
            <pc:docMk/>
            <pc:sldMk cId="354290953" sldId="2147138193"/>
            <ac:spMk id="8" creationId="{1F5DFDF8-A6DB-7ABE-DF74-401BC979AD5B}"/>
          </ac:spMkLst>
        </pc:spChg>
      </pc:sldChg>
      <pc:sldChg chg="addSp delSp modSp new mod modClrScheme chgLayout">
        <pc:chgData name="Oehrli, Stefan" userId="3f36891e-f853-43e7-bcbc-2879a2513833" providerId="ADAL" clId="{09BEBDDE-AF5B-9146-8B18-471724E5E3DD}" dt="2023-11-23T21:01:48.502" v="7106" actId="700"/>
        <pc:sldMkLst>
          <pc:docMk/>
          <pc:sldMk cId="1007215444" sldId="2147138194"/>
        </pc:sldMkLst>
        <pc:spChg chg="del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2" creationId="{4EF83BD6-3C92-AB9B-4CBA-0FEDD81840F4}"/>
          </ac:spMkLst>
        </pc:spChg>
        <pc:spChg chg="del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3" creationId="{1057EBAF-8310-996C-9B80-CB0730F1CBE1}"/>
          </ac:spMkLst>
        </pc:spChg>
        <pc:spChg chg="del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4" creationId="{956D1F9F-52D2-7453-912B-4C6FF600FB68}"/>
          </ac:spMkLst>
        </pc:spChg>
        <pc:spChg chg="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5" creationId="{7CED73A2-5EF3-D238-1E73-F02FF628439C}"/>
          </ac:spMkLst>
        </pc:spChg>
        <pc:spChg chg="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6" creationId="{F0D1A69A-DF70-8077-C387-005346CFB0C4}"/>
          </ac:spMkLst>
        </pc:spChg>
        <pc:spChg chg="del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7" creationId="{427C096F-14E9-0063-969C-0765857E90E7}"/>
          </ac:spMkLst>
        </pc:spChg>
        <pc:spChg chg="add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8" creationId="{64E437E4-F8D9-D499-1F74-BBBE36717BDB}"/>
          </ac:spMkLst>
        </pc:spChg>
        <pc:spChg chg="add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9" creationId="{D6728AEA-AB60-E7F0-A515-B7BD4D6B4858}"/>
          </ac:spMkLst>
        </pc:spChg>
        <pc:spChg chg="add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10" creationId="{966FA6AF-5FCE-A40A-2967-A2B125B17315}"/>
          </ac:spMkLst>
        </pc:spChg>
        <pc:spChg chg="add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11" creationId="{3B8021DE-12A5-55A9-B9A9-9BD9733F5E6C}"/>
          </ac:spMkLst>
        </pc:spChg>
        <pc:spChg chg="add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12" creationId="{EF4B145D-8848-9483-0F6E-F5D29BEEADF2}"/>
          </ac:spMkLst>
        </pc:spChg>
        <pc:spChg chg="add mod ord">
          <ac:chgData name="Oehrli, Stefan" userId="3f36891e-f853-43e7-bcbc-2879a2513833" providerId="ADAL" clId="{09BEBDDE-AF5B-9146-8B18-471724E5E3DD}" dt="2023-11-23T21:01:48.502" v="7106" actId="700"/>
          <ac:spMkLst>
            <pc:docMk/>
            <pc:sldMk cId="1007215444" sldId="2147138194"/>
            <ac:spMk id="13" creationId="{C490EEFD-3542-E8BE-17FB-11717D97C116}"/>
          </ac:spMkLst>
        </pc:spChg>
      </pc:sldChg>
    </pc:docChg>
  </pc:docChgLst>
  <pc:docChgLst>
    <pc:chgData name="Oehrli, Stefan" userId="3f36891e-f853-43e7-bcbc-2879a2513833" providerId="ADAL" clId="{E6976C97-2060-8C46-9F3A-EAFB418BA348}"/>
    <pc:docChg chg="undo redo custSel addSld delSld modSld sldOrd modSection">
      <pc:chgData name="Oehrli, Stefan" userId="3f36891e-f853-43e7-bcbc-2879a2513833" providerId="ADAL" clId="{E6976C97-2060-8C46-9F3A-EAFB418BA348}" dt="2024-05-06T04:02:03.380" v="1672"/>
      <pc:docMkLst>
        <pc:docMk/>
      </pc:docMkLst>
      <pc:sldChg chg="addSp modSp add mod modShow">
        <pc:chgData name="Oehrli, Stefan" userId="3f36891e-f853-43e7-bcbc-2879a2513833" providerId="ADAL" clId="{E6976C97-2060-8C46-9F3A-EAFB418BA348}" dt="2024-04-25T09:20:29.924" v="1372" actId="729"/>
        <pc:sldMkLst>
          <pc:docMk/>
          <pc:sldMk cId="146017791" sldId="274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146017791" sldId="274"/>
            <ac:spMk id="8" creationId="{1B891389-0A1D-9E68-09F4-71821C72EF6C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146017791" sldId="274"/>
            <ac:spMk id="10" creationId="{88BE103F-3063-075D-3268-441A225446B1}"/>
          </ac:spMkLst>
        </pc:spChg>
      </pc:sldChg>
      <pc:sldChg chg="delSp modSp mod">
        <pc:chgData name="Oehrli, Stefan" userId="3f36891e-f853-43e7-bcbc-2879a2513833" providerId="ADAL" clId="{E6976C97-2060-8C46-9F3A-EAFB418BA348}" dt="2024-04-25T07:52:05.967" v="1368"/>
        <pc:sldMkLst>
          <pc:docMk/>
          <pc:sldMk cId="217193527" sldId="308"/>
        </pc:sldMkLst>
        <pc:spChg chg="del mod">
          <ac:chgData name="Oehrli, Stefan" userId="3f36891e-f853-43e7-bcbc-2879a2513833" providerId="ADAL" clId="{E6976C97-2060-8C46-9F3A-EAFB418BA348}" dt="2024-04-25T07:52:05.967" v="1368"/>
          <ac:spMkLst>
            <pc:docMk/>
            <pc:sldMk cId="217193527" sldId="308"/>
            <ac:spMk id="2" creationId="{632E2813-969E-AAAD-3C7C-2C1A14B7363A}"/>
          </ac:spMkLst>
        </pc:spChg>
      </pc:sldChg>
      <pc:sldChg chg="modSp mod">
        <pc:chgData name="Oehrli, Stefan" userId="3f36891e-f853-43e7-bcbc-2879a2513833" providerId="ADAL" clId="{E6976C97-2060-8C46-9F3A-EAFB418BA348}" dt="2024-04-23T09:09:21.956" v="124"/>
        <pc:sldMkLst>
          <pc:docMk/>
          <pc:sldMk cId="3447450657" sldId="344"/>
        </pc:sldMkLst>
        <pc:spChg chg="mod">
          <ac:chgData name="Oehrli, Stefan" userId="3f36891e-f853-43e7-bcbc-2879a2513833" providerId="ADAL" clId="{E6976C97-2060-8C46-9F3A-EAFB418BA348}" dt="2024-04-23T09:09:21.956" v="124"/>
          <ac:spMkLst>
            <pc:docMk/>
            <pc:sldMk cId="3447450657" sldId="344"/>
            <ac:spMk id="2" creationId="{1F9E552B-AE32-4808-0A30-526769E9FED8}"/>
          </ac:spMkLst>
        </pc:spChg>
        <pc:spChg chg="mod">
          <ac:chgData name="Oehrli, Stefan" userId="3f36891e-f853-43e7-bcbc-2879a2513833" providerId="ADAL" clId="{E6976C97-2060-8C46-9F3A-EAFB418BA348}" dt="2024-04-23T09:08:53.837" v="88" actId="20577"/>
          <ac:spMkLst>
            <pc:docMk/>
            <pc:sldMk cId="3447450657" sldId="344"/>
            <ac:spMk id="3" creationId="{71629877-83F9-C3AD-1532-9D122387E409}"/>
          </ac:spMkLst>
        </pc:spChg>
      </pc:sldChg>
      <pc:sldChg chg="del">
        <pc:chgData name="Oehrli, Stefan" userId="3f36891e-f853-43e7-bcbc-2879a2513833" providerId="ADAL" clId="{E6976C97-2060-8C46-9F3A-EAFB418BA348}" dt="2024-04-23T08:13:45.425" v="78" actId="2696"/>
        <pc:sldMkLst>
          <pc:docMk/>
          <pc:sldMk cId="2239675501" sldId="2147138090"/>
        </pc:sldMkLst>
      </pc:sldChg>
      <pc:sldChg chg="addSp modSp mod">
        <pc:chgData name="Oehrli, Stefan" userId="3f36891e-f853-43e7-bcbc-2879a2513833" providerId="ADAL" clId="{E6976C97-2060-8C46-9F3A-EAFB418BA348}" dt="2024-04-25T07:52:05.967" v="1368"/>
        <pc:sldMkLst>
          <pc:docMk/>
          <pc:sldMk cId="2241462360" sldId="2147138091"/>
        </pc:sldMkLst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6" creationId="{4D3A3F73-ABFD-0E9F-AF7F-3208152178B9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7" creationId="{762E0E26-569F-90A5-618E-E911913B7279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8" creationId="{28AD319D-D9CC-C651-F145-A751D10AC2EE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10" creationId="{2F583B6A-C013-9DCE-4707-B78B4C2B5D9C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11" creationId="{6241594B-ABA2-DA80-3BFF-2C3554422283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12" creationId="{1F8F2DA7-1F29-1A77-B265-EDDB1244731E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13" creationId="{96215404-7E90-DED9-C946-D70FBE506152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14" creationId="{574F81E6-B613-9DD0-E28E-1932930C8438}"/>
          </ac:spMkLst>
        </pc:spChg>
        <pc:spChg chg="mod">
          <ac:chgData name="Oehrli, Stefan" userId="3f36891e-f853-43e7-bcbc-2879a2513833" providerId="ADAL" clId="{E6976C97-2060-8C46-9F3A-EAFB418BA348}" dt="2024-04-23T08:10:35.888" v="40"/>
          <ac:spMkLst>
            <pc:docMk/>
            <pc:sldMk cId="2241462360" sldId="2147138091"/>
            <ac:spMk id="15" creationId="{3F4F41D3-60FC-AB33-FC9C-BD75EDB18E36}"/>
          </ac:spMkLst>
        </pc:spChg>
        <pc:spChg chg="mod">
          <ac:chgData name="Oehrli, Stefan" userId="3f36891e-f853-43e7-bcbc-2879a2513833" providerId="ADAL" clId="{E6976C97-2060-8C46-9F3A-EAFB418BA348}" dt="2024-04-23T08:10:33.131" v="39" actId="20577"/>
          <ac:spMkLst>
            <pc:docMk/>
            <pc:sldMk cId="2241462360" sldId="2147138091"/>
            <ac:spMk id="17" creationId="{0EB2A3E7-FA19-C093-52DD-22855C4C3CAA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1" creationId="{F6FAE0B8-1014-2959-9803-3BE200AAD638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2" creationId="{3B04D1A6-A8A8-B21F-DCBA-A874C0092007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3" creationId="{794FCA43-8DCB-8D5D-A840-A0C372A37E87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5" creationId="{9E09B3D6-68D3-4625-3879-638801586451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6" creationId="{BC837DD7-E529-D7D4-B720-0BE9B88793D9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7" creationId="{F93ED3C9-408F-9F9A-6C24-09E85D284B5B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28" creationId="{6A3E7BB3-E6D0-4728-4C11-4FD5847703D4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33" creationId="{4B776AD4-07CA-2F71-90F1-AD8750861D53}"/>
          </ac:spMkLst>
        </pc:spChg>
        <pc:spChg chg="mod">
          <ac:chgData name="Oehrli, Stefan" userId="3f36891e-f853-43e7-bcbc-2879a2513833" providerId="ADAL" clId="{E6976C97-2060-8C46-9F3A-EAFB418BA348}" dt="2024-04-23T08:12:23.710" v="57" actId="1076"/>
          <ac:spMkLst>
            <pc:docMk/>
            <pc:sldMk cId="2241462360" sldId="2147138091"/>
            <ac:spMk id="36" creationId="{723F06DB-8A4E-72A8-F2B3-1B0260ED9F9B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2241462360" sldId="2147138091"/>
            <ac:spMk id="40" creationId="{2F79E84A-F8F1-F320-9F99-8460024C83FF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2241462360" sldId="2147138091"/>
            <ac:spMk id="41" creationId="{0428C4AA-3DC1-C788-99F9-DE74D951FC62}"/>
          </ac:spMkLst>
        </pc:spChg>
        <pc:grpChg chg="add mod">
          <ac:chgData name="Oehrli, Stefan" userId="3f36891e-f853-43e7-bcbc-2879a2513833" providerId="ADAL" clId="{E6976C97-2060-8C46-9F3A-EAFB418BA348}" dt="2024-04-23T08:10:35.888" v="40"/>
          <ac:grpSpMkLst>
            <pc:docMk/>
            <pc:sldMk cId="2241462360" sldId="2147138091"/>
            <ac:grpSpMk id="5" creationId="{0ED0B158-9444-370F-BB5D-16E6C85FEC08}"/>
          </ac:grpSpMkLst>
        </pc:grpChg>
        <pc:grpChg chg="add mod">
          <ac:chgData name="Oehrli, Stefan" userId="3f36891e-f853-43e7-bcbc-2879a2513833" providerId="ADAL" clId="{E6976C97-2060-8C46-9F3A-EAFB418BA348}" dt="2024-04-23T08:10:35.888" v="40"/>
          <ac:grpSpMkLst>
            <pc:docMk/>
            <pc:sldMk cId="2241462360" sldId="2147138091"/>
            <ac:grpSpMk id="9" creationId="{E689E83D-A7E8-48B9-BFB0-FB838D123875}"/>
          </ac:grpSpMkLst>
        </pc:grpChg>
        <pc:grpChg chg="add mod">
          <ac:chgData name="Oehrli, Stefan" userId="3f36891e-f853-43e7-bcbc-2879a2513833" providerId="ADAL" clId="{E6976C97-2060-8C46-9F3A-EAFB418BA348}" dt="2024-04-23T08:12:23.710" v="57" actId="1076"/>
          <ac:grpSpMkLst>
            <pc:docMk/>
            <pc:sldMk cId="2241462360" sldId="2147138091"/>
            <ac:grpSpMk id="16" creationId="{41CFAB29-83AB-BB4E-3827-1DD384EC7236}"/>
          </ac:grpSpMkLst>
        </pc:grpChg>
        <pc:grpChg chg="add mod">
          <ac:chgData name="Oehrli, Stefan" userId="3f36891e-f853-43e7-bcbc-2879a2513833" providerId="ADAL" clId="{E6976C97-2060-8C46-9F3A-EAFB418BA348}" dt="2024-04-23T08:12:23.710" v="57" actId="1076"/>
          <ac:grpSpMkLst>
            <pc:docMk/>
            <pc:sldMk cId="2241462360" sldId="2147138091"/>
            <ac:grpSpMk id="24" creationId="{9ADF6806-5DBE-6864-62D3-A832282A8622}"/>
          </ac:grpSpMkLst>
        </pc:grpChg>
        <pc:grpChg chg="add mod">
          <ac:chgData name="Oehrli, Stefan" userId="3f36891e-f853-43e7-bcbc-2879a2513833" providerId="ADAL" clId="{E6976C97-2060-8C46-9F3A-EAFB418BA348}" dt="2024-04-23T08:12:23.710" v="57" actId="1076"/>
          <ac:grpSpMkLst>
            <pc:docMk/>
            <pc:sldMk cId="2241462360" sldId="2147138091"/>
            <ac:grpSpMk id="37" creationId="{98171000-07B5-D604-3B1D-D17E2FF369C0}"/>
          </ac:grpSpMkLst>
        </pc:grpChg>
        <pc:picChg chg="mod">
          <ac:chgData name="Oehrli, Stefan" userId="3f36891e-f853-43e7-bcbc-2879a2513833" providerId="ADAL" clId="{E6976C97-2060-8C46-9F3A-EAFB418BA348}" dt="2024-04-23T08:09:25.865" v="34" actId="1076"/>
          <ac:picMkLst>
            <pc:docMk/>
            <pc:sldMk cId="2241462360" sldId="2147138091"/>
            <ac:picMk id="3" creationId="{EA690C77-120F-E5E0-063D-D1ABCE284564}"/>
          </ac:picMkLst>
        </pc:picChg>
        <pc:picChg chg="add mod">
          <ac:chgData name="Oehrli, Stefan" userId="3f36891e-f853-43e7-bcbc-2879a2513833" providerId="ADAL" clId="{E6976C97-2060-8C46-9F3A-EAFB418BA348}" dt="2024-04-23T08:12:35.781" v="59" actId="1076"/>
          <ac:picMkLst>
            <pc:docMk/>
            <pc:sldMk cId="2241462360" sldId="2147138091"/>
            <ac:picMk id="4" creationId="{BDA661E5-2CB1-4379-3D9C-82BF4C5BC6E7}"/>
          </ac:picMkLst>
        </pc:picChg>
        <pc:picChg chg="mod">
          <ac:chgData name="Oehrli, Stefan" userId="3f36891e-f853-43e7-bcbc-2879a2513833" providerId="ADAL" clId="{E6976C97-2060-8C46-9F3A-EAFB418BA348}" dt="2024-04-24T11:47:18.447" v="1335" actId="1076"/>
          <ac:picMkLst>
            <pc:docMk/>
            <pc:sldMk cId="2241462360" sldId="2147138091"/>
            <ac:picMk id="34" creationId="{C3B20B5A-1BFC-13EB-9061-96EF4F5F5183}"/>
          </ac:picMkLst>
        </pc:picChg>
        <pc:picChg chg="mod">
          <ac:chgData name="Oehrli, Stefan" userId="3f36891e-f853-43e7-bcbc-2879a2513833" providerId="ADAL" clId="{E6976C97-2060-8C46-9F3A-EAFB418BA348}" dt="2024-04-23T08:12:34.198" v="58" actId="1076"/>
          <ac:picMkLst>
            <pc:docMk/>
            <pc:sldMk cId="2241462360" sldId="2147138091"/>
            <ac:picMk id="35" creationId="{73ABD427-27CE-C838-0454-7938396B4941}"/>
          </ac:picMkLst>
        </pc:picChg>
        <pc:picChg chg="add mod">
          <ac:chgData name="Oehrli, Stefan" userId="3f36891e-f853-43e7-bcbc-2879a2513833" providerId="ADAL" clId="{E6976C97-2060-8C46-9F3A-EAFB418BA348}" dt="2024-04-24T11:47:22.714" v="1336" actId="1076"/>
          <ac:picMkLst>
            <pc:docMk/>
            <pc:sldMk cId="2241462360" sldId="2147138091"/>
            <ac:picMk id="39" creationId="{F008A5C9-0680-8150-43AA-CC938A873B9D}"/>
          </ac:picMkLst>
        </pc:picChg>
      </pc:sldChg>
      <pc:sldChg chg="addSp modSp">
        <pc:chgData name="Oehrli, Stefan" userId="3f36891e-f853-43e7-bcbc-2879a2513833" providerId="ADAL" clId="{E6976C97-2060-8C46-9F3A-EAFB418BA348}" dt="2024-04-25T07:52:05.967" v="1368"/>
        <pc:sldMkLst>
          <pc:docMk/>
          <pc:sldMk cId="1940722524" sldId="2147138093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1940722524" sldId="2147138093"/>
            <ac:spMk id="2" creationId="{1D95CD04-2E72-94CA-1695-06D2661124D4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1940722524" sldId="2147138093"/>
            <ac:spMk id="6" creationId="{AE12DF74-6875-4776-5A5E-AB6D2EE0A121}"/>
          </ac:spMkLst>
        </pc:spChg>
      </pc:sldChg>
      <pc:sldChg chg="addSp modSp mod">
        <pc:chgData name="Oehrli, Stefan" userId="3f36891e-f853-43e7-bcbc-2879a2513833" providerId="ADAL" clId="{E6976C97-2060-8C46-9F3A-EAFB418BA348}" dt="2024-04-25T07:52:05.967" v="1368"/>
        <pc:sldMkLst>
          <pc:docMk/>
          <pc:sldMk cId="2229416787" sldId="2147138095"/>
        </pc:sldMkLst>
        <pc:spChg chg="mod">
          <ac:chgData name="Oehrli, Stefan" userId="3f36891e-f853-43e7-bcbc-2879a2513833" providerId="ADAL" clId="{E6976C97-2060-8C46-9F3A-EAFB418BA348}" dt="2024-04-24T10:39:11.911" v="1323"/>
          <ac:spMkLst>
            <pc:docMk/>
            <pc:sldMk cId="2229416787" sldId="2147138095"/>
            <ac:spMk id="2" creationId="{FB74AED1-4003-E9C6-8D3B-2D77752399C3}"/>
          </ac:spMkLst>
        </pc:spChg>
        <pc:spChg chg="mod">
          <ac:chgData name="Oehrli, Stefan" userId="3f36891e-f853-43e7-bcbc-2879a2513833" providerId="ADAL" clId="{E6976C97-2060-8C46-9F3A-EAFB418BA348}" dt="2024-04-24T10:37:55.341" v="1273" actId="20577"/>
          <ac:spMkLst>
            <pc:docMk/>
            <pc:sldMk cId="2229416787" sldId="2147138095"/>
            <ac:spMk id="4" creationId="{946CA6F4-9448-6AD4-6D2E-3FBD4BF7C6FB}"/>
          </ac:spMkLst>
        </pc:spChg>
        <pc:spChg chg="add mod">
          <ac:chgData name="Oehrli, Stefan" userId="3f36891e-f853-43e7-bcbc-2879a2513833" providerId="ADAL" clId="{E6976C97-2060-8C46-9F3A-EAFB418BA348}" dt="2024-04-24T11:46:50.299" v="1330"/>
          <ac:spMkLst>
            <pc:docMk/>
            <pc:sldMk cId="2229416787" sldId="2147138095"/>
            <ac:spMk id="6" creationId="{E96460D5-755C-CF0E-3441-6B7B412A5B64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2229416787" sldId="2147138095"/>
            <ac:spMk id="7" creationId="{835C1A82-2C06-99A6-0802-3BB1028C7131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2229416787" sldId="2147138095"/>
            <ac:spMk id="8" creationId="{43D8C4E2-F175-9457-3861-81B5C2EC5631}"/>
          </ac:spMkLst>
        </pc:spChg>
      </pc:sldChg>
      <pc:sldChg chg="addSp modSp">
        <pc:chgData name="Oehrli, Stefan" userId="3f36891e-f853-43e7-bcbc-2879a2513833" providerId="ADAL" clId="{E6976C97-2060-8C46-9F3A-EAFB418BA348}" dt="2024-04-25T07:52:05.967" v="1368"/>
        <pc:sldMkLst>
          <pc:docMk/>
          <pc:sldMk cId="3058612435" sldId="2147138096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058612435" sldId="2147138096"/>
            <ac:spMk id="6" creationId="{D2213CD2-223F-1E87-47F3-C33BBE22875B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058612435" sldId="2147138096"/>
            <ac:spMk id="7" creationId="{81C13459-FC72-2B7A-68FE-89D706478147}"/>
          </ac:spMkLst>
        </pc:spChg>
      </pc:sldChg>
      <pc:sldChg chg="addSp modSp">
        <pc:chgData name="Oehrli, Stefan" userId="3f36891e-f853-43e7-bcbc-2879a2513833" providerId="ADAL" clId="{E6976C97-2060-8C46-9F3A-EAFB418BA348}" dt="2024-04-25T07:52:05.967" v="1368"/>
        <pc:sldMkLst>
          <pc:docMk/>
          <pc:sldMk cId="379875072" sldId="2147138097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79875072" sldId="2147138097"/>
            <ac:spMk id="5" creationId="{35F63FB1-7ED9-49A4-D640-816577B91267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79875072" sldId="2147138097"/>
            <ac:spMk id="8" creationId="{81D6E3C4-425D-B7C7-E57B-EC5C9D274F63}"/>
          </ac:spMkLst>
        </pc:spChg>
      </pc:sldChg>
      <pc:sldChg chg="addSp modSp">
        <pc:chgData name="Oehrli, Stefan" userId="3f36891e-f853-43e7-bcbc-2879a2513833" providerId="ADAL" clId="{E6976C97-2060-8C46-9F3A-EAFB418BA348}" dt="2024-04-25T07:52:05.967" v="1368"/>
        <pc:sldMkLst>
          <pc:docMk/>
          <pc:sldMk cId="3474791128" sldId="2147138098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474791128" sldId="2147138098"/>
            <ac:spMk id="6" creationId="{17290F91-E7D7-37A9-5D26-DC201AF53D93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474791128" sldId="2147138098"/>
            <ac:spMk id="7" creationId="{583CCA56-8178-0A2B-744D-5C814291B3A1}"/>
          </ac:spMkLst>
        </pc:spChg>
      </pc:sldChg>
      <pc:sldChg chg="addSp delSp mod addAnim delAnim modShow">
        <pc:chgData name="Oehrli, Stefan" userId="3f36891e-f853-43e7-bcbc-2879a2513833" providerId="ADAL" clId="{E6976C97-2060-8C46-9F3A-EAFB418BA348}" dt="2024-04-25T09:20:26.110" v="1371" actId="729"/>
        <pc:sldMkLst>
          <pc:docMk/>
          <pc:sldMk cId="3843352936" sldId="2147138100"/>
        </pc:sldMkLst>
        <pc:picChg chg="add del">
          <ac:chgData name="Oehrli, Stefan" userId="3f36891e-f853-43e7-bcbc-2879a2513833" providerId="ADAL" clId="{E6976C97-2060-8C46-9F3A-EAFB418BA348}" dt="2024-04-23T09:37:13.218" v="405" actId="478"/>
          <ac:picMkLst>
            <pc:docMk/>
            <pc:sldMk cId="3843352936" sldId="2147138100"/>
            <ac:picMk id="11" creationId="{D877CA97-1685-A632-3CF6-9641F5B2E675}"/>
          </ac:picMkLst>
        </pc:picChg>
      </pc:sldChg>
      <pc:sldChg chg="modSp">
        <pc:chgData name="Oehrli, Stefan" userId="3f36891e-f853-43e7-bcbc-2879a2513833" providerId="ADAL" clId="{E6976C97-2060-8C46-9F3A-EAFB418BA348}" dt="2024-04-24T12:16:56.857" v="1337" actId="790"/>
        <pc:sldMkLst>
          <pc:docMk/>
          <pc:sldMk cId="288964143" sldId="2147138101"/>
        </pc:sldMkLst>
        <pc:spChg chg="mod">
          <ac:chgData name="Oehrli, Stefan" userId="3f36891e-f853-43e7-bcbc-2879a2513833" providerId="ADAL" clId="{E6976C97-2060-8C46-9F3A-EAFB418BA348}" dt="2024-04-24T12:16:56.857" v="1337" actId="790"/>
          <ac:spMkLst>
            <pc:docMk/>
            <pc:sldMk cId="288964143" sldId="2147138101"/>
            <ac:spMk id="8" creationId="{5EE79F3A-A0A9-701D-5D8B-7F8B130B5732}"/>
          </ac:spMkLst>
        </pc:spChg>
      </pc:sldChg>
      <pc:sldChg chg="modSp">
        <pc:chgData name="Oehrli, Stefan" userId="3f36891e-f853-43e7-bcbc-2879a2513833" providerId="ADAL" clId="{E6976C97-2060-8C46-9F3A-EAFB418BA348}" dt="2024-04-24T10:36:25.922" v="1268" actId="20577"/>
        <pc:sldMkLst>
          <pc:docMk/>
          <pc:sldMk cId="3368936083" sldId="2147138109"/>
        </pc:sldMkLst>
        <pc:spChg chg="mod">
          <ac:chgData name="Oehrli, Stefan" userId="3f36891e-f853-43e7-bcbc-2879a2513833" providerId="ADAL" clId="{E6976C97-2060-8C46-9F3A-EAFB418BA348}" dt="2024-04-24T10:36:25.922" v="1268" actId="20577"/>
          <ac:spMkLst>
            <pc:docMk/>
            <pc:sldMk cId="3368936083" sldId="2147138109"/>
            <ac:spMk id="3" creationId="{9C018C55-05F7-440F-D0D1-4C23FD52D6AF}"/>
          </ac:spMkLst>
        </pc:spChg>
      </pc:sldChg>
      <pc:sldChg chg="modSp mod">
        <pc:chgData name="Oehrli, Stefan" userId="3f36891e-f853-43e7-bcbc-2879a2513833" providerId="ADAL" clId="{E6976C97-2060-8C46-9F3A-EAFB418BA348}" dt="2024-04-23T14:02:31.592" v="863" actId="20577"/>
        <pc:sldMkLst>
          <pc:docMk/>
          <pc:sldMk cId="4159375980" sldId="2147138110"/>
        </pc:sldMkLst>
        <pc:spChg chg="mod">
          <ac:chgData name="Oehrli, Stefan" userId="3f36891e-f853-43e7-bcbc-2879a2513833" providerId="ADAL" clId="{E6976C97-2060-8C46-9F3A-EAFB418BA348}" dt="2024-04-23T14:02:31.592" v="863" actId="20577"/>
          <ac:spMkLst>
            <pc:docMk/>
            <pc:sldMk cId="4159375980" sldId="2147138110"/>
            <ac:spMk id="9" creationId="{2033E105-22FF-3F94-15F0-366E8E86D770}"/>
          </ac:spMkLst>
        </pc:spChg>
      </pc:sldChg>
      <pc:sldChg chg="addSp delSp modSp mod">
        <pc:chgData name="Oehrli, Stefan" userId="3f36891e-f853-43e7-bcbc-2879a2513833" providerId="ADAL" clId="{E6976C97-2060-8C46-9F3A-EAFB418BA348}" dt="2024-04-23T14:26:40.180" v="1085" actId="14100"/>
        <pc:sldMkLst>
          <pc:docMk/>
          <pc:sldMk cId="2826333923" sldId="2147138119"/>
        </pc:sldMkLst>
        <pc:spChg chg="add del mod">
          <ac:chgData name="Oehrli, Stefan" userId="3f36891e-f853-43e7-bcbc-2879a2513833" providerId="ADAL" clId="{E6976C97-2060-8C46-9F3A-EAFB418BA348}" dt="2024-04-23T14:26:23.306" v="1081"/>
          <ac:spMkLst>
            <pc:docMk/>
            <pc:sldMk cId="2826333923" sldId="2147138119"/>
            <ac:spMk id="3" creationId="{000E3A59-48F8-D476-7E62-B8063DF294FC}"/>
          </ac:spMkLst>
        </pc:spChg>
        <pc:spChg chg="add del mod">
          <ac:chgData name="Oehrli, Stefan" userId="3f36891e-f853-43e7-bcbc-2879a2513833" providerId="ADAL" clId="{E6976C97-2060-8C46-9F3A-EAFB418BA348}" dt="2024-04-23T14:26:35.835" v="1083"/>
          <ac:spMkLst>
            <pc:docMk/>
            <pc:sldMk cId="2826333923" sldId="2147138119"/>
            <ac:spMk id="8" creationId="{283AE6A0-6130-F942-E7F6-150400E8D992}"/>
          </ac:spMkLst>
        </pc:spChg>
        <pc:picChg chg="add del mod">
          <ac:chgData name="Oehrli, Stefan" userId="3f36891e-f853-43e7-bcbc-2879a2513833" providerId="ADAL" clId="{E6976C97-2060-8C46-9F3A-EAFB418BA348}" dt="2024-04-23T14:26:34.815" v="1082" actId="478"/>
          <ac:picMkLst>
            <pc:docMk/>
            <pc:sldMk cId="2826333923" sldId="2147138119"/>
            <ac:picMk id="4" creationId="{67022554-A129-6EC5-21DE-1911F948BD31}"/>
          </ac:picMkLst>
        </pc:picChg>
        <pc:picChg chg="add mod">
          <ac:chgData name="Oehrli, Stefan" userId="3f36891e-f853-43e7-bcbc-2879a2513833" providerId="ADAL" clId="{E6976C97-2060-8C46-9F3A-EAFB418BA348}" dt="2024-04-23T14:26:40.180" v="1085" actId="14100"/>
          <ac:picMkLst>
            <pc:docMk/>
            <pc:sldMk cId="2826333923" sldId="2147138119"/>
            <ac:picMk id="9" creationId="{EDFE5C45-D888-C4E6-8730-0B50FED24CAD}"/>
          </ac:picMkLst>
        </pc:picChg>
        <pc:picChg chg="del">
          <ac:chgData name="Oehrli, Stefan" userId="3f36891e-f853-43e7-bcbc-2879a2513833" providerId="ADAL" clId="{E6976C97-2060-8C46-9F3A-EAFB418BA348}" dt="2024-04-23T14:26:07.289" v="1080" actId="478"/>
          <ac:picMkLst>
            <pc:docMk/>
            <pc:sldMk cId="2826333923" sldId="2147138119"/>
            <ac:picMk id="14" creationId="{5DDB58A2-B3C7-10E5-2E6A-227AB4475995}"/>
          </ac:picMkLst>
        </pc:picChg>
      </pc:sldChg>
      <pc:sldChg chg="modSp mod">
        <pc:chgData name="Oehrli, Stefan" userId="3f36891e-f853-43e7-bcbc-2879a2513833" providerId="ADAL" clId="{E6976C97-2060-8C46-9F3A-EAFB418BA348}" dt="2024-04-24T10:35:39.038" v="1267" actId="1076"/>
        <pc:sldMkLst>
          <pc:docMk/>
          <pc:sldMk cId="666160610" sldId="2147138121"/>
        </pc:sldMkLst>
        <pc:spChg chg="mod">
          <ac:chgData name="Oehrli, Stefan" userId="3f36891e-f853-43e7-bcbc-2879a2513833" providerId="ADAL" clId="{E6976C97-2060-8C46-9F3A-EAFB418BA348}" dt="2024-04-23T09:10:41.848" v="207" actId="20577"/>
          <ac:spMkLst>
            <pc:docMk/>
            <pc:sldMk cId="666160610" sldId="2147138121"/>
            <ac:spMk id="8" creationId="{7B7C21A9-BA8E-8035-8AF7-8D125C866046}"/>
          </ac:spMkLst>
        </pc:spChg>
        <pc:picChg chg="mod">
          <ac:chgData name="Oehrli, Stefan" userId="3f36891e-f853-43e7-bcbc-2879a2513833" providerId="ADAL" clId="{E6976C97-2060-8C46-9F3A-EAFB418BA348}" dt="2024-04-24T10:35:39.038" v="1267" actId="1076"/>
          <ac:picMkLst>
            <pc:docMk/>
            <pc:sldMk cId="666160610" sldId="2147138121"/>
            <ac:picMk id="19" creationId="{5B4FC075-4F81-DA69-730F-84B41EA31162}"/>
          </ac:picMkLst>
        </pc:picChg>
      </pc:sldChg>
      <pc:sldChg chg="modSp mod">
        <pc:chgData name="Oehrli, Stefan" userId="3f36891e-f853-43e7-bcbc-2879a2513833" providerId="ADAL" clId="{E6976C97-2060-8C46-9F3A-EAFB418BA348}" dt="2024-04-23T09:41:34.396" v="452" actId="14100"/>
        <pc:sldMkLst>
          <pc:docMk/>
          <pc:sldMk cId="608967408" sldId="2147138183"/>
        </pc:sldMkLst>
        <pc:spChg chg="mod">
          <ac:chgData name="Oehrli, Stefan" userId="3f36891e-f853-43e7-bcbc-2879a2513833" providerId="ADAL" clId="{E6976C97-2060-8C46-9F3A-EAFB418BA348}" dt="2024-04-23T09:41:34.396" v="452" actId="14100"/>
          <ac:spMkLst>
            <pc:docMk/>
            <pc:sldMk cId="608967408" sldId="2147138183"/>
            <ac:spMk id="8" creationId="{F722C1A2-8CB2-3FD8-BDA6-16F5D4E58EC0}"/>
          </ac:spMkLst>
        </pc:spChg>
      </pc:sldChg>
      <pc:sldChg chg="modSp mod">
        <pc:chgData name="Oehrli, Stefan" userId="3f36891e-f853-43e7-bcbc-2879a2513833" providerId="ADAL" clId="{E6976C97-2060-8C46-9F3A-EAFB418BA348}" dt="2024-04-23T09:41:46.060" v="458" actId="1076"/>
        <pc:sldMkLst>
          <pc:docMk/>
          <pc:sldMk cId="359752795" sldId="2147138185"/>
        </pc:sldMkLst>
        <pc:spChg chg="mod">
          <ac:chgData name="Oehrli, Stefan" userId="3f36891e-f853-43e7-bcbc-2879a2513833" providerId="ADAL" clId="{E6976C97-2060-8C46-9F3A-EAFB418BA348}" dt="2024-04-23T09:41:27.579" v="447" actId="20577"/>
          <ac:spMkLst>
            <pc:docMk/>
            <pc:sldMk cId="359752795" sldId="2147138185"/>
            <ac:spMk id="3" creationId="{BCDD5297-0405-9219-1F8C-D2FECB445D68}"/>
          </ac:spMkLst>
        </pc:spChg>
        <pc:spChg chg="mod">
          <ac:chgData name="Oehrli, Stefan" userId="3f36891e-f853-43e7-bcbc-2879a2513833" providerId="ADAL" clId="{E6976C97-2060-8C46-9F3A-EAFB418BA348}" dt="2024-04-23T09:41:46.060" v="458" actId="1076"/>
          <ac:spMkLst>
            <pc:docMk/>
            <pc:sldMk cId="359752795" sldId="2147138185"/>
            <ac:spMk id="8" creationId="{FEEC9AB0-CCA6-525D-E878-7FA4B450EEC4}"/>
          </ac:spMkLst>
        </pc:spChg>
      </pc:sldChg>
      <pc:sldChg chg="modSp mod">
        <pc:chgData name="Oehrli, Stefan" userId="3f36891e-f853-43e7-bcbc-2879a2513833" providerId="ADAL" clId="{E6976C97-2060-8C46-9F3A-EAFB418BA348}" dt="2024-04-23T09:12:15.261" v="209" actId="1076"/>
        <pc:sldMkLst>
          <pc:docMk/>
          <pc:sldMk cId="47853685" sldId="2147138186"/>
        </pc:sldMkLst>
        <pc:picChg chg="mod">
          <ac:chgData name="Oehrli, Stefan" userId="3f36891e-f853-43e7-bcbc-2879a2513833" providerId="ADAL" clId="{E6976C97-2060-8C46-9F3A-EAFB418BA348}" dt="2024-04-23T09:12:15.261" v="209" actId="1076"/>
          <ac:picMkLst>
            <pc:docMk/>
            <pc:sldMk cId="47853685" sldId="2147138186"/>
            <ac:picMk id="7" creationId="{C03D7ED1-049D-126A-B88D-196C2D20CE88}"/>
          </ac:picMkLst>
        </pc:picChg>
      </pc:sldChg>
      <pc:sldChg chg="modSp mod modAnim">
        <pc:chgData name="Oehrli, Stefan" userId="3f36891e-f853-43e7-bcbc-2879a2513833" providerId="ADAL" clId="{E6976C97-2060-8C46-9F3A-EAFB418BA348}" dt="2024-05-06T03:54:02.785" v="1427" actId="404"/>
        <pc:sldMkLst>
          <pc:docMk/>
          <pc:sldMk cId="3736502658" sldId="2147138187"/>
        </pc:sldMkLst>
        <pc:spChg chg="mod">
          <ac:chgData name="Oehrli, Stefan" userId="3f36891e-f853-43e7-bcbc-2879a2513833" providerId="ADAL" clId="{E6976C97-2060-8C46-9F3A-EAFB418BA348}" dt="2024-05-06T03:54:02.785" v="1427" actId="404"/>
          <ac:spMkLst>
            <pc:docMk/>
            <pc:sldMk cId="3736502658" sldId="2147138187"/>
            <ac:spMk id="3" creationId="{7345E89E-1AF6-0EEE-F052-FE458C10D639}"/>
          </ac:spMkLst>
        </pc:spChg>
        <pc:picChg chg="mod">
          <ac:chgData name="Oehrli, Stefan" userId="3f36891e-f853-43e7-bcbc-2879a2513833" providerId="ADAL" clId="{E6976C97-2060-8C46-9F3A-EAFB418BA348}" dt="2024-04-25T07:31:05.420" v="1354" actId="1076"/>
          <ac:picMkLst>
            <pc:docMk/>
            <pc:sldMk cId="3736502658" sldId="2147138187"/>
            <ac:picMk id="7" creationId="{F7EF9DDA-76E9-B4C0-19A5-316686C37EDB}"/>
          </ac:picMkLst>
        </pc:picChg>
      </pc:sldChg>
      <pc:sldChg chg="addSp modSp mod modAnim">
        <pc:chgData name="Oehrli, Stefan" userId="3f36891e-f853-43e7-bcbc-2879a2513833" providerId="ADAL" clId="{E6976C97-2060-8C46-9F3A-EAFB418BA348}" dt="2024-05-06T04:02:03.380" v="1672"/>
        <pc:sldMkLst>
          <pc:docMk/>
          <pc:sldMk cId="529553536" sldId="2147138188"/>
        </pc:sldMkLst>
        <pc:spChg chg="mod">
          <ac:chgData name="Oehrli, Stefan" userId="3f36891e-f853-43e7-bcbc-2879a2513833" providerId="ADAL" clId="{E6976C97-2060-8C46-9F3A-EAFB418BA348}" dt="2024-05-06T04:02:03.380" v="1672"/>
          <ac:spMkLst>
            <pc:docMk/>
            <pc:sldMk cId="529553536" sldId="2147138188"/>
            <ac:spMk id="4" creationId="{946CA6F4-9448-6AD4-6D2E-3FBD4BF7C6FB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529553536" sldId="2147138188"/>
            <ac:spMk id="6" creationId="{78A8C85F-5626-67F6-251F-133648840269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529553536" sldId="2147138188"/>
            <ac:spMk id="7" creationId="{944FE559-6B7D-4DE5-228C-47E096929592}"/>
          </ac:spMkLst>
        </pc:spChg>
        <pc:picChg chg="mod">
          <ac:chgData name="Oehrli, Stefan" userId="3f36891e-f853-43e7-bcbc-2879a2513833" providerId="ADAL" clId="{E6976C97-2060-8C46-9F3A-EAFB418BA348}" dt="2024-05-06T03:59:13.844" v="1622" actId="1076"/>
          <ac:picMkLst>
            <pc:docMk/>
            <pc:sldMk cId="529553536" sldId="2147138188"/>
            <ac:picMk id="2" creationId="{764922C8-43D4-FBA5-14AB-0C594B9B9E90}"/>
          </ac:picMkLst>
        </pc:picChg>
      </pc:sldChg>
      <pc:sldChg chg="addSp modSp">
        <pc:chgData name="Oehrli, Stefan" userId="3f36891e-f853-43e7-bcbc-2879a2513833" providerId="ADAL" clId="{E6976C97-2060-8C46-9F3A-EAFB418BA348}" dt="2024-04-25T07:52:05.967" v="1368"/>
        <pc:sldMkLst>
          <pc:docMk/>
          <pc:sldMk cId="3307806032" sldId="2147138189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307806032" sldId="2147138189"/>
            <ac:spMk id="2" creationId="{5DB083CE-42FF-B16C-133D-ED4EABC90FE5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307806032" sldId="2147138189"/>
            <ac:spMk id="6" creationId="{46B4C97E-7ECE-6CEB-EE46-6B02B9EE22AA}"/>
          </ac:spMkLst>
        </pc:spChg>
      </pc:sldChg>
      <pc:sldChg chg="addSp modSp mod">
        <pc:chgData name="Oehrli, Stefan" userId="3f36891e-f853-43e7-bcbc-2879a2513833" providerId="ADAL" clId="{E6976C97-2060-8C46-9F3A-EAFB418BA348}" dt="2024-05-06T04:00:10.508" v="1671" actId="20577"/>
        <pc:sldMkLst>
          <pc:docMk/>
          <pc:sldMk cId="2582172254" sldId="2147138190"/>
        </pc:sldMkLst>
        <pc:spChg chg="mod">
          <ac:chgData name="Oehrli, Stefan" userId="3f36891e-f853-43e7-bcbc-2879a2513833" providerId="ADAL" clId="{E6976C97-2060-8C46-9F3A-EAFB418BA348}" dt="2024-05-06T04:00:10.508" v="1671" actId="20577"/>
          <ac:spMkLst>
            <pc:docMk/>
            <pc:sldMk cId="2582172254" sldId="2147138190"/>
            <ac:spMk id="4" creationId="{946CA6F4-9448-6AD4-6D2E-3FBD4BF7C6FB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2582172254" sldId="2147138190"/>
            <ac:spMk id="6" creationId="{86A8954B-FF95-767D-16CB-B21B36974089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2582172254" sldId="2147138190"/>
            <ac:spMk id="7" creationId="{2A5E0A26-819B-2A38-9595-90DD7C7D61C3}"/>
          </ac:spMkLst>
        </pc:spChg>
      </pc:sldChg>
      <pc:sldChg chg="addSp delSp modSp del mod modClrScheme chgLayout">
        <pc:chgData name="Oehrli, Stefan" userId="3f36891e-f853-43e7-bcbc-2879a2513833" providerId="ADAL" clId="{E6976C97-2060-8C46-9F3A-EAFB418BA348}" dt="2024-04-25T07:32:02.870" v="1355" actId="2696"/>
        <pc:sldMkLst>
          <pc:docMk/>
          <pc:sldMk cId="354290953" sldId="2147138193"/>
        </pc:sldMkLst>
        <pc:spChg chg="add 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2" creationId="{42999F29-3E35-9B4C-A501-61B5364B888D}"/>
          </ac:spMkLst>
        </pc:spChg>
        <pc:spChg chg="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3" creationId="{09270624-DB2F-5790-7394-5247FB7484E4}"/>
          </ac:spMkLst>
        </pc:spChg>
        <pc:spChg chg="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4" creationId="{C0E159C0-DDC6-060B-9E85-4842008AFAF6}"/>
          </ac:spMkLst>
        </pc:spChg>
        <pc:spChg chg="del 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5" creationId="{425700E5-E8D3-C4DC-DC24-E8F8452EFD13}"/>
          </ac:spMkLst>
        </pc:spChg>
        <pc:spChg chg="del 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6" creationId="{51E811E9-FE9E-A201-2FC9-4DE62FF66868}"/>
          </ac:spMkLst>
        </pc:spChg>
        <pc:spChg chg="del 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7" creationId="{C103DB0E-9CBB-1238-0235-D395009C4904}"/>
          </ac:spMkLst>
        </pc:spChg>
        <pc:spChg chg="del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8" creationId="{1F5DFDF8-A6DB-7ABE-DF74-401BC979AD5B}"/>
          </ac:spMkLst>
        </pc:spChg>
        <pc:spChg chg="add mod ord">
          <ac:chgData name="Oehrli, Stefan" userId="3f36891e-f853-43e7-bcbc-2879a2513833" providerId="ADAL" clId="{E6976C97-2060-8C46-9F3A-EAFB418BA348}" dt="2024-04-23T14:34:10.538" v="1263" actId="20577"/>
          <ac:spMkLst>
            <pc:docMk/>
            <pc:sldMk cId="354290953" sldId="2147138193"/>
            <ac:spMk id="9" creationId="{FBD96851-6005-03F5-3EDF-B1B1F37DFAAF}"/>
          </ac:spMkLst>
        </pc:spChg>
        <pc:spChg chg="add mod ord">
          <ac:chgData name="Oehrli, Stefan" userId="3f36891e-f853-43e7-bcbc-2879a2513833" providerId="ADAL" clId="{E6976C97-2060-8C46-9F3A-EAFB418BA348}" dt="2024-04-23T09:20:16.016" v="211" actId="700"/>
          <ac:spMkLst>
            <pc:docMk/>
            <pc:sldMk cId="354290953" sldId="2147138193"/>
            <ac:spMk id="10" creationId="{6EFDB57F-5728-2AC6-67D3-89A50C7B0088}"/>
          </ac:spMkLst>
        </pc:spChg>
      </pc:sldChg>
      <pc:sldChg chg="mod modShow">
        <pc:chgData name="Oehrli, Stefan" userId="3f36891e-f853-43e7-bcbc-2879a2513833" providerId="ADAL" clId="{E6976C97-2060-8C46-9F3A-EAFB418BA348}" dt="2024-04-25T07:32:07.930" v="1356" actId="729"/>
        <pc:sldMkLst>
          <pc:docMk/>
          <pc:sldMk cId="1007215444" sldId="2147138194"/>
        </pc:sldMkLst>
      </pc:sldChg>
      <pc:sldChg chg="addSp modSp add mod">
        <pc:chgData name="Oehrli, Stefan" userId="3f36891e-f853-43e7-bcbc-2879a2513833" providerId="ADAL" clId="{E6976C97-2060-8C46-9F3A-EAFB418BA348}" dt="2024-04-25T07:52:05.967" v="1368"/>
        <pc:sldMkLst>
          <pc:docMk/>
          <pc:sldMk cId="3255326133" sldId="2147138195"/>
        </pc:sldMkLst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255326133" sldId="2147138195"/>
            <ac:spMk id="4" creationId="{8F194001-0E39-FED6-2BAC-7837A930F90B}"/>
          </ac:spMkLst>
        </pc:spChg>
        <pc:spChg chg="add mod">
          <ac:chgData name="Oehrli, Stefan" userId="3f36891e-f853-43e7-bcbc-2879a2513833" providerId="ADAL" clId="{E6976C97-2060-8C46-9F3A-EAFB418BA348}" dt="2024-04-25T07:52:05.967" v="1368"/>
          <ac:spMkLst>
            <pc:docMk/>
            <pc:sldMk cId="3255326133" sldId="2147138195"/>
            <ac:spMk id="5" creationId="{CF6CBAE3-9293-0AD3-C8A9-107BFC6E5089}"/>
          </ac:spMkLst>
        </pc:spChg>
        <pc:spChg chg="mod">
          <ac:chgData name="Oehrli, Stefan" userId="3f36891e-f853-43e7-bcbc-2879a2513833" providerId="ADAL" clId="{E6976C97-2060-8C46-9F3A-EAFB418BA348}" dt="2024-04-23T08:13:38.308" v="77" actId="1036"/>
          <ac:spMkLst>
            <pc:docMk/>
            <pc:sldMk cId="3255326133" sldId="2147138195"/>
            <ac:spMk id="15" creationId="{C33D7343-3A22-4022-A7E9-7FFF163293CA}"/>
          </ac:spMkLst>
        </pc:spChg>
        <pc:spChg chg="mod">
          <ac:chgData name="Oehrli, Stefan" userId="3f36891e-f853-43e7-bcbc-2879a2513833" providerId="ADAL" clId="{E6976C97-2060-8C46-9F3A-EAFB418BA348}" dt="2024-04-23T08:13:51.319" v="85" actId="1036"/>
          <ac:spMkLst>
            <pc:docMk/>
            <pc:sldMk cId="3255326133" sldId="2147138195"/>
            <ac:spMk id="20" creationId="{CD70640B-2E66-4E7A-A3D1-EDE2D07BCF48}"/>
          </ac:spMkLst>
        </pc:spChg>
      </pc:sldChg>
      <pc:sldChg chg="new mod modShow">
        <pc:chgData name="Oehrli, Stefan" userId="3f36891e-f853-43e7-bcbc-2879a2513833" providerId="ADAL" clId="{E6976C97-2060-8C46-9F3A-EAFB418BA348}" dt="2024-04-25T07:32:07.930" v="1356" actId="729"/>
        <pc:sldMkLst>
          <pc:docMk/>
          <pc:sldMk cId="1520814761" sldId="2147138196"/>
        </pc:sldMkLst>
      </pc:sldChg>
      <pc:sldChg chg="delSp add mod delAnim modAnim modShow">
        <pc:chgData name="Oehrli, Stefan" userId="3f36891e-f853-43e7-bcbc-2879a2513833" providerId="ADAL" clId="{E6976C97-2060-8C46-9F3A-EAFB418BA348}" dt="2024-04-25T09:20:23.774" v="1370" actId="729"/>
        <pc:sldMkLst>
          <pc:docMk/>
          <pc:sldMk cId="2500466773" sldId="2147138197"/>
        </pc:sldMkLst>
        <pc:picChg chg="del">
          <ac:chgData name="Oehrli, Stefan" userId="3f36891e-f853-43e7-bcbc-2879a2513833" providerId="ADAL" clId="{E6976C97-2060-8C46-9F3A-EAFB418BA348}" dt="2024-04-23T09:37:22.499" v="409" actId="478"/>
          <ac:picMkLst>
            <pc:docMk/>
            <pc:sldMk cId="2500466773" sldId="2147138197"/>
            <ac:picMk id="11" creationId="{D877CA97-1685-A632-3CF6-9641F5B2E675}"/>
          </ac:picMkLst>
        </pc:picChg>
      </pc:sldChg>
      <pc:sldChg chg="addSp delSp modSp add del mod addAnim delAnim">
        <pc:chgData name="Oehrli, Stefan" userId="3f36891e-f853-43e7-bcbc-2879a2513833" providerId="ADAL" clId="{E6976C97-2060-8C46-9F3A-EAFB418BA348}" dt="2024-04-23T09:37:13.788" v="406" actId="2890"/>
        <pc:sldMkLst>
          <pc:docMk/>
          <pc:sldMk cId="3671199156" sldId="2147138197"/>
        </pc:sldMkLst>
        <pc:spChg chg="add del mod">
          <ac:chgData name="Oehrli, Stefan" userId="3f36891e-f853-43e7-bcbc-2879a2513833" providerId="ADAL" clId="{E6976C97-2060-8C46-9F3A-EAFB418BA348}" dt="2024-04-23T09:37:12.316" v="404" actId="478"/>
          <ac:spMkLst>
            <pc:docMk/>
            <pc:sldMk cId="3671199156" sldId="2147138197"/>
            <ac:spMk id="3" creationId="{5AA1E8DD-E51D-74BA-D095-913B4D81100B}"/>
          </ac:spMkLst>
        </pc:spChg>
        <pc:picChg chg="add del">
          <ac:chgData name="Oehrli, Stefan" userId="3f36891e-f853-43e7-bcbc-2879a2513833" providerId="ADAL" clId="{E6976C97-2060-8C46-9F3A-EAFB418BA348}" dt="2024-04-23T09:37:12.316" v="404" actId="478"/>
          <ac:picMkLst>
            <pc:docMk/>
            <pc:sldMk cId="3671199156" sldId="2147138197"/>
            <ac:picMk id="10" creationId="{ED412094-1908-3F9A-F9B9-E2C15AC731C5}"/>
          </ac:picMkLst>
        </pc:picChg>
        <pc:picChg chg="mod">
          <ac:chgData name="Oehrli, Stefan" userId="3f36891e-f853-43e7-bcbc-2879a2513833" providerId="ADAL" clId="{E6976C97-2060-8C46-9F3A-EAFB418BA348}" dt="2024-04-23T09:36:48.740" v="402" actId="166"/>
          <ac:picMkLst>
            <pc:docMk/>
            <pc:sldMk cId="3671199156" sldId="2147138197"/>
            <ac:picMk id="11" creationId="{D877CA97-1685-A632-3CF6-9641F5B2E675}"/>
          </ac:picMkLst>
        </pc:picChg>
      </pc:sldChg>
      <pc:sldChg chg="addSp delSp modSp add mod modAnim modShow">
        <pc:chgData name="Oehrli, Stefan" userId="3f36891e-f853-43e7-bcbc-2879a2513833" providerId="ADAL" clId="{E6976C97-2060-8C46-9F3A-EAFB418BA348}" dt="2024-04-25T09:20:23.774" v="1370" actId="729"/>
        <pc:sldMkLst>
          <pc:docMk/>
          <pc:sldMk cId="2326204635" sldId="2147138198"/>
        </pc:sldMkLst>
        <pc:spChg chg="add del mod">
          <ac:chgData name="Oehrli, Stefan" userId="3f36891e-f853-43e7-bcbc-2879a2513833" providerId="ADAL" clId="{E6976C97-2060-8C46-9F3A-EAFB418BA348}" dt="2024-04-23T09:37:49.896" v="417" actId="478"/>
          <ac:spMkLst>
            <pc:docMk/>
            <pc:sldMk cId="2326204635" sldId="2147138198"/>
            <ac:spMk id="3" creationId="{D093AF67-4C0C-1F62-04E5-E9FD663FAAD7}"/>
          </ac:spMkLst>
        </pc:spChg>
        <pc:picChg chg="del">
          <ac:chgData name="Oehrli, Stefan" userId="3f36891e-f853-43e7-bcbc-2879a2513833" providerId="ADAL" clId="{E6976C97-2060-8C46-9F3A-EAFB418BA348}" dt="2024-04-23T09:37:47.572" v="416" actId="478"/>
          <ac:picMkLst>
            <pc:docMk/>
            <pc:sldMk cId="2326204635" sldId="2147138198"/>
            <ac:picMk id="10" creationId="{ED412094-1908-3F9A-F9B9-E2C15AC731C5}"/>
          </ac:picMkLst>
        </pc:picChg>
        <pc:picChg chg="add del mod">
          <ac:chgData name="Oehrli, Stefan" userId="3f36891e-f853-43e7-bcbc-2879a2513833" providerId="ADAL" clId="{E6976C97-2060-8C46-9F3A-EAFB418BA348}" dt="2024-04-23T09:37:55.651" v="418" actId="166"/>
          <ac:picMkLst>
            <pc:docMk/>
            <pc:sldMk cId="2326204635" sldId="2147138198"/>
            <ac:picMk id="11" creationId="{D877CA97-1685-A632-3CF6-9641F5B2E675}"/>
          </ac:picMkLst>
        </pc:picChg>
      </pc:sldChg>
      <pc:sldChg chg="addSp delSp modSp new mod ord modClrScheme chgLayout">
        <pc:chgData name="Oehrli, Stefan" userId="3f36891e-f853-43e7-bcbc-2879a2513833" providerId="ADAL" clId="{E6976C97-2060-8C46-9F3A-EAFB418BA348}" dt="2024-04-23T14:00:16.745" v="834" actId="20577"/>
        <pc:sldMkLst>
          <pc:docMk/>
          <pc:sldMk cId="2101678055" sldId="2147138199"/>
        </pc:sldMkLst>
        <pc:spChg chg="mod ord">
          <ac:chgData name="Oehrli, Stefan" userId="3f36891e-f853-43e7-bcbc-2879a2513833" providerId="ADAL" clId="{E6976C97-2060-8C46-9F3A-EAFB418BA348}" dt="2024-04-23T14:00:09.201" v="830"/>
          <ac:spMkLst>
            <pc:docMk/>
            <pc:sldMk cId="2101678055" sldId="2147138199"/>
            <ac:spMk id="2" creationId="{DB31F098-2BB4-812D-24F4-875B62545590}"/>
          </ac:spMkLst>
        </pc:spChg>
        <pc:spChg chg="mod ord">
          <ac:chgData name="Oehrli, Stefan" userId="3f36891e-f853-43e7-bcbc-2879a2513833" providerId="ADAL" clId="{E6976C97-2060-8C46-9F3A-EAFB418BA348}" dt="2024-04-23T14:00:16.745" v="834" actId="20577"/>
          <ac:spMkLst>
            <pc:docMk/>
            <pc:sldMk cId="2101678055" sldId="2147138199"/>
            <ac:spMk id="3" creationId="{478534EA-B75E-1872-8F9D-4F11BB9F3029}"/>
          </ac:spMkLst>
        </pc:spChg>
        <pc:spChg chg="mod ord">
          <ac:chgData name="Oehrli, Stefan" userId="3f36891e-f853-43e7-bcbc-2879a2513833" providerId="ADAL" clId="{E6976C97-2060-8C46-9F3A-EAFB418BA348}" dt="2024-04-23T13:59:55.977" v="827" actId="700"/>
          <ac:spMkLst>
            <pc:docMk/>
            <pc:sldMk cId="2101678055" sldId="2147138199"/>
            <ac:spMk id="4" creationId="{9EA972F4-BCC5-15B9-39B5-8E324FFBF5D2}"/>
          </ac:spMkLst>
        </pc:spChg>
        <pc:spChg chg="mod ord">
          <ac:chgData name="Oehrli, Stefan" userId="3f36891e-f853-43e7-bcbc-2879a2513833" providerId="ADAL" clId="{E6976C97-2060-8C46-9F3A-EAFB418BA348}" dt="2024-04-23T13:59:55.977" v="827" actId="700"/>
          <ac:spMkLst>
            <pc:docMk/>
            <pc:sldMk cId="2101678055" sldId="2147138199"/>
            <ac:spMk id="5" creationId="{BA67CCA9-9E7B-F519-9683-7060FB6BE905}"/>
          </ac:spMkLst>
        </pc:spChg>
        <pc:spChg chg="mod ord">
          <ac:chgData name="Oehrli, Stefan" userId="3f36891e-f853-43e7-bcbc-2879a2513833" providerId="ADAL" clId="{E6976C97-2060-8C46-9F3A-EAFB418BA348}" dt="2024-04-23T13:59:55.977" v="827" actId="700"/>
          <ac:spMkLst>
            <pc:docMk/>
            <pc:sldMk cId="2101678055" sldId="2147138199"/>
            <ac:spMk id="6" creationId="{3937EC73-E5C4-2D89-AF07-D084EEE152B3}"/>
          </ac:spMkLst>
        </pc:spChg>
        <pc:spChg chg="del mod ord">
          <ac:chgData name="Oehrli, Stefan" userId="3f36891e-f853-43e7-bcbc-2879a2513833" providerId="ADAL" clId="{E6976C97-2060-8C46-9F3A-EAFB418BA348}" dt="2024-04-23T13:59:52.754" v="826" actId="478"/>
          <ac:spMkLst>
            <pc:docMk/>
            <pc:sldMk cId="2101678055" sldId="2147138199"/>
            <ac:spMk id="7" creationId="{E26371B9-CF46-3663-FE65-58A6E419B0B7}"/>
          </ac:spMkLst>
        </pc:spChg>
        <pc:spChg chg="add del mod ord">
          <ac:chgData name="Oehrli, Stefan" userId="3f36891e-f853-43e7-bcbc-2879a2513833" providerId="ADAL" clId="{E6976C97-2060-8C46-9F3A-EAFB418BA348}" dt="2024-04-23T13:59:43.411" v="822" actId="478"/>
          <ac:spMkLst>
            <pc:docMk/>
            <pc:sldMk cId="2101678055" sldId="2147138199"/>
            <ac:spMk id="8" creationId="{D38C2A9E-C5B5-7F0B-EF43-A91D86D077CC}"/>
          </ac:spMkLst>
        </pc:spChg>
        <pc:spChg chg="add mod ord">
          <ac:chgData name="Oehrli, Stefan" userId="3f36891e-f853-43e7-bcbc-2879a2513833" providerId="ADAL" clId="{E6976C97-2060-8C46-9F3A-EAFB418BA348}" dt="2024-04-23T14:00:02.878" v="829" actId="14100"/>
          <ac:spMkLst>
            <pc:docMk/>
            <pc:sldMk cId="2101678055" sldId="2147138199"/>
            <ac:spMk id="9" creationId="{F557896F-6925-4B19-D106-ACD4FD6FA540}"/>
          </ac:spMkLst>
        </pc:spChg>
        <pc:spChg chg="add del mod">
          <ac:chgData name="Oehrli, Stefan" userId="3f36891e-f853-43e7-bcbc-2879a2513833" providerId="ADAL" clId="{E6976C97-2060-8C46-9F3A-EAFB418BA348}" dt="2024-04-23T13:59:46.229" v="823" actId="478"/>
          <ac:spMkLst>
            <pc:docMk/>
            <pc:sldMk cId="2101678055" sldId="2147138199"/>
            <ac:spMk id="11" creationId="{6B33DF3D-9E70-F4DF-E447-C0F66E6FAD1A}"/>
          </ac:spMkLst>
        </pc:spChg>
      </pc:sldChg>
      <pc:sldChg chg="addSp delSp modSp new mod modClrScheme chgLayout">
        <pc:chgData name="Oehrli, Stefan" userId="3f36891e-f853-43e7-bcbc-2879a2513833" providerId="ADAL" clId="{E6976C97-2060-8C46-9F3A-EAFB418BA348}" dt="2024-04-23T14:25:07.616" v="1077" actId="114"/>
        <pc:sldMkLst>
          <pc:docMk/>
          <pc:sldMk cId="1125153236" sldId="2147138200"/>
        </pc:sldMkLst>
        <pc:spChg chg="del mod ord">
          <ac:chgData name="Oehrli, Stefan" userId="3f36891e-f853-43e7-bcbc-2879a2513833" providerId="ADAL" clId="{E6976C97-2060-8C46-9F3A-EAFB418BA348}" dt="2024-04-23T14:12:39.381" v="873" actId="700"/>
          <ac:spMkLst>
            <pc:docMk/>
            <pc:sldMk cId="1125153236" sldId="2147138200"/>
            <ac:spMk id="2" creationId="{1AC470ED-78D1-474B-20C5-28B9D4E6453B}"/>
          </ac:spMkLst>
        </pc:spChg>
        <pc:spChg chg="del mod ord">
          <ac:chgData name="Oehrli, Stefan" userId="3f36891e-f853-43e7-bcbc-2879a2513833" providerId="ADAL" clId="{E6976C97-2060-8C46-9F3A-EAFB418BA348}" dt="2024-04-23T14:12:39.381" v="873" actId="700"/>
          <ac:spMkLst>
            <pc:docMk/>
            <pc:sldMk cId="1125153236" sldId="2147138200"/>
            <ac:spMk id="3" creationId="{0D4B32B3-B0E7-7D3F-C619-A526A86F12F5}"/>
          </ac:spMkLst>
        </pc:spChg>
        <pc:spChg chg="del mod ord">
          <ac:chgData name="Oehrli, Stefan" userId="3f36891e-f853-43e7-bcbc-2879a2513833" providerId="ADAL" clId="{E6976C97-2060-8C46-9F3A-EAFB418BA348}" dt="2024-04-23T14:12:39.381" v="873" actId="700"/>
          <ac:spMkLst>
            <pc:docMk/>
            <pc:sldMk cId="1125153236" sldId="2147138200"/>
            <ac:spMk id="4" creationId="{91FD816C-BB24-3E3C-B97C-8C1502D02DAF}"/>
          </ac:spMkLst>
        </pc:spChg>
        <pc:spChg chg="mod ord">
          <ac:chgData name="Oehrli, Stefan" userId="3f36891e-f853-43e7-bcbc-2879a2513833" providerId="ADAL" clId="{E6976C97-2060-8C46-9F3A-EAFB418BA348}" dt="2024-04-23T14:12:39.381" v="873" actId="700"/>
          <ac:spMkLst>
            <pc:docMk/>
            <pc:sldMk cId="1125153236" sldId="2147138200"/>
            <ac:spMk id="5" creationId="{F09E358F-338A-4E64-C3BF-E7A3070F09AA}"/>
          </ac:spMkLst>
        </pc:spChg>
        <pc:spChg chg="mod ord">
          <ac:chgData name="Oehrli, Stefan" userId="3f36891e-f853-43e7-bcbc-2879a2513833" providerId="ADAL" clId="{E6976C97-2060-8C46-9F3A-EAFB418BA348}" dt="2024-04-23T14:12:39.381" v="873" actId="700"/>
          <ac:spMkLst>
            <pc:docMk/>
            <pc:sldMk cId="1125153236" sldId="2147138200"/>
            <ac:spMk id="6" creationId="{0C42D28D-851E-8729-BC7A-C54854DCEF9F}"/>
          </ac:spMkLst>
        </pc:spChg>
        <pc:spChg chg="del mod">
          <ac:chgData name="Oehrli, Stefan" userId="3f36891e-f853-43e7-bcbc-2879a2513833" providerId="ADAL" clId="{E6976C97-2060-8C46-9F3A-EAFB418BA348}" dt="2024-04-23T14:12:39.381" v="873" actId="700"/>
          <ac:spMkLst>
            <pc:docMk/>
            <pc:sldMk cId="1125153236" sldId="2147138200"/>
            <ac:spMk id="7" creationId="{57A0203A-3A9D-DC79-662E-366CEB94F17C}"/>
          </ac:spMkLst>
        </pc:spChg>
        <pc:spChg chg="add mod ord">
          <ac:chgData name="Oehrli, Stefan" userId="3f36891e-f853-43e7-bcbc-2879a2513833" providerId="ADAL" clId="{E6976C97-2060-8C46-9F3A-EAFB418BA348}" dt="2024-04-23T14:19:27.399" v="1026" actId="20577"/>
          <ac:spMkLst>
            <pc:docMk/>
            <pc:sldMk cId="1125153236" sldId="2147138200"/>
            <ac:spMk id="8" creationId="{8869E05B-381A-F239-FD9F-1276999A25B3}"/>
          </ac:spMkLst>
        </pc:spChg>
        <pc:spChg chg="add del mod ord">
          <ac:chgData name="Oehrli, Stefan" userId="3f36891e-f853-43e7-bcbc-2879a2513833" providerId="ADAL" clId="{E6976C97-2060-8C46-9F3A-EAFB418BA348}" dt="2024-04-23T14:12:58.807" v="876" actId="3680"/>
          <ac:spMkLst>
            <pc:docMk/>
            <pc:sldMk cId="1125153236" sldId="2147138200"/>
            <ac:spMk id="9" creationId="{B73A2A35-9C68-B9B1-8475-EE407D2D529F}"/>
          </ac:spMkLst>
        </pc:spChg>
        <pc:spChg chg="add mod ord">
          <ac:chgData name="Oehrli, Stefan" userId="3f36891e-f853-43e7-bcbc-2879a2513833" providerId="ADAL" clId="{E6976C97-2060-8C46-9F3A-EAFB418BA348}" dt="2024-04-23T14:20:16.976" v="1027"/>
          <ac:spMkLst>
            <pc:docMk/>
            <pc:sldMk cId="1125153236" sldId="2147138200"/>
            <ac:spMk id="10" creationId="{25629252-61C1-6814-770B-95663B0AC3D0}"/>
          </ac:spMkLst>
        </pc:spChg>
        <pc:spChg chg="add mod">
          <ac:chgData name="Oehrli, Stefan" userId="3f36891e-f853-43e7-bcbc-2879a2513833" providerId="ADAL" clId="{E6976C97-2060-8C46-9F3A-EAFB418BA348}" dt="2024-04-23T14:25:07.616" v="1077" actId="114"/>
          <ac:spMkLst>
            <pc:docMk/>
            <pc:sldMk cId="1125153236" sldId="2147138200"/>
            <ac:spMk id="13" creationId="{C6BEBD63-243B-B92C-B20F-A1BBCE5241D1}"/>
          </ac:spMkLst>
        </pc:spChg>
        <pc:graphicFrameChg chg="add del mod ord modGraphic">
          <ac:chgData name="Oehrli, Stefan" userId="3f36891e-f853-43e7-bcbc-2879a2513833" providerId="ADAL" clId="{E6976C97-2060-8C46-9F3A-EAFB418BA348}" dt="2024-04-23T14:12:49.618" v="875" actId="3680"/>
          <ac:graphicFrameMkLst>
            <pc:docMk/>
            <pc:sldMk cId="1125153236" sldId="2147138200"/>
            <ac:graphicFrameMk id="11" creationId="{18F89489-7245-45E0-5FCA-8C2FAC96BD09}"/>
          </ac:graphicFrameMkLst>
        </pc:graphicFrameChg>
        <pc:graphicFrameChg chg="add mod ord modGraphic">
          <ac:chgData name="Oehrli, Stefan" userId="3f36891e-f853-43e7-bcbc-2879a2513833" providerId="ADAL" clId="{E6976C97-2060-8C46-9F3A-EAFB418BA348}" dt="2024-04-23T14:24:11.008" v="1059" actId="14100"/>
          <ac:graphicFrameMkLst>
            <pc:docMk/>
            <pc:sldMk cId="1125153236" sldId="2147138200"/>
            <ac:graphicFrameMk id="12" creationId="{27A28D25-8376-0042-E745-07F85BEEA568}"/>
          </ac:graphicFrameMkLst>
        </pc:graphicFrameChg>
      </pc:sldChg>
      <pc:sldChg chg="addSp delSp modSp new mod modClrScheme chgLayout">
        <pc:chgData name="Oehrli, Stefan" userId="3f36891e-f853-43e7-bcbc-2879a2513833" providerId="ADAL" clId="{E6976C97-2060-8C46-9F3A-EAFB418BA348}" dt="2024-04-23T14:33:53.515" v="1261" actId="14100"/>
        <pc:sldMkLst>
          <pc:docMk/>
          <pc:sldMk cId="2363004670" sldId="2147138201"/>
        </pc:sldMkLst>
        <pc:spChg chg="mod ord">
          <ac:chgData name="Oehrli, Stefan" userId="3f36891e-f853-43e7-bcbc-2879a2513833" providerId="ADAL" clId="{E6976C97-2060-8C46-9F3A-EAFB418BA348}" dt="2024-04-23T14:33:39.189" v="1255" actId="700"/>
          <ac:spMkLst>
            <pc:docMk/>
            <pc:sldMk cId="2363004670" sldId="2147138201"/>
            <ac:spMk id="2" creationId="{734E9B7A-1720-76C7-7875-A6786DD3D299}"/>
          </ac:spMkLst>
        </pc:spChg>
        <pc:spChg chg="mod ord">
          <ac:chgData name="Oehrli, Stefan" userId="3f36891e-f853-43e7-bcbc-2879a2513833" providerId="ADAL" clId="{E6976C97-2060-8C46-9F3A-EAFB418BA348}" dt="2024-04-23T14:33:53.515" v="1261" actId="14100"/>
          <ac:spMkLst>
            <pc:docMk/>
            <pc:sldMk cId="2363004670" sldId="2147138201"/>
            <ac:spMk id="3" creationId="{996D2F5D-8248-5FB3-C041-B036C08D3B78}"/>
          </ac:spMkLst>
        </pc:spChg>
        <pc:spChg chg="mod ord">
          <ac:chgData name="Oehrli, Stefan" userId="3f36891e-f853-43e7-bcbc-2879a2513833" providerId="ADAL" clId="{E6976C97-2060-8C46-9F3A-EAFB418BA348}" dt="2024-04-23T14:33:39.189" v="1255" actId="700"/>
          <ac:spMkLst>
            <pc:docMk/>
            <pc:sldMk cId="2363004670" sldId="2147138201"/>
            <ac:spMk id="4" creationId="{9CD8E2B0-CDFC-5203-5EB1-352B85303E1F}"/>
          </ac:spMkLst>
        </pc:spChg>
        <pc:spChg chg="mod ord">
          <ac:chgData name="Oehrli, Stefan" userId="3f36891e-f853-43e7-bcbc-2879a2513833" providerId="ADAL" clId="{E6976C97-2060-8C46-9F3A-EAFB418BA348}" dt="2024-04-23T14:33:39.189" v="1255" actId="700"/>
          <ac:spMkLst>
            <pc:docMk/>
            <pc:sldMk cId="2363004670" sldId="2147138201"/>
            <ac:spMk id="5" creationId="{3FA49A9B-502B-90BE-AA15-72CF774D9788}"/>
          </ac:spMkLst>
        </pc:spChg>
        <pc:spChg chg="mod ord">
          <ac:chgData name="Oehrli, Stefan" userId="3f36891e-f853-43e7-bcbc-2879a2513833" providerId="ADAL" clId="{E6976C97-2060-8C46-9F3A-EAFB418BA348}" dt="2024-04-23T14:33:39.189" v="1255" actId="700"/>
          <ac:spMkLst>
            <pc:docMk/>
            <pc:sldMk cId="2363004670" sldId="2147138201"/>
            <ac:spMk id="6" creationId="{8BF86A08-2693-82ED-14AF-2F999DFAA1B4}"/>
          </ac:spMkLst>
        </pc:spChg>
        <pc:spChg chg="del">
          <ac:chgData name="Oehrli, Stefan" userId="3f36891e-f853-43e7-bcbc-2879a2513833" providerId="ADAL" clId="{E6976C97-2060-8C46-9F3A-EAFB418BA348}" dt="2024-04-23T14:32:22.836" v="1249" actId="700"/>
          <ac:spMkLst>
            <pc:docMk/>
            <pc:sldMk cId="2363004670" sldId="2147138201"/>
            <ac:spMk id="7" creationId="{DCB32908-C2E0-FD5E-41AB-9FDE0D054E3F}"/>
          </ac:spMkLst>
        </pc:spChg>
        <pc:spChg chg="add del mod ord">
          <ac:chgData name="Oehrli, Stefan" userId="3f36891e-f853-43e7-bcbc-2879a2513833" providerId="ADAL" clId="{E6976C97-2060-8C46-9F3A-EAFB418BA348}" dt="2024-04-23T14:33:41.695" v="1256"/>
          <ac:spMkLst>
            <pc:docMk/>
            <pc:sldMk cId="2363004670" sldId="2147138201"/>
            <ac:spMk id="8" creationId="{005358AC-64B5-FEF3-FAE7-CF74788A45B2}"/>
          </ac:spMkLst>
        </pc:spChg>
        <pc:picChg chg="add mod">
          <ac:chgData name="Oehrli, Stefan" userId="3f36891e-f853-43e7-bcbc-2879a2513833" providerId="ADAL" clId="{E6976C97-2060-8C46-9F3A-EAFB418BA348}" dt="2024-04-23T14:33:49.632" v="1260" actId="1076"/>
          <ac:picMkLst>
            <pc:docMk/>
            <pc:sldMk cId="2363004670" sldId="2147138201"/>
            <ac:picMk id="9" creationId="{E8661E3D-8FFD-247A-E114-DF3D8F458F46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828800" cy="21237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027613" y="0"/>
            <a:ext cx="1828800" cy="21237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fld id="{1DE7078C-3525-4C9B-BF62-C9FD13B9A875}" type="datetimeFigureOut">
              <a:rPr lang="en-US" smtClean="0"/>
              <a:pPr/>
              <a:t>11/22/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0205" y="274505"/>
            <a:ext cx="4734172" cy="266297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0206" y="2999605"/>
            <a:ext cx="6751750" cy="586989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1" y="8923817"/>
            <a:ext cx="6217919" cy="21237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399213" y="8917749"/>
            <a:ext cx="457200" cy="21844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fld id="{436E8A87-18DA-4CCE-A8C2-BDBC489258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73849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12713" indent="-112713" algn="l" defTabSz="914400" rtl="0" eaLnBrk="1" latinLnBrk="0" hangingPunct="1">
      <a:buFont typeface="Graphik" panose="020B06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230188" indent="-112713" algn="l">
      <a:buFont typeface="Graphik" panose="020B0604020202020204" pitchFamily="34" charset="0"/>
      <a:buChar char="•"/>
      <a:defRPr sz="1000">
        <a:latin typeface="+mn-lt"/>
      </a:defRPr>
    </a:lvl2pPr>
    <a:lvl3pPr marL="342900" indent="-112713" algn="l">
      <a:buFont typeface="Graphik" panose="020B0604020202020204" pitchFamily="34" charset="0"/>
      <a:buChar char="•"/>
      <a:defRPr sz="900">
        <a:latin typeface="+mn-lt"/>
      </a:defRPr>
    </a:lvl3pPr>
    <a:lvl4pPr marL="460375" indent="-112713" algn="l">
      <a:buFont typeface="Graphik" panose="020B0604020202020204" pitchFamily="34" charset="0"/>
      <a:buChar char="•"/>
      <a:defRPr sz="800">
        <a:latin typeface="+mn-lt"/>
      </a:defRPr>
    </a:lvl4pPr>
    <a:lvl5pPr marL="571500" indent="-112713" algn="l">
      <a:buFont typeface="Graphik" panose="020B0604020202020204" pitchFamily="34" charset="0"/>
      <a:buChar char="•"/>
      <a:defRPr sz="800">
        <a:latin typeface="+mn-lt"/>
      </a:defRPr>
    </a:lvl5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0800" y="274638"/>
            <a:ext cx="4733925" cy="2662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35694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0800" y="274638"/>
            <a:ext cx="4733925" cy="2662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6DB022-BF3C-DF40-8161-AB029396660E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80482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0800" y="274638"/>
            <a:ext cx="4733925" cy="2662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350"/>
              </a:lnSpc>
            </a:pPr>
            <a:endParaRPr lang="en-GB" b="0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53715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0800" y="274638"/>
            <a:ext cx="4733925" cy="2662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5670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0800" y="274638"/>
            <a:ext cx="4733925" cy="2662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40431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Salutation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5F21F7E-CEFA-4A8F-862E-8631C40CEA2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dark or mid gradient options</a:t>
            </a:r>
            <a:endParaRPr lang="en-US" noProof="0" dirty="0"/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94AA491-F1F8-4D38-B722-DB2F38B198B8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5382386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14558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C35EA4"/>
          </p15:clr>
        </p15:guide>
        <p15:guide id="2" pos="3840" userDrawn="1">
          <p15:clr>
            <a:srgbClr val="C35EA4"/>
          </p15:clr>
        </p15:guide>
        <p15:guide id="3" orient="horz" pos="3608" userDrawn="1">
          <p15:clr>
            <a:srgbClr val="C35E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6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12688DA9-25EC-4AC3-AD0E-0CC139E1167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197142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464481-354D-44BF-B8B2-E0AFA2830FD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9" name="Logo_WH" descr="Accenture logo in white">
            <a:extLst>
              <a:ext uri="{FF2B5EF4-FFF2-40B4-BE49-F238E27FC236}">
                <a16:creationId xmlns:a16="http://schemas.microsoft.com/office/drawing/2014/main" id="{BA79480B-BE6F-49EC-829D-D8AF858ABFD8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381001" y="5815652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80D6DAB6-FE72-4647-9B94-83468BA6B4A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6961114-35B1-4F8E-96CC-0CA3D18133F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605010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7 Acquisition+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84A5767-82AC-46A2-88DD-C31D51E1CB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3" name="Picture Placeholder 11" descr="Image placeholder for client logo">
            <a:extLst>
              <a:ext uri="{FF2B5EF4-FFF2-40B4-BE49-F238E27FC236}">
                <a16:creationId xmlns:a16="http://schemas.microsoft.com/office/drawing/2014/main" id="{9B6BF12D-A981-4F4E-B8F1-FF12DC840F2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1001" y="5326815"/>
            <a:ext cx="1884233" cy="985085"/>
          </a:xfrm>
        </p:spPr>
        <p:txBody>
          <a:bodyPr anchor="ctr"/>
          <a:lstStyle>
            <a:lvl1pPr algn="ctr">
              <a:buFont typeface="Graphik" panose="020B0604020202020204" pitchFamily="34" charset="0"/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659D61A8-47A5-47C2-A85A-BCCCBE83C91F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1001" y="38100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43005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B818ECE-32D7-4F71-A6CA-1144DA38ED6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grpSp>
        <p:nvGrpSpPr>
          <p:cNvPr id="8" name="Logo_BL" descr="Accenture logo in black and purple">
            <a:extLst>
              <a:ext uri="{FF2B5EF4-FFF2-40B4-BE49-F238E27FC236}">
                <a16:creationId xmlns:a16="http://schemas.microsoft.com/office/drawing/2014/main" id="{35D3F8C8-B2E5-431B-9639-9F0553086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9AD7BAC9-11D9-4846-95CD-5C2B827147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CAEDE4E-DAF3-4FBC-BAEB-E0C26C20EB9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8553992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2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pic>
        <p:nvPicPr>
          <p:cNvPr id="10" name="Graphic 9" descr="Accenture Greater Than symbol in purple">
            <a:extLst>
              <a:ext uri="{FF2B5EF4-FFF2-40B4-BE49-F238E27FC236}">
                <a16:creationId xmlns:a16="http://schemas.microsoft.com/office/drawing/2014/main" id="{299A6723-3F53-4981-840E-D1D62874F6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5607811"/>
            <a:ext cx="641502" cy="704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5621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3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197142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grpSp>
        <p:nvGrpSpPr>
          <p:cNvPr id="10" name="Logo_BL" descr="Accenture logo in black and purple">
            <a:extLst>
              <a:ext uri="{FF2B5EF4-FFF2-40B4-BE49-F238E27FC236}">
                <a16:creationId xmlns:a16="http://schemas.microsoft.com/office/drawing/2014/main" id="{854C139D-5D17-4D1A-87BD-07B345E2E5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19641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4 Acqui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31B51-29F3-4C51-AE6C-41E7796F9933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2" name="Picture Placeholder 11" descr="Image placeholder for client logo">
            <a:extLst>
              <a:ext uri="{FF2B5EF4-FFF2-40B4-BE49-F238E27FC236}">
                <a16:creationId xmlns:a16="http://schemas.microsoft.com/office/drawing/2014/main" id="{75547ED6-CAEB-47AC-A74D-49C552BD6F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8417" y="771526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  <p:grpSp>
        <p:nvGrpSpPr>
          <p:cNvPr id="9" name="Logo_BL" descr="Accenture logo in black and purple">
            <a:extLst>
              <a:ext uri="{FF2B5EF4-FFF2-40B4-BE49-F238E27FC236}">
                <a16:creationId xmlns:a16="http://schemas.microsoft.com/office/drawing/2014/main" id="{1C5BF709-3623-4620-9FF0-B8F8076A8BE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C7B64CB8-485B-4A84-AF6D-C9EF295514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74AE1E9A-205A-4C25-A6CD-8452DDD299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988493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5 Acqui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733891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4734391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4979668"/>
            <a:ext cx="4114799" cy="548640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31B51-29F3-4C51-AE6C-41E7796F9933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2" name="Picture Placeholder 11" descr="Image placeholder for client logo">
            <a:extLst>
              <a:ext uri="{FF2B5EF4-FFF2-40B4-BE49-F238E27FC236}">
                <a16:creationId xmlns:a16="http://schemas.microsoft.com/office/drawing/2014/main" id="{75547ED6-CAEB-47AC-A74D-49C552BD6F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8417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  <p:grpSp>
        <p:nvGrpSpPr>
          <p:cNvPr id="9" name="Logo_BL" descr="Accenture logo in black and purple">
            <a:extLst>
              <a:ext uri="{FF2B5EF4-FFF2-40B4-BE49-F238E27FC236}">
                <a16:creationId xmlns:a16="http://schemas.microsoft.com/office/drawing/2014/main" id="{8D3E8DD1-C700-46AC-AA94-9072B0F3175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49093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99A1684-BC33-4579-B840-616EB6D11E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A5AD5E73-6E1C-44F8-9F73-9F3D4F6DF76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237294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6 Acquisition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206240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Picture Placeholder 11" descr="Image placeholder for client logo">
            <a:extLst>
              <a:ext uri="{FF2B5EF4-FFF2-40B4-BE49-F238E27FC236}">
                <a16:creationId xmlns:a16="http://schemas.microsoft.com/office/drawing/2014/main" id="{FFB79963-9269-41F8-B968-34FCB68C87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926766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  <p:grpSp>
        <p:nvGrpSpPr>
          <p:cNvPr id="10" name="Logo_BL" descr="Accenture logo in black and purple">
            <a:extLst>
              <a:ext uri="{FF2B5EF4-FFF2-40B4-BE49-F238E27FC236}">
                <a16:creationId xmlns:a16="http://schemas.microsoft.com/office/drawing/2014/main" id="{854C139D-5D17-4D1A-87BD-07B345E2E5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259063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7 Acquisition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715308A-2B7A-4485-A51C-F3F23FC4264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pic>
        <p:nvPicPr>
          <p:cNvPr id="5" name="Graphic 4" descr="Accenture Greater Than symbol in purple">
            <a:extLst>
              <a:ext uri="{FF2B5EF4-FFF2-40B4-BE49-F238E27FC236}">
                <a16:creationId xmlns:a16="http://schemas.microsoft.com/office/drawing/2014/main" id="{8DD1DFCC-5489-470C-84F4-93032F0960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382725"/>
            <a:ext cx="641502" cy="704088"/>
          </a:xfrm>
          <a:prstGeom prst="rect">
            <a:avLst/>
          </a:prstGeom>
        </p:spPr>
      </p:pic>
      <p:sp>
        <p:nvSpPr>
          <p:cNvPr id="13" name="Picture Placeholder 11" descr="Image placeholder for client logo">
            <a:extLst>
              <a:ext uri="{FF2B5EF4-FFF2-40B4-BE49-F238E27FC236}">
                <a16:creationId xmlns:a16="http://schemas.microsoft.com/office/drawing/2014/main" id="{05B9195C-3F7A-4A18-80FA-FB81E2ECDE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1001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 dirty="0"/>
              <a:t>Add client log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3554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ccenture Gradient Dark">
            <a:extLst>
              <a:ext uri="{FF2B5EF4-FFF2-40B4-BE49-F238E27FC236}">
                <a16:creationId xmlns:a16="http://schemas.microsoft.com/office/drawing/2014/main" id="{86F62995-A1F7-47A0-AD35-CBADA97239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8"/>
          <a:stretch/>
        </p:blipFill>
        <p:spPr bwMode="invGray"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961CA96-71E3-F941-B41E-52928AB911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 dirty="0"/>
              <a:t>Place subtitle here in GT </a:t>
            </a:r>
            <a:r>
              <a:rPr lang="en-GB" dirty="0" err="1"/>
              <a:t>Sectra</a:t>
            </a:r>
            <a:r>
              <a:rPr lang="en-GB" dirty="0"/>
              <a:t>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B2379EA-B598-42DD-B03E-5C4FC1D468F3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B0387B-1E9C-4EB7-9BA3-83AB796E35C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BB825C-3912-400B-A9ED-F17A355964B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21521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Logo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Salutation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B104FBB-E799-42A8-A4FA-483DC489523D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Format Background… &gt; Picture or texture fill &gt; Set to one of the dark or mid gradient options</a:t>
            </a:r>
            <a:endParaRPr lang="en-US" noProof="0" dirty="0"/>
          </a:p>
        </p:txBody>
      </p:sp>
      <p:grpSp>
        <p:nvGrpSpPr>
          <p:cNvPr id="12" name="Logo_WH" descr="Accenture logo in white">
            <a:extLst>
              <a:ext uri="{FF2B5EF4-FFF2-40B4-BE49-F238E27FC236}">
                <a16:creationId xmlns:a16="http://schemas.microsoft.com/office/drawing/2014/main" id="{0D82E30B-4E95-4B73-9014-71990AE21DBE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5374201"/>
            <a:ext cx="1883664" cy="496247"/>
            <a:chOff x="1561" y="187"/>
            <a:chExt cx="4536" cy="1195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008CD909-AC78-4980-BB04-8608F18CDC2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8B5D8E88-5919-40A0-A4A4-2E6587AD687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700557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8" userDrawn="1">
          <p15:clr>
            <a:srgbClr val="C35EA4"/>
          </p15:clr>
        </p15:guide>
        <p15:guide id="2" pos="3840" userDrawn="1">
          <p15:clr>
            <a:srgbClr val="C35EA4"/>
          </p15:clr>
        </p15:guide>
        <p15:guide id="3" orient="horz" pos="2160" userDrawn="1">
          <p15:clr>
            <a:srgbClr val="C35E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Co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ccenture Gradient Mid&#10;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88312-3597-964E-9B24-8371E2C856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70180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EC3F0890-0DED-4AD1-9A02-BD56F8554B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4" name="GTS_WH" descr="Accenture Greater Than symbol in white">
            <a:extLst>
              <a:ext uri="{FF2B5EF4-FFF2-40B4-BE49-F238E27FC236}">
                <a16:creationId xmlns:a16="http://schemas.microsoft.com/office/drawing/2014/main" id="{3FC0722F-C643-4988-96E8-F00519CB3A00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969A96-ECEE-46C8-AC65-A99027BA920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60008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Numbered, Gradient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ccenture Gradient Mid">
            <a:extLst>
              <a:ext uri="{FF2B5EF4-FFF2-40B4-BE49-F238E27FC236}">
                <a16:creationId xmlns:a16="http://schemas.microsoft.com/office/drawing/2014/main" id="{CB16898D-3DD4-439C-B43F-558C1FDD36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 userDrawn="1"/>
        </p:nvSpPr>
        <p:spPr bwMode="white">
          <a:xfrm>
            <a:off x="0" y="3428999"/>
            <a:ext cx="12192000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422072"/>
          </a:xfrm>
        </p:spPr>
        <p:txBody>
          <a:bodyPr anchor="t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noFill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#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7"/>
            <a:ext cx="2993573" cy="242207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 Rg" pitchFamily="2" charset="77"/>
              </a:defRPr>
            </a:lvl5pPr>
          </a:lstStyle>
          <a:p>
            <a:pPr lvl="0"/>
            <a:r>
              <a:rPr lang="en-GB" dirty="0"/>
              <a:t>Place subtitle here in GT Sectra Fine </a:t>
            </a:r>
            <a:r>
              <a:rPr lang="en-GB" dirty="0" err="1"/>
              <a:t>Rg</a:t>
            </a:r>
            <a:r>
              <a:rPr lang="en-GB" dirty="0"/>
              <a:t> 24pt</a:t>
            </a:r>
            <a:endParaRPr lang="en-US" dirty="0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C230B8D6-1525-4D29-A117-F22A9C16F0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6" name="GTS_WH" descr="Accenture Greater Than symbol in white">
            <a:extLst>
              <a:ext uri="{FF2B5EF4-FFF2-40B4-BE49-F238E27FC236}">
                <a16:creationId xmlns:a16="http://schemas.microsoft.com/office/drawing/2014/main" id="{C5173724-68B6-47CD-B850-71B1407EEAA1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04ADF7-CE17-4A46-8A63-A366F9BB14A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61314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69933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Graphik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Graphik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Place agenda summary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1" cy="810399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Agenda title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1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1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1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1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1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1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1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1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6242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6242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6242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6242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26242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6242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6242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26242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/>
          <p:nvPr userDrawn="1"/>
        </p:nvCxnSpPr>
        <p:spPr>
          <a:xfrm>
            <a:off x="4045241" y="1371600"/>
            <a:ext cx="0" cy="471948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dirty="0"/>
              <a:t>Insert agenda item</a:t>
            </a:r>
            <a:endParaRPr lang="en-US" dirty="0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17230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17230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17230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17230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17230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17230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17230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17230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dirty="0"/>
              <a:t>##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C1BE3C-F523-44EE-B6D4-7175CE08E157}"/>
              </a:ext>
            </a:extLst>
          </p:cNvPr>
          <p:cNvSpPr>
            <a:spLocks noGrp="1"/>
          </p:cNvSpPr>
          <p:nvPr>
            <p:ph type="ftr" sz="quarter" idx="56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796CD18-ADDA-4A64-BDD0-F5A8D01FDD49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687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C6DB689C-7DB3-4046-A1BF-E63F8EF784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87C97B1E-CB9E-4CBC-A6F1-1D4F2E4ECB3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0"/>
            <a:ext cx="11430000" cy="4940300"/>
          </a:xfrm>
        </p:spPr>
        <p:txBody>
          <a:bodyPr/>
          <a:lstStyle>
            <a:lvl1pPr marL="228600" indent="-228600">
              <a:buFont typeface="Graphik" panose="020B0604020202020204" pitchFamily="34" charset="0"/>
              <a:buChar char="•"/>
              <a:defRPr/>
            </a:lvl1pPr>
            <a:lvl2pPr marL="457200">
              <a:defRPr/>
            </a:lvl2pPr>
            <a:lvl3pPr marL="685800">
              <a:defRPr/>
            </a:lvl3pPr>
            <a:lvl4pPr marL="914400">
              <a:defRPr/>
            </a:lvl4pPr>
            <a:lvl5pPr marL="1143000">
              <a:defRPr/>
            </a:lvl5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4E1CDE7-C850-4F14-8D26-8BD1EE3D6D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BEF25E-6F09-4B47-806E-462D7622D1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50854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 and 1 Column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6DFCE48E-1DF3-48D6-BD43-BA3B9CE95A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40300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3646097A-7916-4EBE-A526-09FCBD84F6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5EFDEB3F-4743-43EA-A121-ED3CB6054C7F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AE8CB08-3B2A-44E5-8975-B69F3969CD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0924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949194"/>
            <a:ext cx="11430000" cy="4362706"/>
          </a:xfrm>
        </p:spPr>
        <p:txBody>
          <a:bodyPr/>
          <a:lstStyle/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6E1154F-E5DD-468F-85D1-17FC4F4386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699EEA-1839-42AE-A096-1905CABA2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7445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1" userDrawn="1">
          <p15:clr>
            <a:srgbClr val="547EB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2 - Headline + GT Sect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004457"/>
            <a:ext cx="5524500" cy="2865991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/>
            </a:lvl2pPr>
            <a:lvl3pPr marL="457200">
              <a:buFont typeface="Graphik" panose="020B0503030202060203" pitchFamily="34" charset="0"/>
              <a:buChar char="–"/>
              <a:defRPr sz="1800"/>
            </a:lvl3pPr>
            <a:lvl4pPr marL="685800">
              <a:buFont typeface="Graphik" panose="020B0604020202020204" pitchFamily="34" charset="0"/>
              <a:buChar char="•"/>
              <a:defRPr sz="1600"/>
            </a:lvl4pPr>
            <a:lvl5pPr marL="914400">
              <a:buFont typeface="Graphik" panose="020B0503030202060203" pitchFamily="34" charset="0"/>
              <a:buChar char="–"/>
              <a:defRPr sz="1600"/>
            </a:lvl5pPr>
          </a:lstStyle>
          <a:p>
            <a:pPr lvl="0"/>
            <a:r>
              <a:rPr lang="en-US" dirty="0"/>
              <a:t>Place sub-headline here in GT Sectra Fine </a:t>
            </a:r>
            <a:r>
              <a:rPr lang="en-US" dirty="0" err="1"/>
              <a:t>Rg</a:t>
            </a:r>
            <a:r>
              <a:rPr lang="en-US" dirty="0"/>
              <a:t>, indent for other levels 24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bullet 18pt</a:t>
            </a:r>
          </a:p>
          <a:p>
            <a:pPr lvl="3"/>
            <a:r>
              <a:rPr lang="en-US" dirty="0"/>
              <a:t>Fourth level bullet 16pt</a:t>
            </a:r>
          </a:p>
          <a:p>
            <a:pPr lvl="4"/>
            <a:r>
              <a:rPr lang="en-US" dirty="0"/>
              <a:t>Fifth level bullet 16pt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CC1513EB-EC9B-9B42-BA12-BC659505A76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86499" y="1371601"/>
            <a:ext cx="5524500" cy="450242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Place text here 20pt</a:t>
            </a:r>
          </a:p>
          <a:p>
            <a:pPr lvl="1"/>
            <a:r>
              <a:rPr lang="en-US" dirty="0"/>
              <a:t>Second level 20pt</a:t>
            </a:r>
          </a:p>
          <a:p>
            <a:pPr lvl="2"/>
            <a:r>
              <a:rPr lang="en-US" dirty="0"/>
              <a:t>Third level 20pt</a:t>
            </a:r>
          </a:p>
          <a:p>
            <a:pPr lvl="3"/>
            <a:r>
              <a:rPr lang="en-US" dirty="0"/>
              <a:t>Fourth level 18pt</a:t>
            </a:r>
          </a:p>
          <a:p>
            <a:pPr lvl="4"/>
            <a:r>
              <a:rPr lang="en-US" dirty="0"/>
              <a:t>Fifth level 18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371601"/>
            <a:ext cx="5524499" cy="1632856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A51E00B-3AD2-4131-A1AF-2681835517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5BAA4F-3169-4083-866F-71669DE395C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685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20" userDrawn="1">
          <p15:clr>
            <a:srgbClr val="C35E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87552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BB8772-B000-40EC-8AE7-3AA41499E64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74209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363034-F9EC-4A95-91E0-2E80197493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1974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 userDrawn="1">
          <p15:clr>
            <a:srgbClr val="547EB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Headings/Co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DE1E44A-D007-46D2-9E20-283025607FF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86499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A5F1A8-92F0-48CE-B27D-E2B7EE762F1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9450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8" userDrawn="1">
          <p15:clr>
            <a:srgbClr val="C35EA4"/>
          </p15:clr>
        </p15:guide>
        <p15:guide id="2" orient="horz" pos="932" userDrawn="1">
          <p15:clr>
            <a:srgbClr val="547EB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Keylin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Salutation 72pt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08823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C35E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18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DB26F5FE-8482-4C00-99C1-3FC3BEEE82C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318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US" dirty="0"/>
              <a:t>Sixth level 12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318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255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BA38EFA-DE92-462D-AAF3-DE465A4785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8255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US" dirty="0"/>
              <a:t>Sixth level 12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55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974BDB1-DA1D-43EC-81BC-66135DB7B8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FE860E3B-7BAE-4917-8F29-26AFBD0E72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B7D7C41-6360-43FF-A192-982014655EF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8099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 userDrawn="1">
          <p15:clr>
            <a:srgbClr val="C35EA4"/>
          </p15:clr>
        </p15:guide>
        <p15:guide id="2" orient="horz" pos="932" userDrawn="1">
          <p15:clr>
            <a:srgbClr val="547EB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2571749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2571749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337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337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8650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8650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973701C-90E3-449B-A44A-0C66B094560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392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Place headline here 24p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B018D-34A3-4417-AE76-9BB3793F033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392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#</a:t>
            </a:r>
            <a:endParaRPr lang="en-US" dirty="0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3BDC2B1A-D3A0-C04B-AEDB-0389C637EF1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81000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0F6CE73-9C88-264F-A7F2-A3D2B2D1938B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3337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5F289FE6-F2A2-784D-9D31-047C10F04CD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6286500" y="3145138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079B5C1-1D0F-8F40-A376-4AE3B49D1B5A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2392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 dirty="0"/>
              <a:t>Place text here 18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18pt</a:t>
            </a:r>
          </a:p>
          <a:p>
            <a:pPr lvl="3"/>
            <a:r>
              <a:rPr lang="en-US" dirty="0"/>
              <a:t>Fourth level 16pt</a:t>
            </a:r>
          </a:p>
          <a:p>
            <a:pPr lvl="4"/>
            <a:r>
              <a:rPr lang="en-US" dirty="0"/>
              <a:t>Fifth level 16</a:t>
            </a:r>
          </a:p>
          <a:p>
            <a:pPr lvl="5"/>
            <a:r>
              <a:rPr lang="en-US" dirty="0"/>
              <a:t>Sixth level 12pt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83000718-AD47-4F1E-8F71-56356C9406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01BF3E00-F066-4583-A5B1-87DD19666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5650FA89-A64B-4802-B6DF-D1844A8430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D5B1DD8-C71C-4D65-A58A-0A9A86DCED8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0975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8" userDrawn="1">
          <p15:clr>
            <a:srgbClr val="C35EA4"/>
          </p15:clr>
        </p15:guide>
        <p15:guide id="2" orient="horz" pos="932" userDrawn="1">
          <p15:clr>
            <a:srgbClr val="547EB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5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798829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BD757F29-5B8C-430C-B53D-FA44B1887B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377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C854DFB-B17D-45CF-98C3-3882DBE2C3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898899"/>
            <a:ext cx="1985504" cy="1971541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C5D125FD-0D25-4E65-82F5-4E18FE84E4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3943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5B124AA5-6419-4552-97B5-242DA08BE7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0145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A378CD97-B880-4BCB-AD71-A7C1C1C848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347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2CB6C29-05E0-4B43-A2EB-22FEB969E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25496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Headline 20pt</a:t>
            </a:r>
          </a:p>
          <a:p>
            <a:pPr lvl="1"/>
            <a:r>
              <a:rPr lang="en-US" dirty="0"/>
              <a:t>Details 16pt</a:t>
            </a:r>
          </a:p>
          <a:p>
            <a:pPr lvl="2"/>
            <a:r>
              <a:rPr lang="en-US" dirty="0"/>
              <a:t>More details 12pt</a:t>
            </a:r>
          </a:p>
          <a:p>
            <a:pPr lvl="3"/>
            <a:r>
              <a:rPr lang="en-US" dirty="0"/>
              <a:t>Bullet point 12p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13EDE11-CE40-4943-AE63-A3B14CB3C037}"/>
              </a:ext>
            </a:extLst>
          </p:cNvPr>
          <p:cNvCxnSpPr>
            <a:cxnSpLocks/>
          </p:cNvCxnSpPr>
          <p:nvPr userDrawn="1"/>
        </p:nvCxnSpPr>
        <p:spPr>
          <a:xfrm>
            <a:off x="114156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7ED40C-58DA-45F1-8E80-6A74976C6E1E}"/>
              </a:ext>
            </a:extLst>
          </p:cNvPr>
          <p:cNvCxnSpPr/>
          <p:nvPr userDrawn="1"/>
        </p:nvCxnSpPr>
        <p:spPr>
          <a:xfrm>
            <a:off x="350358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91A22B2-C08A-41DA-ACB1-5B59B4CDA8DE}"/>
              </a:ext>
            </a:extLst>
          </p:cNvPr>
          <p:cNvCxnSpPr/>
          <p:nvPr userDrawn="1"/>
        </p:nvCxnSpPr>
        <p:spPr>
          <a:xfrm>
            <a:off x="586560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7D3E374-86AB-4A80-81AD-B09F07C51B80}"/>
              </a:ext>
            </a:extLst>
          </p:cNvPr>
          <p:cNvCxnSpPr/>
          <p:nvPr userDrawn="1"/>
        </p:nvCxnSpPr>
        <p:spPr>
          <a:xfrm>
            <a:off x="822762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3A5244A-D0CA-43CB-A0DB-296A219EDC9D}"/>
              </a:ext>
            </a:extLst>
          </p:cNvPr>
          <p:cNvCxnSpPr>
            <a:cxnSpLocks/>
          </p:cNvCxnSpPr>
          <p:nvPr userDrawn="1"/>
        </p:nvCxnSpPr>
        <p:spPr>
          <a:xfrm>
            <a:off x="10589648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EABD27E6-4547-45B3-9AC5-1EF508AE88E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7579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31C34651-25FA-45DD-86DF-BB58EBE9AA8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3781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32375EE-E449-4B59-B987-5D6EBFBDF3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99831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EE1692D5-4CE6-4990-8769-B146983B94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161852" y="2098874"/>
            <a:ext cx="1312792" cy="1312792"/>
          </a:xfrm>
          <a:noFill/>
        </p:spPr>
        <p:txBody>
          <a:bodyPr/>
          <a:lstStyle>
            <a:lvl1pPr marL="0" indent="0" algn="ctr">
              <a:buFont typeface="Graphik" panose="020B0604020202020204" pitchFamily="34" charset="0"/>
              <a:buNone/>
              <a:defRPr sz="1800" b="0"/>
            </a:lvl1pPr>
          </a:lstStyle>
          <a:p>
            <a:r>
              <a:rPr lang="en-GB" dirty="0"/>
              <a:t>Add icon</a:t>
            </a:r>
            <a:endParaRPr lang="en-US" dirty="0"/>
          </a:p>
        </p:txBody>
      </p:sp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57676F53-2AF5-4F44-9119-3C3347D1DA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8D97977-AAE6-4533-93CA-ADE704E9F4A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D3E087-C0E5-4045-83EC-D0F38053E0B8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5126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 userDrawn="1">
          <p15:clr>
            <a:srgbClr val="C35EA4"/>
          </p15:clr>
        </p15:guide>
        <p15:guide id="2" orient="horz" pos="932" userDrawn="1">
          <p15:clr>
            <a:srgbClr val="547EB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4-Box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54655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Font typeface="Graphik" panose="020B0604020202020204" pitchFamily="34" charset="0"/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25DB0B2A-9775-46B0-9A40-F75EBFA4B45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817351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3F6B5F-EAE7-44DA-BD77-6D66865CEB9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80047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AD8EF41C-E978-4139-80A4-73605C41EA3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42743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54653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solidFill>
                  <a:schemeClr val="accent2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</a:t>
            </a:r>
            <a:br>
              <a:rPr lang="en-US" dirty="0"/>
            </a:br>
            <a:r>
              <a:rPr lang="en-US" dirty="0"/>
              <a:t>Last name 21pt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7350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</a:t>
            </a:r>
            <a:br>
              <a:rPr lang="en-US" dirty="0"/>
            </a:br>
            <a:r>
              <a:rPr lang="en-US" dirty="0"/>
              <a:t>Last name 21pt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80047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</a:t>
            </a:r>
            <a:br>
              <a:rPr lang="en-US" dirty="0"/>
            </a:br>
            <a:r>
              <a:rPr lang="en-US" dirty="0"/>
              <a:t>Last name 21pt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42742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</a:t>
            </a:r>
            <a:br>
              <a:rPr lang="en-US" dirty="0"/>
            </a:br>
            <a:r>
              <a:rPr lang="en-US" dirty="0"/>
              <a:t>Last name 21pt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9310CF55-0D9B-41F8-8D1E-8BA74BC232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4481D5-3713-4165-990F-CD2E7B955A0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11865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6-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lIns="91440" tIns="0"/>
          <a:lstStyle>
            <a:lvl1pPr marL="0" indent="0">
              <a:buNone/>
              <a:defRPr sz="1800" b="0"/>
            </a:lvl1pPr>
          </a:lstStyle>
          <a:p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BD665DCA-734C-4077-92CB-D7A9FCD67D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3D474A-8A06-4078-BEBB-EBDCDD30231B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9FEF6117-B6D9-4841-8EFA-DF78BCFA9C0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77415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90B0A6BB-BC70-4436-B334-35CF914D177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EA23CA56-3568-4982-84E5-176DE32541C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7E019EA7-B58E-4B17-A663-2E8CCD701589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9A57066F-5BF5-43F7-A9DA-1788B5511DA7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5" name="Picture Placeholder 4">
            <a:extLst>
              <a:ext uri="{FF2B5EF4-FFF2-40B4-BE49-F238E27FC236}">
                <a16:creationId xmlns:a16="http://schemas.microsoft.com/office/drawing/2014/main" id="{EA5F90EC-FB85-4041-85C1-409768D3A0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9034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 userDrawn="1">
          <p15:clr>
            <a:srgbClr val="C35E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-Team 6-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lIns="91440"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2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6DA3268F-5CC4-7E4D-879D-3A3F1FBF6B5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855592D2-902A-1146-B433-6648BEC8784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4389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Graphik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Last name</a:t>
            </a:r>
          </a:p>
          <a:p>
            <a:pPr lvl="1"/>
            <a:r>
              <a:rPr lang="en-US" dirty="0"/>
              <a:t>Role 16pt</a:t>
            </a:r>
          </a:p>
          <a:p>
            <a:pPr lvl="2"/>
            <a:r>
              <a:rPr lang="en-US" dirty="0"/>
              <a:t>Short bio 12pt</a:t>
            </a:r>
          </a:p>
          <a:p>
            <a:pPr lvl="3"/>
            <a:r>
              <a:rPr lang="en-US" dirty="0"/>
              <a:t>Bullet point 12pt</a:t>
            </a:r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F748F9AD-5F56-42EC-9922-780EBA4436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2" name="GTS_WH" descr="Accenture Greater Than symbol in white">
            <a:extLst>
              <a:ext uri="{FF2B5EF4-FFF2-40B4-BE49-F238E27FC236}">
                <a16:creationId xmlns:a16="http://schemas.microsoft.com/office/drawing/2014/main" id="{B49891DC-D80E-4D1B-961E-1B567E0E453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8FB076-B311-496F-8C11-2C54B06FBB3D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199DF3DD-2E34-4D79-8E11-12CE813E73F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8100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5" name="Picture Placeholder 4">
            <a:extLst>
              <a:ext uri="{FF2B5EF4-FFF2-40B4-BE49-F238E27FC236}">
                <a16:creationId xmlns:a16="http://schemas.microsoft.com/office/drawing/2014/main" id="{6FCD1A94-A214-4264-842C-B5DA710C1F3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95C1CB4-E517-4380-8170-E8C0CA787FBA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6AFBE91E-BB56-4FAF-ADEB-859CA86F829F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15D78B8A-7ECF-44EE-A95F-FBD072A6889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F2F64C30-F694-4DC6-AAED-5ECA99ECCF5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60289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703" userDrawn="1">
          <p15:clr>
            <a:srgbClr val="C35E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8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371931-42F0-694A-9918-74F3672574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1000" y="1295233"/>
            <a:ext cx="3540355" cy="501666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Place text here, use indent to access other levels 20pt</a:t>
            </a:r>
          </a:p>
          <a:p>
            <a:pPr lvl="1"/>
            <a:r>
              <a:rPr lang="en-GB" dirty="0"/>
              <a:t>Second level 20pt</a:t>
            </a:r>
          </a:p>
          <a:p>
            <a:pPr lvl="2"/>
            <a:r>
              <a:rPr lang="en-GB" dirty="0"/>
              <a:t>Third level 20pt</a:t>
            </a:r>
          </a:p>
          <a:p>
            <a:pPr lvl="3"/>
            <a:r>
              <a:rPr lang="en-GB" dirty="0"/>
              <a:t>Fourth level 18pt</a:t>
            </a:r>
          </a:p>
          <a:p>
            <a:pPr lvl="4"/>
            <a:r>
              <a:rPr lang="en-GB" dirty="0"/>
              <a:t>Fifth level 18pt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45" name="Picture Placeholder 13">
            <a:extLst>
              <a:ext uri="{FF2B5EF4-FFF2-40B4-BE49-F238E27FC236}">
                <a16:creationId xmlns:a16="http://schemas.microsoft.com/office/drawing/2014/main" id="{CD7EAAF9-7102-4351-9F35-C40B3F3819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5820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CC40CB3D-DFEA-4056-B2DA-887E7C8632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98231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BABECB-6F2D-4068-AEE6-A603DAA72E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43053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914A31DD-59CB-48C9-9C28-954E6B85C62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0642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224BCF40-5B7A-4471-B077-3EEE956ADC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5822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68E899C2-D12C-4214-88A5-B7A6E1BCDC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98233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59" name="Text Placeholder 21">
            <a:extLst>
              <a:ext uri="{FF2B5EF4-FFF2-40B4-BE49-F238E27FC236}">
                <a16:creationId xmlns:a16="http://schemas.microsoft.com/office/drawing/2014/main" id="{66A0D763-27FE-421C-A5D9-19A08FC2D8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70644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78" name="Text Placeholder 21">
            <a:extLst>
              <a:ext uri="{FF2B5EF4-FFF2-40B4-BE49-F238E27FC236}">
                <a16:creationId xmlns:a16="http://schemas.microsoft.com/office/drawing/2014/main" id="{43E52046-A5DE-47E3-A9A3-ADD4F6DB82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43055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BA696AEF-3D6B-2E4A-853E-8A8760E58D09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325822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3" name="Picture Placeholder 13">
            <a:extLst>
              <a:ext uri="{FF2B5EF4-FFF2-40B4-BE49-F238E27FC236}">
                <a16:creationId xmlns:a16="http://schemas.microsoft.com/office/drawing/2014/main" id="{05B98E7F-7333-A04B-94D4-281325401EF4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29823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4" name="Picture Placeholder 13">
            <a:extLst>
              <a:ext uri="{FF2B5EF4-FFF2-40B4-BE49-F238E27FC236}">
                <a16:creationId xmlns:a16="http://schemas.microsoft.com/office/drawing/2014/main" id="{B99C455B-37CC-4E44-8046-56AF81C1636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24305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35" name="Picture Placeholder 13">
            <a:extLst>
              <a:ext uri="{FF2B5EF4-FFF2-40B4-BE49-F238E27FC236}">
                <a16:creationId xmlns:a16="http://schemas.microsoft.com/office/drawing/2014/main" id="{AAA6B0A5-6A50-1640-8F39-F8AC766655FE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270644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 dirty="0"/>
              <a:t>Add profile photo</a:t>
            </a:r>
            <a:endParaRPr lang="en-US" dirty="0"/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CDFBCAAC-9CA0-5A4E-8684-A49AAB0BA65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5822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0C025F6B-BD75-0A4C-87E1-147D69F7C5B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233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A9CB5A73-2496-3841-A61A-1965B0A6AD1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70644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886F547A-67CA-C749-B9EA-AA1142C3154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243055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Graphik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Graphik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 dirty="0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 dirty="0"/>
              <a:t>Role 14pt</a:t>
            </a:r>
          </a:p>
        </p:txBody>
      </p:sp>
      <p:sp>
        <p:nvSpPr>
          <p:cNvPr id="50" name="Footer Placeholder 3">
            <a:extLst>
              <a:ext uri="{FF2B5EF4-FFF2-40B4-BE49-F238E27FC236}">
                <a16:creationId xmlns:a16="http://schemas.microsoft.com/office/drawing/2014/main" id="{A671D4FB-2F86-4AF3-89D0-D61D543789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1014D8-C563-4003-8EBC-A9F6EE68BA63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1559D4A6-A7D1-4EAE-87E5-EB8A4B73E546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325822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564E037C-8888-4DE6-88C4-A629CBF5F3A9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6298233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51" name="Picture Placeholder 4">
            <a:extLst>
              <a:ext uri="{FF2B5EF4-FFF2-40B4-BE49-F238E27FC236}">
                <a16:creationId xmlns:a16="http://schemas.microsoft.com/office/drawing/2014/main" id="{1DD1D133-7281-4297-B58B-4683B9743A55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270644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52" name="Picture Placeholder 4">
            <a:extLst>
              <a:ext uri="{FF2B5EF4-FFF2-40B4-BE49-F238E27FC236}">
                <a16:creationId xmlns:a16="http://schemas.microsoft.com/office/drawing/2014/main" id="{4D49677A-CABE-49CD-A2EE-9EC21E15DF23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10243055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53" name="Picture Placeholder 4">
            <a:extLst>
              <a:ext uri="{FF2B5EF4-FFF2-40B4-BE49-F238E27FC236}">
                <a16:creationId xmlns:a16="http://schemas.microsoft.com/office/drawing/2014/main" id="{E46B730A-2104-4381-A7F8-6A08201D7F97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325822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15BD8921-64C2-47AC-9DE2-E4DFFCBF7C64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629823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61" name="Picture Placeholder 4">
            <a:extLst>
              <a:ext uri="{FF2B5EF4-FFF2-40B4-BE49-F238E27FC236}">
                <a16:creationId xmlns:a16="http://schemas.microsoft.com/office/drawing/2014/main" id="{3EF9A07C-1758-4B3E-A1CD-67412E56BBFE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8270644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62" name="Picture Placeholder 4">
            <a:extLst>
              <a:ext uri="{FF2B5EF4-FFF2-40B4-BE49-F238E27FC236}">
                <a16:creationId xmlns:a16="http://schemas.microsoft.com/office/drawing/2014/main" id="{25D8A2F3-A845-4271-8B71-45408EF9F6C1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1024305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GB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6192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096000" y="1"/>
            <a:ext cx="6096000" cy="6857999"/>
          </a:xfrm>
          <a:solidFill>
            <a:schemeClr val="bg1">
              <a:lumMod val="95000"/>
            </a:schemeClr>
          </a:solidFill>
        </p:spPr>
        <p:txBody>
          <a:bodyPr tIns="548640" anchor="t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Graphik" panose="020B0604020202020204" pitchFamily="34" charset="0"/>
              <a:buNone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Drag picture to placeholder or click icon to add, then ‘Send to Back’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B929FF-38D9-4792-A56F-C1810627F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96067A3-9F0D-44FB-B267-D94DE70856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AF384B1D-1AA1-4DD2-A317-08008594FF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796047A-AB81-403A-B649-52C6F7827E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3267634"/>
            <a:ext cx="5330952" cy="3044265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/>
            </a:lvl2pPr>
            <a:lvl3pPr marL="457200">
              <a:buFont typeface="Graphik" panose="020B0503030202060203" pitchFamily="34" charset="0"/>
              <a:buChar char="–"/>
              <a:defRPr sz="1800"/>
            </a:lvl3pPr>
            <a:lvl4pPr marL="685800">
              <a:buFont typeface="Graphik" panose="020B0604020202020204" pitchFamily="34" charset="0"/>
              <a:buChar char="•"/>
              <a:defRPr sz="1600"/>
            </a:lvl4pPr>
            <a:lvl5pPr marL="914400">
              <a:buFont typeface="Graphik" panose="020B0503030202060203" pitchFamily="34" charset="0"/>
              <a:buChar char="–"/>
              <a:defRPr sz="1600"/>
            </a:lvl5pPr>
          </a:lstStyle>
          <a:p>
            <a:pPr lvl="0"/>
            <a:r>
              <a:rPr lang="en-US" dirty="0"/>
              <a:t>Place sub-headline here in GT Sectra Fine </a:t>
            </a:r>
            <a:r>
              <a:rPr lang="en-US" dirty="0" err="1"/>
              <a:t>Rg</a:t>
            </a:r>
            <a:r>
              <a:rPr lang="en-US" dirty="0"/>
              <a:t>, indent for other levels 24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bullet 18pt</a:t>
            </a:r>
          </a:p>
          <a:p>
            <a:pPr lvl="3"/>
            <a:r>
              <a:rPr lang="en-US" dirty="0"/>
              <a:t>Fourth level bullet 16pt</a:t>
            </a:r>
          </a:p>
          <a:p>
            <a:pPr lvl="4"/>
            <a:r>
              <a:rPr lang="en-US" dirty="0"/>
              <a:t>Fifth level bullet 16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6A2778-1AEF-4134-970E-9AB430A5206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01817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6096024" cy="6309361"/>
          </a:xfrm>
          <a:solidFill>
            <a:schemeClr val="tx1">
              <a:lumMod val="95000"/>
            </a:schemeClr>
          </a:solidFill>
        </p:spPr>
        <p:txBody>
          <a:bodyPr lIns="0" tIns="210312" anchor="t"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09360"/>
            <a:ext cx="12192000" cy="5486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B30F4D9-6AB9-4693-B1C3-C7BE8D81E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999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E567C369-8A33-4851-8646-E53D6E8D8C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C42B8317-AACA-4DC7-AD68-8986DF6299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47" y="3264586"/>
            <a:ext cx="5330952" cy="3047313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Graphik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2pPr>
            <a:lvl3pPr marL="457200">
              <a:buFont typeface="Graphik" panose="020B0503030202060203" pitchFamily="34" charset="0"/>
              <a:buChar char="–"/>
              <a:defRPr sz="1800">
                <a:solidFill>
                  <a:schemeClr val="tx1"/>
                </a:solidFill>
              </a:defRPr>
            </a:lvl3pPr>
            <a:lvl4pPr marL="685800">
              <a:buFont typeface="Graphik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914400">
              <a:buFont typeface="Graphik" panose="020B0503030202060203" pitchFamily="34" charset="0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Place sub-headline here in GT Sectra Fine </a:t>
            </a:r>
            <a:r>
              <a:rPr lang="en-US" dirty="0" err="1"/>
              <a:t>Rg</a:t>
            </a:r>
            <a:r>
              <a:rPr lang="en-US" dirty="0"/>
              <a:t>, indent for other levels 24pt</a:t>
            </a:r>
          </a:p>
          <a:p>
            <a:pPr lvl="1"/>
            <a:r>
              <a:rPr lang="en-US" dirty="0"/>
              <a:t>Second level 18pt</a:t>
            </a:r>
          </a:p>
          <a:p>
            <a:pPr lvl="2"/>
            <a:r>
              <a:rPr lang="en-US" dirty="0"/>
              <a:t>Third level bullet 18pt</a:t>
            </a:r>
          </a:p>
          <a:p>
            <a:pPr lvl="3"/>
            <a:r>
              <a:rPr lang="en-US" dirty="0"/>
              <a:t>Fourth level bullet 16pt</a:t>
            </a:r>
          </a:p>
          <a:p>
            <a:pPr lvl="4"/>
            <a:r>
              <a:rPr lang="en-US" dirty="0"/>
              <a:t>Fifth level bullet 16pt</a:t>
            </a:r>
          </a:p>
        </p:txBody>
      </p:sp>
      <p:sp>
        <p:nvSpPr>
          <p:cNvPr id="12" name="GTS_WH" descr="Accenture Greater Than symbol in white">
            <a:extLst>
              <a:ext uri="{FF2B5EF4-FFF2-40B4-BE49-F238E27FC236}">
                <a16:creationId xmlns:a16="http://schemas.microsoft.com/office/drawing/2014/main" id="{9742AFA2-2F86-4FC9-AB33-FE5A8DC3B4C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F1D8E5-ED70-409D-A4B1-635A02DFE5A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91802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9">
            <a:extLst>
              <a:ext uri="{FF2B5EF4-FFF2-40B4-BE49-F238E27FC236}">
                <a16:creationId xmlns:a16="http://schemas.microsoft.com/office/drawing/2014/main" id="{9128CE8F-D41A-47B9-921B-C6C1790F8F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6839" y="943234"/>
            <a:ext cx="4191000" cy="49768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A06E6C-6576-4BA5-948F-BD9FE24FA05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3115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left-image bkg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E7551B-7F86-46D2-A90B-DF5CC30BDFD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Salutation 72pt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6" name="GTS_WH" descr="Accenture Greater Than symbol in white">
            <a:extLst>
              <a:ext uri="{FF2B5EF4-FFF2-40B4-BE49-F238E27FC236}">
                <a16:creationId xmlns:a16="http://schemas.microsoft.com/office/drawing/2014/main" id="{5820492B-C4D2-42F2-B2B8-CB1CE70F894B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0999" y="5607812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58613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C35E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 (alternativ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217B10-543D-46E3-A5E7-CA1C578F6F6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44452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istics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FF1C6BE-E6FE-4BD6-8477-A09403EEE56E}"/>
              </a:ext>
            </a:extLst>
          </p:cNvPr>
          <p:cNvSpPr/>
          <p:nvPr userDrawn="1"/>
        </p:nvSpPr>
        <p:spPr bwMode="white">
          <a:xfrm>
            <a:off x="-10" y="-3"/>
            <a:ext cx="6096008" cy="63119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2" name="Text Placeholder 32">
            <a:extLst>
              <a:ext uri="{FF2B5EF4-FFF2-40B4-BE49-F238E27FC236}">
                <a16:creationId xmlns:a16="http://schemas.microsoft.com/office/drawing/2014/main" id="{AC315915-FC9E-0942-980E-6C0E99FEA8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986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92" y="0"/>
            <a:ext cx="6096008" cy="6311900"/>
          </a:xfrm>
          <a:solidFill>
            <a:schemeClr val="bg1">
              <a:lumMod val="95000"/>
            </a:schemeClr>
          </a:solidFill>
        </p:spPr>
        <p:txBody>
          <a:bodyPr tIns="45720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or click icon to add</a:t>
            </a:r>
            <a:endParaRPr lang="en-US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D7539E0-EC97-4984-8CDD-85CC949BB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49C8D0A-C37D-4D9A-9703-8A0AFB18570C}"/>
              </a:ext>
            </a:extLst>
          </p:cNvPr>
          <p:cNvCxnSpPr>
            <a:cxnSpLocks/>
          </p:cNvCxnSpPr>
          <p:nvPr userDrawn="1"/>
        </p:nvCxnSpPr>
        <p:spPr>
          <a:xfrm>
            <a:off x="0" y="3155950"/>
            <a:ext cx="609600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8992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8992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BE5BBCC-C957-48B6-99B6-EF1F3E80F622}"/>
              </a:ext>
            </a:extLst>
          </p:cNvPr>
          <p:cNvCxnSpPr>
            <a:cxnSpLocks/>
          </p:cNvCxnSpPr>
          <p:nvPr userDrawn="1"/>
        </p:nvCxnSpPr>
        <p:spPr>
          <a:xfrm>
            <a:off x="3047998" y="-2"/>
            <a:ext cx="0" cy="6311902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94EF33C-E010-4503-AC38-BB48E62572E9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15FC8104-48E6-B248-8FB6-974B5ABAE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8992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27C860B3-C7A0-E840-9D83-305F739202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986" y="4646021"/>
            <a:ext cx="2285996" cy="1665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559DD1F-A98C-F14E-95DC-32EC947751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92" y="4646020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3B3ABE64-A2B2-4267-83DE-C2D349057B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pic>
        <p:nvPicPr>
          <p:cNvPr id="19" name="Picture 18" descr="Accenture Greater Than symbol in white">
            <a:extLst>
              <a:ext uri="{FF2B5EF4-FFF2-40B4-BE49-F238E27FC236}">
                <a16:creationId xmlns:a16="http://schemas.microsoft.com/office/drawing/2014/main" id="{E8781F80-F3D9-42F9-B6EE-F6DC303E05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A306F6-3D4B-4153-AFB5-695424B80AC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2012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E53630-789F-425F-8AB1-96EFF4EA1E46}"/>
              </a:ext>
            </a:extLst>
          </p:cNvPr>
          <p:cNvSpPr/>
          <p:nvPr userDrawn="1"/>
        </p:nvSpPr>
        <p:spPr bwMode="white">
          <a:xfrm>
            <a:off x="9144056" y="3155948"/>
            <a:ext cx="3047944" cy="31559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16F949-3472-4EBC-9DC1-05EC807C9FC0}"/>
              </a:ext>
            </a:extLst>
          </p:cNvPr>
          <p:cNvSpPr/>
          <p:nvPr userDrawn="1"/>
        </p:nvSpPr>
        <p:spPr bwMode="white">
          <a:xfrm>
            <a:off x="3048000" y="3155948"/>
            <a:ext cx="3047968" cy="31559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76" y="-1"/>
            <a:ext cx="3048024" cy="3151189"/>
          </a:xfrm>
          <a:solidFill>
            <a:schemeClr val="bg1">
              <a:lumMod val="95000"/>
            </a:schemeClr>
          </a:solidFill>
        </p:spPr>
        <p:txBody>
          <a:bodyPr t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picture to placeholder </a:t>
            </a:r>
          </a:p>
          <a:p>
            <a:r>
              <a:rPr lang="en-GB" dirty="0"/>
              <a:t>or click icon to add</a:t>
            </a:r>
            <a:endParaRPr lang="en-US" dirty="0"/>
          </a:p>
        </p:txBody>
      </p: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25007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7" name="Text Placeholder 32">
            <a:extLst>
              <a:ext uri="{FF2B5EF4-FFF2-40B4-BE49-F238E27FC236}">
                <a16:creationId xmlns:a16="http://schemas.microsoft.com/office/drawing/2014/main" id="{705CC01D-6D66-4B27-8D0E-E2205E002C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5" y="1490071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8988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49" name="Text Placeholder 32">
            <a:extLst>
              <a:ext uri="{FF2B5EF4-FFF2-40B4-BE49-F238E27FC236}">
                <a16:creationId xmlns:a16="http://schemas.microsoft.com/office/drawing/2014/main" id="{D36C84D9-D180-4ECA-9C39-AB74A8A3E6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8986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996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51" name="Text Placeholder 32">
            <a:extLst>
              <a:ext uri="{FF2B5EF4-FFF2-40B4-BE49-F238E27FC236}">
                <a16:creationId xmlns:a16="http://schemas.microsoft.com/office/drawing/2014/main" id="{2ACA6616-E51D-4660-96C1-738E6693F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76994" y="4647835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21" name="Picture Placeholder 35">
            <a:extLst>
              <a:ext uri="{FF2B5EF4-FFF2-40B4-BE49-F238E27FC236}">
                <a16:creationId xmlns:a16="http://schemas.microsoft.com/office/drawing/2014/main" id="{4CA191CE-F49B-4889-A102-DDD1279F3F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0" y="3155942"/>
            <a:ext cx="3048000" cy="3155958"/>
          </a:xfrm>
          <a:solidFill>
            <a:schemeClr val="bg1">
              <a:lumMod val="95000"/>
            </a:schemeClr>
          </a:solidFill>
        </p:spPr>
        <p:txBody>
          <a:bodyPr vert="horz" lIns="0" tIns="274320" rIns="0" bIns="0" rtlCol="0" anchor="t">
            <a:noAutofit/>
          </a:bodyPr>
          <a:lstStyle>
            <a:lvl1pPr marL="0" indent="0" algn="ctr">
              <a:buNone/>
              <a:defRPr lang="en-US" sz="1400" dirty="0"/>
            </a:lvl1pPr>
          </a:lstStyle>
          <a:p>
            <a:pPr marL="228600" lvl="0" indent="-228600" algn="ctr"/>
            <a:r>
              <a:rPr lang="en-GB" dirty="0"/>
              <a:t>Drag picture to placeholder </a:t>
            </a:r>
          </a:p>
          <a:p>
            <a:pPr marL="228600" lvl="0" indent="-228600" algn="ctr"/>
            <a:r>
              <a:rPr lang="en-GB" dirty="0"/>
              <a:t>or click icon to add</a:t>
            </a:r>
            <a:endParaRPr lang="en-US" dirty="0"/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86209476-BF69-4014-99E6-B53C87141B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00x</a:t>
            </a:r>
            <a:endParaRPr lang="en-US" dirty="0"/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7ADCD97-A8C0-487C-9E6C-6CD77C3BE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24999" y="4647836"/>
            <a:ext cx="2285995" cy="1662794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Char char="•"/>
            </a:pPr>
            <a:r>
              <a:rPr lang="en-US" dirty="0"/>
              <a:t>Bullet point 16pt</a:t>
            </a:r>
          </a:p>
        </p:txBody>
      </p:sp>
      <p:sp>
        <p:nvSpPr>
          <p:cNvPr id="35" name="Text Placeholder 26">
            <a:extLst>
              <a:ext uri="{FF2B5EF4-FFF2-40B4-BE49-F238E27FC236}">
                <a16:creationId xmlns:a16="http://schemas.microsoft.com/office/drawing/2014/main" id="{9BC0904C-6BDA-4032-94C2-6417F59042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0997" y="380999"/>
            <a:ext cx="5333972" cy="2393952"/>
          </a:xfrm>
        </p:spPr>
        <p:txBody>
          <a:bodyPr anchor="ctr"/>
          <a:lstStyle>
            <a:lvl1pPr marL="0" indent="0">
              <a:buNone/>
              <a:defRPr kumimoji="0" lang="en-US" sz="3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P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lace headline here 36pt, min 30pt)</a:t>
            </a:r>
          </a:p>
        </p:txBody>
      </p: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272DDB3A-459D-40AA-A5E7-DDCDD2DEA3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pic>
        <p:nvPicPr>
          <p:cNvPr id="23" name="Picture 22" descr="Accenture Greater Than symbol in white">
            <a:extLst>
              <a:ext uri="{FF2B5EF4-FFF2-40B4-BE49-F238E27FC236}">
                <a16:creationId xmlns:a16="http://schemas.microsoft.com/office/drawing/2014/main" id="{78774BCE-242F-4FF9-9C01-D01B97743A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1B33BA-8B14-4BE4-8987-4DD490763486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62061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ccenture Gradient Dark">
            <a:extLst>
              <a:ext uri="{FF2B5EF4-FFF2-40B4-BE49-F238E27FC236}">
                <a16:creationId xmlns:a16="http://schemas.microsoft.com/office/drawing/2014/main" id="{AB47B586-CFEE-4C32-8227-001B5A89C3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 54pt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310B6FD-F7E2-4120-A2CE-22852AAA9F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2FF57A0A-C5DD-42B6-8DD3-E5EA041C72D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31A683-09B8-4B7C-917B-D192D06BBAE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33650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 54p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CECBE8-C9DE-46DF-9582-7DB75BEDF4F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, Mid Purple (Accent 2) or Core Purple (Accent 1)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8D9D8DCD-E7C3-4F1A-8A48-31319650AC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B0B0C095-6C73-4899-AD8E-8F75768CF51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AFE70C-67B2-45BA-88F7-45C14692FC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61378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5AD31DD4-2506-4E03-897C-F4C8C020F0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39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headline here 54pt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2A2CFACC-0767-48E1-9FD9-763E5025E7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7" name="GTS_WH" descr="Accenture Greater Than symbol in white">
            <a:extLst>
              <a:ext uri="{FF2B5EF4-FFF2-40B4-BE49-F238E27FC236}">
                <a16:creationId xmlns:a16="http://schemas.microsoft.com/office/drawing/2014/main" id="{AE479463-B4C9-4B9A-BE8B-62B5B9CF007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5BAA91-4288-4230-8881-E1D51DEBFF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72348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8546ADE-103C-4652-A344-9C0C8C49E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480EAEA1-D575-4107-8AFC-0CAE2D4FB3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0A237C-DB73-401B-BD5B-B8B9133233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32450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 dirty="0"/>
              <a:t>Place subtitle here 20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D81D62B4-50F4-4143-BFCC-F5508365C8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7CFBA7-F1B1-4FF3-932C-7525FBDA5B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9691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 userDrawn="1">
          <p15:clr>
            <a:srgbClr val="547EB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BF2C1-BAA9-4BAD-9934-C110D73032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F030600-A2B3-4AAD-808D-56DA9B77330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5426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igh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Tag">
            <a:extLst>
              <a:ext uri="{FF2B5EF4-FFF2-40B4-BE49-F238E27FC236}">
                <a16:creationId xmlns:a16="http://schemas.microsoft.com/office/drawing/2014/main" id="{0F682282-A332-4D5C-89F4-38480EC33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3112" y="6355080"/>
            <a:ext cx="502920" cy="502920"/>
          </a:xfrm>
          <a:prstGeom prst="rect">
            <a:avLst/>
          </a:prstGeom>
        </p:spPr>
      </p:pic>
      <p:pic>
        <p:nvPicPr>
          <p:cNvPr id="10" name="OTag">
            <a:extLst>
              <a:ext uri="{FF2B5EF4-FFF2-40B4-BE49-F238E27FC236}">
                <a16:creationId xmlns:a16="http://schemas.microsoft.com/office/drawing/2014/main" id="{00F1077A-D301-437A-8CE7-A0EA6CDECB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3112" y="6355080"/>
            <a:ext cx="502920" cy="502920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E29D2F-E9BE-442D-8048-30D82B0FA2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49E66D-873C-4E3D-B665-952DA3AD6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© 2024 Accenture. All rights reserved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2D4C26-D77F-4F76-BA95-32055FEC61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D60D9-5372-5F40-9443-0F9AE5BDC3C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110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</a:extLst>
          </p:cNvPr>
          <p:cNvSpPr/>
          <p:nvPr userDrawn="1"/>
        </p:nvSpPr>
        <p:spPr bwMode="black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101C55-360F-4A30-88C9-2A386C411E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52822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527522"/>
            <a:ext cx="3102015" cy="784378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429154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defRPr lang="en-US" sz="2400" b="0" i="0" kern="1200" spc="0" dirty="0">
                <a:solidFill>
                  <a:schemeClr val="tx1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01D1C16-1E67-46BA-A7F0-31738E52069F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6060915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A764EB37-3299-4AEF-9398-9D9C84AB73F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15" name="Date Placeholder 10">
            <a:extLst>
              <a:ext uri="{FF2B5EF4-FFF2-40B4-BE49-F238E27FC236}">
                <a16:creationId xmlns:a16="http://schemas.microsoft.com/office/drawing/2014/main" id="{C1D8BA10-E028-4E4B-A19C-12B864B010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09D55F2-CAE5-4C0F-8D54-A28CECDB93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3AA97401-81EE-4280-A94C-955E96B005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DC0C86-80A9-481C-A2D5-6F509B89192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8" name="GTS_WH" descr="Accenture Greater Than symbol in white">
            <a:extLst>
              <a:ext uri="{FF2B5EF4-FFF2-40B4-BE49-F238E27FC236}">
                <a16:creationId xmlns:a16="http://schemas.microsoft.com/office/drawing/2014/main" id="{C703F910-26EC-4B07-B522-B28DEB82C3E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5382386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73483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05" userDrawn="1">
          <p15:clr>
            <a:srgbClr val="C35EA4"/>
          </p15:clr>
        </p15:guide>
        <p15:guide id="2" pos="3840" userDrawn="1">
          <p15:clr>
            <a:srgbClr val="C35E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E55EA4F-E473-41EF-9E00-3D69D5F1AE6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6" name="Date Placeholder 10">
            <a:extLst>
              <a:ext uri="{FF2B5EF4-FFF2-40B4-BE49-F238E27FC236}">
                <a16:creationId xmlns:a16="http://schemas.microsoft.com/office/drawing/2014/main" id="{0AF5D71E-5FA3-4080-B28F-B3110AB34D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51481AAC-1471-4278-A104-D559B82B52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BEB3B30-172A-47BC-8F00-43F601E1F8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0481612-058D-4A52-B93E-53E75F305C81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C6212C50-BB96-4C0C-BC89-2B3C8082149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5374201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5A65B91D-87CB-4DC8-B4B1-CE82A8E5C6F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E102C68A-98DA-4EBB-AAFF-D0C6E56ADE1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430539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6" userDrawn="1">
          <p15:clr>
            <a:srgbClr val="C35EA4"/>
          </p15:clr>
        </p15:guide>
        <p15:guide id="2" pos="3840" userDrawn="1">
          <p15:clr>
            <a:srgbClr val="C35E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rgbClr val="E6DCFF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EDFBD97-7A23-4453-9DFC-F825350AF9B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1A7501AC-E717-4CB3-89D9-DEE7B06E187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9153213" y="5815652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E84F1646-52FE-4716-AED1-FE252A8E05E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5FBA828-A6EE-4CDC-A2F1-52C5DC0E3C3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785629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5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 dirty="0"/>
              <a:t>Drag picture to placeholder or click icon to add, then send to back.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 dirty="0"/>
              <a:t>Place subtitle here in GT Sectra Fine </a:t>
            </a:r>
            <a:r>
              <a:rPr lang="en-US" dirty="0" err="1"/>
              <a:t>Rg</a:t>
            </a:r>
            <a:r>
              <a:rPr lang="en-US" dirty="0"/>
              <a:t>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9" name="GTS_WH" descr="Accenture Greater Than symbol in white">
            <a:extLst>
              <a:ext uri="{FF2B5EF4-FFF2-40B4-BE49-F238E27FC236}">
                <a16:creationId xmlns:a16="http://schemas.microsoft.com/office/drawing/2014/main" id="{08C622A3-6AC3-418E-A8AE-75B117754CFC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381001" y="560781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2658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(bullet 20pt)</a:t>
            </a:r>
          </a:p>
          <a:p>
            <a:pPr lvl="1"/>
            <a:r>
              <a:rPr lang="en-US" dirty="0"/>
              <a:t>Second level (bullet 20pt)</a:t>
            </a:r>
          </a:p>
          <a:p>
            <a:pPr lvl="2"/>
            <a:r>
              <a:rPr lang="en-US" dirty="0"/>
              <a:t>Third level (bullet 20pt)</a:t>
            </a:r>
          </a:p>
          <a:p>
            <a:pPr lvl="3"/>
            <a:r>
              <a:rPr lang="en-US" dirty="0"/>
              <a:t>Fourth level (bullet 18pt)</a:t>
            </a:r>
          </a:p>
          <a:p>
            <a:pPr lvl="4"/>
            <a:r>
              <a:rPr lang="en-US" dirty="0"/>
              <a:t>Fifth level (bullet 18pt)</a:t>
            </a:r>
          </a:p>
          <a:p>
            <a:pPr lvl="5"/>
            <a:r>
              <a:rPr lang="en-US" dirty="0"/>
              <a:t>Sixth level (copy 16pt)</a:t>
            </a:r>
          </a:p>
          <a:p>
            <a:pPr lvl="6"/>
            <a:r>
              <a:rPr lang="en-US" dirty="0"/>
              <a:t>Seventh level (small copy 12pt)</a:t>
            </a:r>
          </a:p>
          <a:p>
            <a:pPr lvl="7"/>
            <a:r>
              <a:rPr lang="en-US" dirty="0"/>
              <a:t>EIGHT LEVEL (DESCRIPTOR 10PT)</a:t>
            </a:r>
          </a:p>
          <a:p>
            <a:pPr lvl="8"/>
            <a:r>
              <a:rPr lang="en-US" dirty="0"/>
              <a:t>Ninth level (footer 8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624E0B2-760E-457A-8367-213CE89D65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9" name="GTS_Purple" descr="Accenture Greater Than symbol in purple">
            <a:extLst>
              <a:ext uri="{FF2B5EF4-FFF2-40B4-BE49-F238E27FC236}">
                <a16:creationId xmlns:a16="http://schemas.microsoft.com/office/drawing/2014/main" id="{AE0355C2-058C-4310-9508-BCC0F498FBB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83675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A100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69DFD1-72F5-4590-A067-19F2501AAB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5103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729" r:id="rId2"/>
    <p:sldLayoutId id="2147483682" r:id="rId3"/>
    <p:sldLayoutId id="2147483734" r:id="rId4"/>
    <p:sldLayoutId id="2147483728" r:id="rId5"/>
    <p:sldLayoutId id="2147483733" r:id="rId6"/>
    <p:sldLayoutId id="2147483730" r:id="rId7"/>
    <p:sldLayoutId id="2147483681" r:id="rId8"/>
    <p:sldLayoutId id="2147483732" r:id="rId9"/>
    <p:sldLayoutId id="2147483731" r:id="rId10"/>
    <p:sldLayoutId id="2147483750" r:id="rId11"/>
    <p:sldLayoutId id="2147483649" r:id="rId12"/>
    <p:sldLayoutId id="2147483759" r:id="rId13"/>
    <p:sldLayoutId id="2147483760" r:id="rId14"/>
    <p:sldLayoutId id="2147483746" r:id="rId15"/>
    <p:sldLayoutId id="2147483751" r:id="rId16"/>
    <p:sldLayoutId id="2147483752" r:id="rId17"/>
    <p:sldLayoutId id="2147483748" r:id="rId18"/>
    <p:sldLayoutId id="2147483651" r:id="rId19"/>
    <p:sldLayoutId id="2147483721" r:id="rId20"/>
    <p:sldLayoutId id="2147483739" r:id="rId21"/>
    <p:sldLayoutId id="2147483737" r:id="rId22"/>
    <p:sldLayoutId id="2147483742" r:id="rId23"/>
    <p:sldLayoutId id="2147483724" r:id="rId24"/>
    <p:sldLayoutId id="2147483723" r:id="rId25"/>
    <p:sldLayoutId id="2147483725" r:id="rId26"/>
    <p:sldLayoutId id="2147483755" r:id="rId27"/>
    <p:sldLayoutId id="2147483757" r:id="rId28"/>
    <p:sldLayoutId id="2147483673" r:id="rId29"/>
    <p:sldLayoutId id="2147483653" r:id="rId30"/>
    <p:sldLayoutId id="2147483722" r:id="rId31"/>
    <p:sldLayoutId id="2147483693" r:id="rId32"/>
    <p:sldLayoutId id="2147483701" r:id="rId33"/>
    <p:sldLayoutId id="2147483668" r:id="rId34"/>
    <p:sldLayoutId id="2147483707" r:id="rId35"/>
    <p:sldLayoutId id="2147483714" r:id="rId36"/>
    <p:sldLayoutId id="2147483657" r:id="rId37"/>
    <p:sldLayoutId id="2147483679" r:id="rId38"/>
    <p:sldLayoutId id="2147483661" r:id="rId39"/>
    <p:sldLayoutId id="2147483754" r:id="rId40"/>
    <p:sldLayoutId id="2147483678" r:id="rId41"/>
    <p:sldLayoutId id="2147483663" r:id="rId42"/>
    <p:sldLayoutId id="2147483667" r:id="rId43"/>
    <p:sldLayoutId id="2147483726" r:id="rId44"/>
    <p:sldLayoutId id="2147483688" r:id="rId45"/>
    <p:sldLayoutId id="2147483655" r:id="rId46"/>
    <p:sldLayoutId id="2147483745" r:id="rId47"/>
    <p:sldLayoutId id="2147483741" r:id="rId48"/>
    <p:sldLayoutId id="2147483763" r:id="rId49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Graphik" panose="020B0503030202060203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 userDrawn="1">
          <p15:clr>
            <a:srgbClr val="C35EA4"/>
          </p15:clr>
        </p15:guide>
        <p15:guide id="2" orient="horz" pos="3976" userDrawn="1">
          <p15:clr>
            <a:srgbClr val="C35EA4"/>
          </p15:clr>
        </p15:guide>
        <p15:guide id="3" pos="240" userDrawn="1">
          <p15:clr>
            <a:srgbClr val="C35EA4"/>
          </p15:clr>
        </p15:guide>
        <p15:guide id="4" pos="7440" userDrawn="1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code.oradba.ch/oci-sec-ws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46.png"/><Relationship Id="rId5" Type="http://schemas.openxmlformats.org/officeDocument/2006/relationships/hyperlink" Target="http://cloud.oracle.com/" TargetMode="External"/><Relationship Id="rId4" Type="http://schemas.openxmlformats.org/officeDocument/2006/relationships/hyperlink" Target="https://code.oradba.ch/oci-sec-ws/others/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8.png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15.png"/><Relationship Id="rId7" Type="http://schemas.openxmlformats.org/officeDocument/2006/relationships/image" Target="../media/image24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23.png"/><Relationship Id="rId11" Type="http://schemas.openxmlformats.org/officeDocument/2006/relationships/image" Target="../media/image28.png"/><Relationship Id="rId5" Type="http://schemas.openxmlformats.org/officeDocument/2006/relationships/image" Target="../media/image17.jpeg"/><Relationship Id="rId10" Type="http://schemas.openxmlformats.org/officeDocument/2006/relationships/image" Target="../media/image27.png"/><Relationship Id="rId4" Type="http://schemas.openxmlformats.org/officeDocument/2006/relationships/image" Target="../media/image22.png"/><Relationship Id="rId9" Type="http://schemas.openxmlformats.org/officeDocument/2006/relationships/image" Target="../media/image2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13" Type="http://schemas.openxmlformats.org/officeDocument/2006/relationships/image" Target="../media/image38.png"/><Relationship Id="rId3" Type="http://schemas.openxmlformats.org/officeDocument/2006/relationships/image" Target="../media/image30.png"/><Relationship Id="rId7" Type="http://schemas.openxmlformats.org/officeDocument/2006/relationships/image" Target="../media/image32.png"/><Relationship Id="rId12" Type="http://schemas.openxmlformats.org/officeDocument/2006/relationships/image" Target="../media/image37.sv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31.png"/><Relationship Id="rId11" Type="http://schemas.openxmlformats.org/officeDocument/2006/relationships/image" Target="../media/image36.png"/><Relationship Id="rId5" Type="http://schemas.openxmlformats.org/officeDocument/2006/relationships/hyperlink" Target="bit.ly/OracleACEProgram" TargetMode="External"/><Relationship Id="rId15" Type="http://schemas.openxmlformats.org/officeDocument/2006/relationships/image" Target="../media/image40.png"/><Relationship Id="rId10" Type="http://schemas.openxmlformats.org/officeDocument/2006/relationships/image" Target="../media/image35.svg"/><Relationship Id="rId4" Type="http://schemas.openxmlformats.org/officeDocument/2006/relationships/hyperlink" Target="http://acenomination.oracle.com/" TargetMode="External"/><Relationship Id="rId9" Type="http://schemas.openxmlformats.org/officeDocument/2006/relationships/image" Target="../media/image34.png"/><Relationship Id="rId14" Type="http://schemas.openxmlformats.org/officeDocument/2006/relationships/image" Target="../media/image39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43.jpe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1.xml"/><Relationship Id="rId6" Type="http://schemas.openxmlformats.org/officeDocument/2006/relationships/image" Target="../media/image42.jpeg"/><Relationship Id="rId5" Type="http://schemas.openxmlformats.org/officeDocument/2006/relationships/image" Target="../media/image41.emf"/><Relationship Id="rId4" Type="http://schemas.openxmlformats.org/officeDocument/2006/relationships/oleObject" Target="../embeddings/oleObject1.bin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DFB5035-7C72-43BF-A8DB-A7280ED54461}"/>
              </a:ext>
            </a:extLst>
          </p:cNvPr>
          <p:cNvSpPr>
            <a:spLocks noGrp="1"/>
          </p:cNvSpPr>
          <p:nvPr>
            <p:ph type="ctrTitle"/>
          </p:nvPr>
        </p:nvSpPr>
        <p:spPr bwMode="white">
          <a:xfrm>
            <a:off x="381000" y="1429154"/>
            <a:ext cx="7571197" cy="2255710"/>
          </a:xfrm>
        </p:spPr>
        <p:txBody>
          <a:bodyPr/>
          <a:lstStyle/>
          <a:p>
            <a:r>
              <a:rPr lang="en-US" dirty="0"/>
              <a:t>Oracle Cloud Infrastructure Security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61244AFF-6411-4B84-BA88-9244C01259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white"/>
        <p:txBody>
          <a:bodyPr/>
          <a:lstStyle/>
          <a:p>
            <a:r>
              <a:rPr lang="en-US" dirty="0"/>
              <a:t>The Practice Workshop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19C304-423F-4288-926C-47BD259C670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/>
        <p:txBody>
          <a:bodyPr/>
          <a:lstStyle/>
          <a:p>
            <a:r>
              <a:rPr lang="de-CH" dirty="0"/>
              <a:t>Martin Berger</a:t>
            </a:r>
          </a:p>
          <a:p>
            <a:r>
              <a:rPr lang="de-CH" dirty="0"/>
              <a:t>Stefan Oehrl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935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353308-B5F0-E855-16DC-F9D14EAA0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CI Lab Architecture Overview</a:t>
            </a:r>
            <a:endParaRPr lang="en-CH" dirty="0"/>
          </a:p>
        </p:txBody>
      </p:sp>
      <p:pic>
        <p:nvPicPr>
          <p:cNvPr id="8" name="Content Placeholder 7" descr="A diagram of a cloud computing system&#10;&#10;Description automatically generated with medium confidence">
            <a:extLst>
              <a:ext uri="{FF2B5EF4-FFF2-40B4-BE49-F238E27FC236}">
                <a16:creationId xmlns:a16="http://schemas.microsoft.com/office/drawing/2014/main" id="{9F1681D6-B057-EA0B-02E1-78BAD40FBDAA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3"/>
          <a:stretch>
            <a:fillRect/>
          </a:stretch>
        </p:blipFill>
        <p:spPr>
          <a:xfrm>
            <a:off x="4675918" y="1044900"/>
            <a:ext cx="5278565" cy="5278565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B49E0-E761-243B-1D71-E3B3A08A091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A High-Level View of the Infrastructure</a:t>
            </a:r>
            <a:endParaRPr lang="en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4C7867-0AE9-C35E-50E1-BE263D1E5A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6B6F66-6759-6F4C-631C-453ADC17E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69480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1F36C6-37A0-C499-DDE7-7B788C5A78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CI Access Information</a:t>
            </a:r>
            <a:endParaRPr lang="en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5002AC-1499-E6E1-1FE6-40730E198E7E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The course materials and exercises are available via the GitHub repository/website:</a:t>
            </a:r>
          </a:p>
          <a:p>
            <a:pPr>
              <a:buFont typeface="Wingdings" pitchFamily="2" charset="2"/>
              <a:buChar char="§"/>
            </a:pPr>
            <a:r>
              <a:rPr lang="en-GB" dirty="0"/>
              <a:t>OCI Walkthrough: 						</a:t>
            </a:r>
            <a:r>
              <a:rPr lang="en-GB" dirty="0">
                <a:hlinkClick r:id="rId3"/>
              </a:rPr>
              <a:t>https://code.oradba.ch/oci-sec-ws</a:t>
            </a:r>
            <a:endParaRPr lang="en-GB" dirty="0"/>
          </a:p>
          <a:p>
            <a:pPr>
              <a:buFont typeface="Wingdings" pitchFamily="2" charset="2"/>
              <a:buChar char="§"/>
            </a:pPr>
            <a:r>
              <a:rPr lang="en-GB" dirty="0"/>
              <a:t>PDFs and Course Materials: 	</a:t>
            </a:r>
            <a:r>
              <a:rPr lang="en-GB" dirty="0">
                <a:hlinkClick r:id="rId4"/>
              </a:rPr>
              <a:t>https://code.oradba.ch/oci-sec-ws/others</a:t>
            </a: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/>
              <a:t>For the workshop, each participant will have access to Oracle Cloud. Accenture is providing an environment with resources for the training day.</a:t>
            </a:r>
          </a:p>
          <a:p>
            <a:pPr>
              <a:buFont typeface="Wingdings" pitchFamily="2" charset="2"/>
              <a:buChar char="§"/>
            </a:pPr>
            <a:r>
              <a:rPr lang="en-GB" b="1" dirty="0"/>
              <a:t>URL</a:t>
            </a:r>
            <a:r>
              <a:rPr lang="en-GB" dirty="0"/>
              <a:t>: 							</a:t>
            </a:r>
            <a:r>
              <a:rPr lang="en-GB" dirty="0">
                <a:hlinkClick r:id="rId5"/>
              </a:rPr>
              <a:t>http://cloud.oracle.com</a:t>
            </a:r>
            <a:endParaRPr lang="en-GB" dirty="0"/>
          </a:p>
          <a:p>
            <a:pPr>
              <a:buFont typeface="Wingdings" pitchFamily="2" charset="2"/>
              <a:buChar char="§"/>
            </a:pPr>
            <a:r>
              <a:rPr lang="en-GB" b="1" dirty="0"/>
              <a:t>Tenant</a:t>
            </a:r>
            <a:r>
              <a:rPr lang="en-GB" dirty="0"/>
              <a:t>: 					Provided by the instructor</a:t>
            </a:r>
          </a:p>
          <a:p>
            <a:pPr>
              <a:buFont typeface="Wingdings" pitchFamily="2" charset="2"/>
              <a:buChar char="§"/>
            </a:pPr>
            <a:r>
              <a:rPr lang="en-GB" b="1" dirty="0"/>
              <a:t>User</a:t>
            </a:r>
            <a:r>
              <a:rPr lang="en-GB" dirty="0"/>
              <a:t>: 						</a:t>
            </a:r>
            <a:r>
              <a:rPr lang="en-GB" i="1" dirty="0"/>
              <a:t>lab-</a:t>
            </a:r>
            <a:r>
              <a:rPr lang="en-GB" i="1" dirty="0" err="1"/>
              <a:t>oci</a:t>
            </a:r>
            <a:r>
              <a:rPr lang="en-GB" i="1" dirty="0"/>
              <a:t>-sec-</a:t>
            </a:r>
            <a:r>
              <a:rPr lang="en-GB" i="1" dirty="0" err="1"/>
              <a:t>ws</a:t>
            </a:r>
            <a:r>
              <a:rPr lang="en-GB" b="1" i="1" dirty="0" err="1"/>
              <a:t>NN</a:t>
            </a:r>
            <a:endParaRPr lang="en-GB" b="1" i="1" dirty="0"/>
          </a:p>
          <a:p>
            <a:pPr>
              <a:buFont typeface="Wingdings" pitchFamily="2" charset="2"/>
              <a:buChar char="§"/>
            </a:pPr>
            <a:r>
              <a:rPr lang="en-GB" b="1" dirty="0"/>
              <a:t>Password</a:t>
            </a:r>
            <a:r>
              <a:rPr lang="en-GB" dirty="0"/>
              <a:t>: 			Provided by the instructor</a:t>
            </a:r>
          </a:p>
          <a:p>
            <a:pPr>
              <a:buFont typeface="Wingdings" pitchFamily="2" charset="2"/>
              <a:buChar char="§"/>
            </a:pPr>
            <a:r>
              <a:rPr lang="en-GB" b="1" dirty="0"/>
              <a:t>Compartment</a:t>
            </a:r>
            <a:r>
              <a:rPr lang="en-GB" dirty="0"/>
              <a:t>:	</a:t>
            </a:r>
            <a:r>
              <a:rPr lang="en-GB" i="1" dirty="0"/>
              <a:t>OCI-SEC-WS-LAB-</a:t>
            </a:r>
            <a:r>
              <a:rPr lang="en-GB" b="1" i="1" dirty="0"/>
              <a:t>NN</a:t>
            </a:r>
          </a:p>
          <a:p>
            <a:pPr>
              <a:buFont typeface="Wingdings" pitchFamily="2" charset="2"/>
              <a:buChar char="§"/>
            </a:pPr>
            <a:endParaRPr lang="en-GB" dirty="0"/>
          </a:p>
          <a:p>
            <a:pPr>
              <a:buFont typeface="Wingdings" pitchFamily="2" charset="2"/>
              <a:buChar char="§"/>
            </a:pPr>
            <a:endParaRPr lang="en-GB" dirty="0"/>
          </a:p>
          <a:p>
            <a:pPr>
              <a:buFont typeface="Wingdings" pitchFamily="2" charset="2"/>
              <a:buChar char="§"/>
            </a:pPr>
            <a:endParaRPr lang="en-GB" dirty="0"/>
          </a:p>
          <a:p>
            <a:pPr>
              <a:buFont typeface="Wingdings" pitchFamily="2" charset="2"/>
              <a:buChar char="§"/>
            </a:pPr>
            <a:endParaRPr lang="en-GB" dirty="0"/>
          </a:p>
          <a:p>
            <a:pPr>
              <a:buFont typeface="Wingdings" pitchFamily="2" charset="2"/>
              <a:buChar char="§"/>
            </a:pPr>
            <a:endParaRPr lang="en-GB" dirty="0"/>
          </a:p>
          <a:p>
            <a:pPr>
              <a:buFont typeface="Wingdings" pitchFamily="2" charset="2"/>
              <a:buChar char="§"/>
            </a:pPr>
            <a:endParaRPr lang="en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53024F-5329-2711-A171-9734ABCE6D4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Resources and Cloud Environment Details</a:t>
            </a:r>
            <a:endParaRPr lang="en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8316A7-B1D8-03C9-590C-633D2D6DBD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B5A3F3-0102-F78E-6ADA-1A678FA1A2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8" name="Picture 7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418997D4-65BE-5A2D-E2B6-DD8CE6F2115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03818" y="3844179"/>
            <a:ext cx="2644055" cy="2644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6091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0EB2A3E7-FA19-C093-52DD-22855C4C3C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rtin Berger </a:t>
            </a:r>
            <a:r>
              <a:rPr lang="en-CH" dirty="0"/>
              <a:t>– Modern Data Platforms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4452556C-B31F-2462-1421-20345716F8ED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3557306" y="1947672"/>
            <a:ext cx="8253694" cy="4361688"/>
          </a:xfrm>
        </p:spPr>
        <p:txBody>
          <a:bodyPr/>
          <a:lstStyle/>
          <a:p>
            <a:pPr marL="0" indent="0">
              <a:buNone/>
            </a:pPr>
            <a:r>
              <a:rPr lang="en-GB" sz="2400" dirty="0">
                <a:latin typeface="+mj-lt"/>
              </a:rPr>
              <a:t>Tech Architecture Manager</a:t>
            </a:r>
          </a:p>
          <a:p>
            <a:r>
              <a:rPr lang="en-GB" dirty="0"/>
              <a:t>Since 1998 working in IT</a:t>
            </a:r>
          </a:p>
          <a:p>
            <a:r>
              <a:rPr lang="en-GB" dirty="0"/>
              <a:t>More than 22 years of experience in Oracle databases</a:t>
            </a:r>
          </a:p>
          <a:p>
            <a:r>
              <a:rPr lang="en-GB" dirty="0" err="1"/>
              <a:t>Kestenholz</a:t>
            </a:r>
            <a:r>
              <a:rPr lang="en-GB" dirty="0"/>
              <a:t> / </a:t>
            </a:r>
            <a:r>
              <a:rPr lang="en-GB" dirty="0" err="1"/>
              <a:t>Jurasüdfuss</a:t>
            </a:r>
            <a:r>
              <a:rPr lang="en-GB" dirty="0"/>
              <a:t> / Switzerland</a:t>
            </a:r>
          </a:p>
          <a:p>
            <a:r>
              <a:rPr lang="en-GB" dirty="0"/>
              <a:t>2 Junior-DBAs @ Home (8yrs &amp; 10yrs)</a:t>
            </a:r>
          </a:p>
          <a:p>
            <a:r>
              <a:rPr lang="en-GB" dirty="0"/>
              <a:t>Firefighter &amp; E-Biker</a:t>
            </a:r>
          </a:p>
          <a:p>
            <a:r>
              <a:rPr lang="en-GB" dirty="0"/>
              <a:t>Loves his companies' cultural values:	</a:t>
            </a:r>
          </a:p>
          <a:p>
            <a:r>
              <a:rPr lang="en-GB" dirty="0"/>
              <a:t>curiosity, doers, network, space, and together</a:t>
            </a:r>
          </a:p>
          <a:p>
            <a:r>
              <a:rPr lang="en-GB" dirty="0"/>
              <a:t>Focus: Let’s go into the Cloud!</a:t>
            </a:r>
          </a:p>
          <a:p>
            <a:r>
              <a:rPr lang="en-GB" dirty="0"/>
              <a:t>Co-author of the book The Oracle DBA (</a:t>
            </a:r>
            <a:r>
              <a:rPr lang="en-GB" dirty="0" err="1"/>
              <a:t>Hanser</a:t>
            </a:r>
            <a:r>
              <a:rPr lang="en-GB" dirty="0"/>
              <a:t>, 2016/07)</a:t>
            </a:r>
          </a:p>
          <a:p>
            <a:endParaRPr lang="en-GB" dirty="0"/>
          </a:p>
          <a:p>
            <a:endParaRPr lang="en-CH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01F38FA-914A-C263-D471-9E1571B927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 err="1"/>
              <a:t>martin.x.berger@accenture.com</a:t>
            </a:r>
            <a:endParaRPr lang="en-CH" dirty="0"/>
          </a:p>
        </p:txBody>
      </p:sp>
      <p:pic>
        <p:nvPicPr>
          <p:cNvPr id="20" name="Picture Placeholder 4">
            <a:extLst>
              <a:ext uri="{FF2B5EF4-FFF2-40B4-BE49-F238E27FC236}">
                <a16:creationId xmlns:a16="http://schemas.microsoft.com/office/drawing/2014/main" id="{F9A27A75-13C8-8DF7-897B-0C1C1AE44858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2"/>
          <a:srcRect l="849" r="849"/>
          <a:stretch/>
        </p:blipFill>
        <p:spPr>
          <a:xfrm>
            <a:off x="593464" y="1809223"/>
            <a:ext cx="2877668" cy="2978527"/>
          </a:xfrm>
          <a:prstGeom prst="ellipse">
            <a:avLst/>
          </a:prstGeom>
          <a:ln w="3175" cap="rnd">
            <a:solidFill>
              <a:schemeClr val="accent6"/>
            </a:solidFill>
          </a:ln>
          <a:effectLst>
            <a:outerShdw blurRad="381000" dist="152400" dir="5400000" sx="-80000" sy="-18000" rotWithShape="0">
              <a:srgbClr val="000000">
                <a:alpha val="20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29" name="Content Placeholder 11">
            <a:extLst>
              <a:ext uri="{FF2B5EF4-FFF2-40B4-BE49-F238E27FC236}">
                <a16:creationId xmlns:a16="http://schemas.microsoft.com/office/drawing/2014/main" id="{91D68ABB-A757-F8E3-D746-A57545B76C6D}"/>
              </a:ext>
            </a:extLst>
          </p:cNvPr>
          <p:cNvSpPr txBox="1">
            <a:spLocks/>
          </p:cNvSpPr>
          <p:nvPr/>
        </p:nvSpPr>
        <p:spPr>
          <a:xfrm>
            <a:off x="3891752" y="5868705"/>
            <a:ext cx="2485307" cy="414339"/>
          </a:xfrm>
          <a:prstGeom prst="rect">
            <a:avLst/>
          </a:prstGeom>
        </p:spPr>
        <p:txBody>
          <a:bodyPr vert="horz" lIns="121920" tIns="60960" rIns="121920" bIns="60960" rtlCol="0">
            <a:normAutofit/>
          </a:bodyPr>
          <a:lstStyle>
            <a:lvl1pPr marL="257175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Wingdings" pitchFamily="2" charset="2"/>
              <a:buChar char="§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557213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297" indent="0">
              <a:buNone/>
            </a:pPr>
            <a:r>
              <a:rPr lang="de-CH" sz="1800" dirty="0" err="1">
                <a:latin typeface="+mn-lt"/>
              </a:rPr>
              <a:t>martinberger.com</a:t>
            </a:r>
            <a:endParaRPr lang="de-CH" sz="1800" dirty="0">
              <a:latin typeface="+mn-lt"/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8462032C-0012-F97A-AD08-FF7EC647B7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57306" y="5801394"/>
            <a:ext cx="548961" cy="548961"/>
          </a:xfrm>
          <a:prstGeom prst="rect">
            <a:avLst/>
          </a:prstGeom>
        </p:spPr>
      </p:pic>
      <p:pic>
        <p:nvPicPr>
          <p:cNvPr id="30" name="Picture 29" descr="Logo, icon&#10;&#10;Description automatically generated">
            <a:extLst>
              <a:ext uri="{FF2B5EF4-FFF2-40B4-BE49-F238E27FC236}">
                <a16:creationId xmlns:a16="http://schemas.microsoft.com/office/drawing/2014/main" id="{E6972F15-626C-0E12-876A-BDFDB11C85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77059" y="5842389"/>
            <a:ext cx="453899" cy="453899"/>
          </a:xfrm>
          <a:prstGeom prst="rect">
            <a:avLst/>
          </a:prstGeom>
        </p:spPr>
      </p:pic>
      <p:sp>
        <p:nvSpPr>
          <p:cNvPr id="32" name="Content Placeholder 11">
            <a:extLst>
              <a:ext uri="{FF2B5EF4-FFF2-40B4-BE49-F238E27FC236}">
                <a16:creationId xmlns:a16="http://schemas.microsoft.com/office/drawing/2014/main" id="{C417181F-654B-F662-0DBB-9089B783A18D}"/>
              </a:ext>
            </a:extLst>
          </p:cNvPr>
          <p:cNvSpPr txBox="1">
            <a:spLocks/>
          </p:cNvSpPr>
          <p:nvPr/>
        </p:nvSpPr>
        <p:spPr>
          <a:xfrm>
            <a:off x="6663974" y="5868705"/>
            <a:ext cx="2485307" cy="414339"/>
          </a:xfrm>
          <a:prstGeom prst="rect">
            <a:avLst/>
          </a:prstGeom>
        </p:spPr>
        <p:txBody>
          <a:bodyPr vert="horz" lIns="121920" tIns="60960" rIns="121920" bIns="60960" rtlCol="0">
            <a:normAutofit/>
          </a:bodyPr>
          <a:lstStyle>
            <a:lvl1pPr marL="257175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Wingdings" pitchFamily="2" charset="2"/>
              <a:buChar char="§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557213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 smtClean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9600FF"/>
              </a:buClr>
              <a:buFont typeface="Courier New" panose="02070309020205020404" pitchFamily="49" charset="0"/>
              <a:buChar char="o"/>
              <a:defRPr lang="en-US" sz="1350" b="0" kern="1200" baseline="0" dirty="0">
                <a:solidFill>
                  <a:srgbClr val="1E284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indent="0">
              <a:buNone/>
            </a:pPr>
            <a:r>
              <a:rPr lang="de-CH" sz="1800" dirty="0">
                <a:latin typeface="+mn-lt"/>
              </a:rPr>
              <a:t>@</a:t>
            </a:r>
            <a:r>
              <a:rPr lang="de-CH" sz="1800" dirty="0" err="1">
                <a:latin typeface="+mn-lt"/>
              </a:rPr>
              <a:t>martinberger_ch</a:t>
            </a:r>
            <a:endParaRPr lang="de-CH" sz="1800" dirty="0">
              <a:latin typeface="+mn-lt"/>
            </a:endParaRPr>
          </a:p>
        </p:txBody>
      </p:sp>
      <p:pic>
        <p:nvPicPr>
          <p:cNvPr id="34" name="Picture 2" descr="Image result for dba handbuch">
            <a:extLst>
              <a:ext uri="{FF2B5EF4-FFF2-40B4-BE49-F238E27FC236}">
                <a16:creationId xmlns:a16="http://schemas.microsoft.com/office/drawing/2014/main" id="{C3B20B5A-1BFC-13EB-9061-96EF4F5F51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3823" y="3292896"/>
            <a:ext cx="1057177" cy="14898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98171000-07B5-D604-3B1D-D17E2FF369C0}"/>
              </a:ext>
            </a:extLst>
          </p:cNvPr>
          <p:cNvGrpSpPr/>
          <p:nvPr/>
        </p:nvGrpSpPr>
        <p:grpSpPr>
          <a:xfrm>
            <a:off x="9427131" y="242710"/>
            <a:ext cx="2450120" cy="995559"/>
            <a:chOff x="3064333" y="2754885"/>
            <a:chExt cx="5703054" cy="2032013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41CFAB29-83AB-BB4E-3827-1DD384EC7236}"/>
                </a:ext>
              </a:extLst>
            </p:cNvPr>
            <p:cNvGrpSpPr/>
            <p:nvPr/>
          </p:nvGrpSpPr>
          <p:grpSpPr>
            <a:xfrm>
              <a:off x="5512941" y="2754885"/>
              <a:ext cx="3254446" cy="1989398"/>
              <a:chOff x="5295227" y="803258"/>
              <a:chExt cx="3254446" cy="1989398"/>
            </a:xfrm>
          </p:grpSpPr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F6FAE0B8-1014-2959-9803-3BE200AAD638}"/>
                  </a:ext>
                </a:extLst>
              </p:cNvPr>
              <p:cNvSpPr txBox="1"/>
              <p:nvPr/>
            </p:nvSpPr>
            <p:spPr>
              <a:xfrm>
                <a:off x="5295227" y="803258"/>
                <a:ext cx="2418961" cy="62819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CH" sz="2000" b="1" dirty="0"/>
                  <a:t>Modern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3B04D1A6-A8A8-B21F-DCBA-A874C0092007}"/>
                  </a:ext>
                </a:extLst>
              </p:cNvPr>
              <p:cNvSpPr txBox="1"/>
              <p:nvPr/>
            </p:nvSpPr>
            <p:spPr>
              <a:xfrm>
                <a:off x="5295227" y="1450284"/>
                <a:ext cx="2660857" cy="62819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CH" sz="2000" b="1" dirty="0"/>
                  <a:t>Data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794FCA43-8DCB-8D5D-A840-A0C372A37E87}"/>
                  </a:ext>
                </a:extLst>
              </p:cNvPr>
              <p:cNvSpPr txBox="1"/>
              <p:nvPr/>
            </p:nvSpPr>
            <p:spPr>
              <a:xfrm>
                <a:off x="5295227" y="2164459"/>
                <a:ext cx="3254446" cy="62819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CH" sz="2000" b="1" dirty="0"/>
                  <a:t>Platforms</a:t>
                </a: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9ADF6806-5DBE-6864-62D3-A832282A8622}"/>
                </a:ext>
              </a:extLst>
            </p:cNvPr>
            <p:cNvGrpSpPr/>
            <p:nvPr/>
          </p:nvGrpSpPr>
          <p:grpSpPr>
            <a:xfrm>
              <a:off x="3064333" y="2896605"/>
              <a:ext cx="2367540" cy="1890293"/>
              <a:chOff x="861065" y="2586057"/>
              <a:chExt cx="2367540" cy="1890293"/>
            </a:xfrm>
            <a:solidFill>
              <a:schemeClr val="tx1"/>
            </a:solidFill>
          </p:grpSpPr>
          <p:sp>
            <p:nvSpPr>
              <p:cNvPr id="25" name="Freeform 147">
                <a:extLst>
                  <a:ext uri="{FF2B5EF4-FFF2-40B4-BE49-F238E27FC236}">
                    <a16:creationId xmlns:a16="http://schemas.microsoft.com/office/drawing/2014/main" id="{9E09B3D6-68D3-4625-3879-638801586451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760613" y="3554112"/>
                <a:ext cx="1467992" cy="922238"/>
              </a:xfrm>
              <a:custGeom>
                <a:avLst/>
                <a:gdLst>
                  <a:gd name="T0" fmla="*/ 54 w 288"/>
                  <a:gd name="T1" fmla="*/ 180 h 180"/>
                  <a:gd name="T2" fmla="*/ 14 w 288"/>
                  <a:gd name="T3" fmla="*/ 164 h 180"/>
                  <a:gd name="T4" fmla="*/ 0 w 288"/>
                  <a:gd name="T5" fmla="*/ 129 h 180"/>
                  <a:gd name="T6" fmla="*/ 19 w 288"/>
                  <a:gd name="T7" fmla="*/ 89 h 180"/>
                  <a:gd name="T8" fmla="*/ 55 w 288"/>
                  <a:gd name="T9" fmla="*/ 78 h 180"/>
                  <a:gd name="T10" fmla="*/ 144 w 288"/>
                  <a:gd name="T11" fmla="*/ 0 h 180"/>
                  <a:gd name="T12" fmla="*/ 224 w 288"/>
                  <a:gd name="T13" fmla="*/ 48 h 180"/>
                  <a:gd name="T14" fmla="*/ 268 w 288"/>
                  <a:gd name="T15" fmla="*/ 66 h 180"/>
                  <a:gd name="T16" fmla="*/ 288 w 288"/>
                  <a:gd name="T17" fmla="*/ 114 h 180"/>
                  <a:gd name="T18" fmla="*/ 229 w 288"/>
                  <a:gd name="T19" fmla="*/ 180 h 180"/>
                  <a:gd name="T20" fmla="*/ 228 w 288"/>
                  <a:gd name="T21" fmla="*/ 180 h 180"/>
                  <a:gd name="T22" fmla="*/ 54 w 288"/>
                  <a:gd name="T23" fmla="*/ 180 h 180"/>
                  <a:gd name="T24" fmla="*/ 54 w 288"/>
                  <a:gd name="T25" fmla="*/ 180 h 180"/>
                  <a:gd name="T26" fmla="*/ 51 w 288"/>
                  <a:gd name="T27" fmla="*/ 90 h 180"/>
                  <a:gd name="T28" fmla="*/ 27 w 288"/>
                  <a:gd name="T29" fmla="*/ 99 h 180"/>
                  <a:gd name="T30" fmla="*/ 12 w 288"/>
                  <a:gd name="T31" fmla="*/ 129 h 180"/>
                  <a:gd name="T32" fmla="*/ 22 w 288"/>
                  <a:gd name="T33" fmla="*/ 156 h 180"/>
                  <a:gd name="T34" fmla="*/ 54 w 288"/>
                  <a:gd name="T35" fmla="*/ 168 h 180"/>
                  <a:gd name="T36" fmla="*/ 54 w 288"/>
                  <a:gd name="T37" fmla="*/ 168 h 180"/>
                  <a:gd name="T38" fmla="*/ 228 w 288"/>
                  <a:gd name="T39" fmla="*/ 168 h 180"/>
                  <a:gd name="T40" fmla="*/ 276 w 288"/>
                  <a:gd name="T41" fmla="*/ 114 h 180"/>
                  <a:gd name="T42" fmla="*/ 260 w 288"/>
                  <a:gd name="T43" fmla="*/ 75 h 180"/>
                  <a:gd name="T44" fmla="*/ 220 w 288"/>
                  <a:gd name="T45" fmla="*/ 60 h 180"/>
                  <a:gd name="T46" fmla="*/ 215 w 288"/>
                  <a:gd name="T47" fmla="*/ 57 h 180"/>
                  <a:gd name="T48" fmla="*/ 144 w 288"/>
                  <a:gd name="T49" fmla="*/ 12 h 180"/>
                  <a:gd name="T50" fmla="*/ 66 w 288"/>
                  <a:gd name="T51" fmla="*/ 85 h 180"/>
                  <a:gd name="T52" fmla="*/ 64 w 288"/>
                  <a:gd name="T53" fmla="*/ 90 h 180"/>
                  <a:gd name="T54" fmla="*/ 59 w 288"/>
                  <a:gd name="T55" fmla="*/ 91 h 180"/>
                  <a:gd name="T56" fmla="*/ 51 w 288"/>
                  <a:gd name="T57" fmla="*/ 9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88" h="180">
                    <a:moveTo>
                      <a:pt x="54" y="180"/>
                    </a:moveTo>
                    <a:cubicBezTo>
                      <a:pt x="51" y="180"/>
                      <a:pt x="29" y="179"/>
                      <a:pt x="14" y="164"/>
                    </a:cubicBezTo>
                    <a:cubicBezTo>
                      <a:pt x="5" y="156"/>
                      <a:pt x="0" y="144"/>
                      <a:pt x="0" y="129"/>
                    </a:cubicBezTo>
                    <a:cubicBezTo>
                      <a:pt x="0" y="113"/>
                      <a:pt x="7" y="99"/>
                      <a:pt x="19" y="89"/>
                    </a:cubicBezTo>
                    <a:cubicBezTo>
                      <a:pt x="29" y="81"/>
                      <a:pt x="42" y="77"/>
                      <a:pt x="55" y="78"/>
                    </a:cubicBezTo>
                    <a:cubicBezTo>
                      <a:pt x="61" y="34"/>
                      <a:pt x="99" y="0"/>
                      <a:pt x="144" y="0"/>
                    </a:cubicBezTo>
                    <a:cubicBezTo>
                      <a:pt x="177" y="0"/>
                      <a:pt x="208" y="19"/>
                      <a:pt x="224" y="48"/>
                    </a:cubicBezTo>
                    <a:cubicBezTo>
                      <a:pt x="240" y="48"/>
                      <a:pt x="256" y="55"/>
                      <a:pt x="268" y="66"/>
                    </a:cubicBezTo>
                    <a:cubicBezTo>
                      <a:pt x="281" y="79"/>
                      <a:pt x="288" y="96"/>
                      <a:pt x="288" y="114"/>
                    </a:cubicBezTo>
                    <a:cubicBezTo>
                      <a:pt x="288" y="171"/>
                      <a:pt x="230" y="180"/>
                      <a:pt x="229" y="180"/>
                    </a:cubicBezTo>
                    <a:cubicBezTo>
                      <a:pt x="229" y="180"/>
                      <a:pt x="228" y="180"/>
                      <a:pt x="228" y="180"/>
                    </a:cubicBezTo>
                    <a:cubicBezTo>
                      <a:pt x="54" y="180"/>
                      <a:pt x="54" y="180"/>
                      <a:pt x="54" y="180"/>
                    </a:cubicBezTo>
                    <a:cubicBezTo>
                      <a:pt x="54" y="180"/>
                      <a:pt x="54" y="180"/>
                      <a:pt x="54" y="180"/>
                    </a:cubicBezTo>
                    <a:close/>
                    <a:moveTo>
                      <a:pt x="51" y="90"/>
                    </a:moveTo>
                    <a:cubicBezTo>
                      <a:pt x="42" y="90"/>
                      <a:pt x="34" y="93"/>
                      <a:pt x="27" y="99"/>
                    </a:cubicBezTo>
                    <a:cubicBezTo>
                      <a:pt x="17" y="106"/>
                      <a:pt x="12" y="117"/>
                      <a:pt x="12" y="129"/>
                    </a:cubicBezTo>
                    <a:cubicBezTo>
                      <a:pt x="12" y="140"/>
                      <a:pt x="16" y="149"/>
                      <a:pt x="22" y="156"/>
                    </a:cubicBezTo>
                    <a:cubicBezTo>
                      <a:pt x="34" y="168"/>
                      <a:pt x="53" y="168"/>
                      <a:pt x="54" y="168"/>
                    </a:cubicBezTo>
                    <a:cubicBezTo>
                      <a:pt x="54" y="168"/>
                      <a:pt x="54" y="168"/>
                      <a:pt x="54" y="168"/>
                    </a:cubicBezTo>
                    <a:cubicBezTo>
                      <a:pt x="228" y="168"/>
                      <a:pt x="228" y="168"/>
                      <a:pt x="228" y="168"/>
                    </a:cubicBezTo>
                    <a:cubicBezTo>
                      <a:pt x="233" y="167"/>
                      <a:pt x="276" y="159"/>
                      <a:pt x="276" y="114"/>
                    </a:cubicBezTo>
                    <a:cubicBezTo>
                      <a:pt x="276" y="99"/>
                      <a:pt x="270" y="85"/>
                      <a:pt x="260" y="75"/>
                    </a:cubicBezTo>
                    <a:cubicBezTo>
                      <a:pt x="249" y="65"/>
                      <a:pt x="235" y="59"/>
                      <a:pt x="220" y="60"/>
                    </a:cubicBezTo>
                    <a:cubicBezTo>
                      <a:pt x="218" y="60"/>
                      <a:pt x="216" y="59"/>
                      <a:pt x="215" y="57"/>
                    </a:cubicBezTo>
                    <a:cubicBezTo>
                      <a:pt x="202" y="29"/>
                      <a:pt x="174" y="12"/>
                      <a:pt x="144" y="12"/>
                    </a:cubicBezTo>
                    <a:cubicBezTo>
                      <a:pt x="103" y="12"/>
                      <a:pt x="69" y="44"/>
                      <a:pt x="66" y="85"/>
                    </a:cubicBezTo>
                    <a:cubicBezTo>
                      <a:pt x="66" y="87"/>
                      <a:pt x="66" y="88"/>
                      <a:pt x="64" y="90"/>
                    </a:cubicBezTo>
                    <a:cubicBezTo>
                      <a:pt x="63" y="91"/>
                      <a:pt x="61" y="91"/>
                      <a:pt x="59" y="91"/>
                    </a:cubicBezTo>
                    <a:cubicBezTo>
                      <a:pt x="57" y="90"/>
                      <a:pt x="54" y="90"/>
                      <a:pt x="51" y="9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26" name="Freeform 159">
                <a:extLst>
                  <a:ext uri="{FF2B5EF4-FFF2-40B4-BE49-F238E27FC236}">
                    <a16:creationId xmlns:a16="http://schemas.microsoft.com/office/drawing/2014/main" id="{BC837DD7-E529-D7D4-B720-0BE9B88793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61065" y="2586057"/>
                <a:ext cx="1686691" cy="758063"/>
              </a:xfrm>
              <a:custGeom>
                <a:avLst/>
                <a:gdLst>
                  <a:gd name="T0" fmla="*/ 120 w 240"/>
                  <a:gd name="T1" fmla="*/ 108 h 108"/>
                  <a:gd name="T2" fmla="*/ 0 w 240"/>
                  <a:gd name="T3" fmla="*/ 54 h 108"/>
                  <a:gd name="T4" fmla="*/ 120 w 240"/>
                  <a:gd name="T5" fmla="*/ 0 h 108"/>
                  <a:gd name="T6" fmla="*/ 240 w 240"/>
                  <a:gd name="T7" fmla="*/ 54 h 108"/>
                  <a:gd name="T8" fmla="*/ 120 w 240"/>
                  <a:gd name="T9" fmla="*/ 108 h 108"/>
                  <a:gd name="T10" fmla="*/ 120 w 240"/>
                  <a:gd name="T11" fmla="*/ 12 h 108"/>
                  <a:gd name="T12" fmla="*/ 12 w 240"/>
                  <a:gd name="T13" fmla="*/ 54 h 108"/>
                  <a:gd name="T14" fmla="*/ 120 w 240"/>
                  <a:gd name="T15" fmla="*/ 96 h 108"/>
                  <a:gd name="T16" fmla="*/ 228 w 240"/>
                  <a:gd name="T17" fmla="*/ 54 h 108"/>
                  <a:gd name="T18" fmla="*/ 120 w 240"/>
                  <a:gd name="T19" fmla="*/ 12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0" h="108">
                    <a:moveTo>
                      <a:pt x="120" y="108"/>
                    </a:moveTo>
                    <a:cubicBezTo>
                      <a:pt x="53" y="108"/>
                      <a:pt x="0" y="84"/>
                      <a:pt x="0" y="54"/>
                    </a:cubicBezTo>
                    <a:cubicBezTo>
                      <a:pt x="0" y="23"/>
                      <a:pt x="53" y="0"/>
                      <a:pt x="120" y="0"/>
                    </a:cubicBezTo>
                    <a:cubicBezTo>
                      <a:pt x="187" y="0"/>
                      <a:pt x="240" y="23"/>
                      <a:pt x="240" y="54"/>
                    </a:cubicBezTo>
                    <a:cubicBezTo>
                      <a:pt x="240" y="84"/>
                      <a:pt x="187" y="108"/>
                      <a:pt x="120" y="108"/>
                    </a:cubicBezTo>
                    <a:close/>
                    <a:moveTo>
                      <a:pt x="120" y="12"/>
                    </a:moveTo>
                    <a:cubicBezTo>
                      <a:pt x="56" y="12"/>
                      <a:pt x="12" y="34"/>
                      <a:pt x="12" y="54"/>
                    </a:cubicBezTo>
                    <a:cubicBezTo>
                      <a:pt x="12" y="74"/>
                      <a:pt x="56" y="96"/>
                      <a:pt x="120" y="96"/>
                    </a:cubicBezTo>
                    <a:cubicBezTo>
                      <a:pt x="183" y="96"/>
                      <a:pt x="228" y="74"/>
                      <a:pt x="228" y="54"/>
                    </a:cubicBezTo>
                    <a:cubicBezTo>
                      <a:pt x="228" y="34"/>
                      <a:pt x="183" y="12"/>
                      <a:pt x="120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27" name="Freeform 160">
                <a:extLst>
                  <a:ext uri="{FF2B5EF4-FFF2-40B4-BE49-F238E27FC236}">
                    <a16:creationId xmlns:a16="http://schemas.microsoft.com/office/drawing/2014/main" id="{F93ED3C9-408F-9F9A-6C24-09E85D284B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065" y="3258838"/>
                <a:ext cx="885987" cy="421673"/>
              </a:xfrm>
              <a:custGeom>
                <a:avLst/>
                <a:gdLst>
                  <a:gd name="T0" fmla="*/ 120 w 126"/>
                  <a:gd name="T1" fmla="*/ 60 h 60"/>
                  <a:gd name="T2" fmla="*/ 0 w 126"/>
                  <a:gd name="T3" fmla="*/ 6 h 60"/>
                  <a:gd name="T4" fmla="*/ 6 w 126"/>
                  <a:gd name="T5" fmla="*/ 0 h 60"/>
                  <a:gd name="T6" fmla="*/ 12 w 126"/>
                  <a:gd name="T7" fmla="*/ 6 h 60"/>
                  <a:gd name="T8" fmla="*/ 120 w 126"/>
                  <a:gd name="T9" fmla="*/ 48 h 60"/>
                  <a:gd name="T10" fmla="*/ 126 w 126"/>
                  <a:gd name="T11" fmla="*/ 54 h 60"/>
                  <a:gd name="T12" fmla="*/ 120 w 126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6" h="60">
                    <a:moveTo>
                      <a:pt x="120" y="60"/>
                    </a:moveTo>
                    <a:cubicBezTo>
                      <a:pt x="53" y="60"/>
                      <a:pt x="0" y="3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26"/>
                      <a:pt x="56" y="48"/>
                      <a:pt x="120" y="48"/>
                    </a:cubicBezTo>
                    <a:cubicBezTo>
                      <a:pt x="123" y="48"/>
                      <a:pt x="126" y="50"/>
                      <a:pt x="126" y="54"/>
                    </a:cubicBezTo>
                    <a:cubicBezTo>
                      <a:pt x="126" y="57"/>
                      <a:pt x="123" y="60"/>
                      <a:pt x="12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28" name="Freeform 161">
                <a:extLst>
                  <a:ext uri="{FF2B5EF4-FFF2-40B4-BE49-F238E27FC236}">
                    <a16:creationId xmlns:a16="http://schemas.microsoft.com/office/drawing/2014/main" id="{6A3E7BB3-E6D0-4728-4C11-4FD5847703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065" y="3637870"/>
                <a:ext cx="758064" cy="412197"/>
              </a:xfrm>
              <a:custGeom>
                <a:avLst/>
                <a:gdLst>
                  <a:gd name="T0" fmla="*/ 102 w 108"/>
                  <a:gd name="T1" fmla="*/ 59 h 59"/>
                  <a:gd name="T2" fmla="*/ 101 w 108"/>
                  <a:gd name="T3" fmla="*/ 59 h 59"/>
                  <a:gd name="T4" fmla="*/ 0 w 108"/>
                  <a:gd name="T5" fmla="*/ 6 h 59"/>
                  <a:gd name="T6" fmla="*/ 6 w 108"/>
                  <a:gd name="T7" fmla="*/ 0 h 59"/>
                  <a:gd name="T8" fmla="*/ 12 w 108"/>
                  <a:gd name="T9" fmla="*/ 6 h 59"/>
                  <a:gd name="T10" fmla="*/ 102 w 108"/>
                  <a:gd name="T11" fmla="*/ 47 h 59"/>
                  <a:gd name="T12" fmla="*/ 108 w 108"/>
                  <a:gd name="T13" fmla="*/ 53 h 59"/>
                  <a:gd name="T14" fmla="*/ 102 w 108"/>
                  <a:gd name="T15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8" h="59">
                    <a:moveTo>
                      <a:pt x="102" y="59"/>
                    </a:moveTo>
                    <a:cubicBezTo>
                      <a:pt x="102" y="59"/>
                      <a:pt x="102" y="59"/>
                      <a:pt x="101" y="59"/>
                    </a:cubicBezTo>
                    <a:cubicBezTo>
                      <a:pt x="42" y="55"/>
                      <a:pt x="0" y="33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25"/>
                      <a:pt x="52" y="44"/>
                      <a:pt x="102" y="47"/>
                    </a:cubicBezTo>
                    <a:cubicBezTo>
                      <a:pt x="106" y="47"/>
                      <a:pt x="108" y="50"/>
                      <a:pt x="108" y="53"/>
                    </a:cubicBezTo>
                    <a:cubicBezTo>
                      <a:pt x="108" y="57"/>
                      <a:pt x="105" y="59"/>
                      <a:pt x="102" y="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33" name="Freeform 162">
                <a:extLst>
                  <a:ext uri="{FF2B5EF4-FFF2-40B4-BE49-F238E27FC236}">
                    <a16:creationId xmlns:a16="http://schemas.microsoft.com/office/drawing/2014/main" id="{4B776AD4-07CA-2F71-90F1-AD8750861D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065" y="2922448"/>
                <a:ext cx="800705" cy="1506650"/>
              </a:xfrm>
              <a:custGeom>
                <a:avLst/>
                <a:gdLst>
                  <a:gd name="T0" fmla="*/ 108 w 114"/>
                  <a:gd name="T1" fmla="*/ 215 h 215"/>
                  <a:gd name="T2" fmla="*/ 108 w 114"/>
                  <a:gd name="T3" fmla="*/ 215 h 215"/>
                  <a:gd name="T4" fmla="*/ 0 w 114"/>
                  <a:gd name="T5" fmla="*/ 162 h 215"/>
                  <a:gd name="T6" fmla="*/ 0 w 114"/>
                  <a:gd name="T7" fmla="*/ 6 h 215"/>
                  <a:gd name="T8" fmla="*/ 6 w 114"/>
                  <a:gd name="T9" fmla="*/ 0 h 215"/>
                  <a:gd name="T10" fmla="*/ 12 w 114"/>
                  <a:gd name="T11" fmla="*/ 6 h 215"/>
                  <a:gd name="T12" fmla="*/ 12 w 114"/>
                  <a:gd name="T13" fmla="*/ 162 h 215"/>
                  <a:gd name="T14" fmla="*/ 108 w 114"/>
                  <a:gd name="T15" fmla="*/ 203 h 215"/>
                  <a:gd name="T16" fmla="*/ 114 w 114"/>
                  <a:gd name="T17" fmla="*/ 210 h 215"/>
                  <a:gd name="T18" fmla="*/ 108 w 114"/>
                  <a:gd name="T19" fmla="*/ 215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4" h="215">
                    <a:moveTo>
                      <a:pt x="108" y="215"/>
                    </a:moveTo>
                    <a:cubicBezTo>
                      <a:pt x="108" y="215"/>
                      <a:pt x="108" y="215"/>
                      <a:pt x="108" y="215"/>
                    </a:cubicBezTo>
                    <a:cubicBezTo>
                      <a:pt x="45" y="213"/>
                      <a:pt x="0" y="190"/>
                      <a:pt x="0" y="16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162"/>
                      <a:pt x="12" y="162"/>
                      <a:pt x="12" y="162"/>
                    </a:cubicBezTo>
                    <a:cubicBezTo>
                      <a:pt x="12" y="180"/>
                      <a:pt x="49" y="201"/>
                      <a:pt x="108" y="203"/>
                    </a:cubicBezTo>
                    <a:cubicBezTo>
                      <a:pt x="111" y="204"/>
                      <a:pt x="114" y="206"/>
                      <a:pt x="114" y="210"/>
                    </a:cubicBezTo>
                    <a:cubicBezTo>
                      <a:pt x="114" y="213"/>
                      <a:pt x="111" y="215"/>
                      <a:pt x="108" y="2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36" name="Freeform 163">
                <a:extLst>
                  <a:ext uri="{FF2B5EF4-FFF2-40B4-BE49-F238E27FC236}">
                    <a16:creationId xmlns:a16="http://schemas.microsoft.com/office/drawing/2014/main" id="{723F06DB-8A4E-72A8-F2B3-1B0260ED9F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2474" y="2922447"/>
                <a:ext cx="85282" cy="464314"/>
              </a:xfrm>
              <a:custGeom>
                <a:avLst/>
                <a:gdLst>
                  <a:gd name="T0" fmla="*/ 6 w 12"/>
                  <a:gd name="T1" fmla="*/ 66 h 66"/>
                  <a:gd name="T2" fmla="*/ 0 w 12"/>
                  <a:gd name="T3" fmla="*/ 60 h 66"/>
                  <a:gd name="T4" fmla="*/ 0 w 12"/>
                  <a:gd name="T5" fmla="*/ 6 h 66"/>
                  <a:gd name="T6" fmla="*/ 6 w 12"/>
                  <a:gd name="T7" fmla="*/ 0 h 66"/>
                  <a:gd name="T8" fmla="*/ 12 w 12"/>
                  <a:gd name="T9" fmla="*/ 6 h 66"/>
                  <a:gd name="T10" fmla="*/ 12 w 12"/>
                  <a:gd name="T11" fmla="*/ 60 h 66"/>
                  <a:gd name="T12" fmla="*/ 6 w 12"/>
                  <a:gd name="T13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6">
                    <a:moveTo>
                      <a:pt x="6" y="66"/>
                    </a:moveTo>
                    <a:cubicBezTo>
                      <a:pt x="3" y="66"/>
                      <a:pt x="0" y="63"/>
                      <a:pt x="0" y="6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60"/>
                      <a:pt x="12" y="60"/>
                      <a:pt x="12" y="60"/>
                    </a:cubicBezTo>
                    <a:cubicBezTo>
                      <a:pt x="12" y="63"/>
                      <a:pt x="9" y="66"/>
                      <a:pt x="6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</p:grpSp>
      </p:grpSp>
      <p:sp>
        <p:nvSpPr>
          <p:cNvPr id="40" name="Footer Placeholder 39">
            <a:extLst>
              <a:ext uri="{FF2B5EF4-FFF2-40B4-BE49-F238E27FC236}">
                <a16:creationId xmlns:a16="http://schemas.microsoft.com/office/drawing/2014/main" id="{2F79E84A-F8F1-F320-9F99-8460024C83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41" name="Slide Number Placeholder 40">
            <a:extLst>
              <a:ext uri="{FF2B5EF4-FFF2-40B4-BE49-F238E27FC236}">
                <a16:creationId xmlns:a16="http://schemas.microsoft.com/office/drawing/2014/main" id="{0428C4AA-3DC1-C788-99F9-DE74D951FC6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32CCDDB-A5AB-3C1F-F6F0-AF44DCEF297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94273" y="1635538"/>
            <a:ext cx="1333596" cy="1477143"/>
          </a:xfrm>
          <a:prstGeom prst="rect">
            <a:avLst/>
          </a:prstGeom>
        </p:spPr>
      </p:pic>
      <p:pic>
        <p:nvPicPr>
          <p:cNvPr id="8" name="Picture 7" descr="A black background with white text&#10;&#10;Description automatically generated with low confidence">
            <a:extLst>
              <a:ext uri="{FF2B5EF4-FFF2-40B4-BE49-F238E27FC236}">
                <a16:creationId xmlns:a16="http://schemas.microsoft.com/office/drawing/2014/main" id="{997B9697-D079-6179-0C9B-DCBA672C1EC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9923" y="1002016"/>
            <a:ext cx="2399080" cy="9450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2A58C51-D889-5766-E023-2FF867E1A7F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61367" y="1335226"/>
            <a:ext cx="1156081" cy="1345917"/>
          </a:xfrm>
          <a:prstGeom prst="rect">
            <a:avLst/>
          </a:prstGeom>
          <a:ln w="9525" cap="sq">
            <a:solidFill>
              <a:schemeClr val="accent6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414623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0EB2A3E7-FA19-C093-52DD-22855C4C3C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Stefan Oehrli – Modern Data Platforms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4452556C-B31F-2462-1421-20345716F8ED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3557306" y="1947672"/>
            <a:ext cx="8253694" cy="4361688"/>
          </a:xfrm>
        </p:spPr>
        <p:txBody>
          <a:bodyPr/>
          <a:lstStyle/>
          <a:p>
            <a:pPr marL="0" indent="0">
              <a:buNone/>
            </a:pPr>
            <a:r>
              <a:rPr lang="en-GB" sz="2400" dirty="0">
                <a:latin typeface="+mj-lt"/>
              </a:rPr>
              <a:t>Tech Architecture Manager</a:t>
            </a:r>
          </a:p>
          <a:p>
            <a:r>
              <a:rPr lang="en-GB" dirty="0"/>
              <a:t>Since 1997 </a:t>
            </a:r>
            <a:r>
              <a:rPr lang="en-GB" dirty="0">
                <a:latin typeface="+mj-lt"/>
              </a:rPr>
              <a:t>active</a:t>
            </a:r>
            <a:r>
              <a:rPr lang="en-GB" dirty="0"/>
              <a:t> in various IT areas</a:t>
            </a:r>
          </a:p>
          <a:p>
            <a:r>
              <a:rPr lang="en-GB" dirty="0"/>
              <a:t>More than 25 years of experience in Oracle databases</a:t>
            </a:r>
          </a:p>
          <a:p>
            <a:r>
              <a:rPr lang="en-GB" dirty="0"/>
              <a:t>Focus: Protecting data and operating databases securely</a:t>
            </a:r>
          </a:p>
          <a:p>
            <a:pPr lvl="1"/>
            <a:r>
              <a:rPr lang="en-GB" dirty="0"/>
              <a:t>Security assessments and reviews </a:t>
            </a:r>
          </a:p>
          <a:p>
            <a:pPr lvl="1"/>
            <a:r>
              <a:rPr lang="en-GB" dirty="0"/>
              <a:t>Database security concepts and their implementation</a:t>
            </a:r>
          </a:p>
          <a:p>
            <a:pPr lvl="1"/>
            <a:r>
              <a:rPr lang="en-GB" dirty="0"/>
              <a:t>Oracle Backup &amp; Recovery concepts and troubleshooting</a:t>
            </a:r>
          </a:p>
          <a:p>
            <a:pPr lvl="1"/>
            <a:r>
              <a:rPr lang="en-GB" dirty="0"/>
              <a:t>Oracle Enterprise User and Advanced Security, DB Vault, …</a:t>
            </a:r>
          </a:p>
          <a:p>
            <a:pPr lvl="1"/>
            <a:r>
              <a:rPr lang="en-GB" dirty="0"/>
              <a:t>Oracle Directory Services</a:t>
            </a:r>
          </a:p>
          <a:p>
            <a:r>
              <a:rPr lang="en-GB" dirty="0"/>
              <a:t>Co-author of the book The Oracle DBA (</a:t>
            </a:r>
            <a:r>
              <a:rPr lang="en-GB" dirty="0" err="1"/>
              <a:t>Hanser</a:t>
            </a:r>
            <a:r>
              <a:rPr lang="en-GB" dirty="0"/>
              <a:t>, 2016/07)</a:t>
            </a:r>
          </a:p>
          <a:p>
            <a:endParaRPr lang="en-GB" dirty="0"/>
          </a:p>
          <a:p>
            <a:r>
              <a:rPr lang="en-CH" dirty="0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01F38FA-914A-C263-D471-9E1571B927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CH" dirty="0"/>
              <a:t>stefan.oehrli@accenture.com</a:t>
            </a:r>
          </a:p>
        </p:txBody>
      </p:sp>
      <p:pic>
        <p:nvPicPr>
          <p:cNvPr id="20" name="Picture Placeholder 4">
            <a:extLst>
              <a:ext uri="{FF2B5EF4-FFF2-40B4-BE49-F238E27FC236}">
                <a16:creationId xmlns:a16="http://schemas.microsoft.com/office/drawing/2014/main" id="{F9A27A75-13C8-8DF7-897B-0C1C1AE44858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2"/>
          <a:srcRect l="15160" t="2567" r="12494" b="41271"/>
          <a:stretch/>
        </p:blipFill>
        <p:spPr>
          <a:xfrm>
            <a:off x="593464" y="1809223"/>
            <a:ext cx="2877668" cy="2978527"/>
          </a:xfrm>
          <a:prstGeom prst="ellipse">
            <a:avLst/>
          </a:prstGeom>
          <a:ln w="3175" cap="rnd">
            <a:solidFill>
              <a:schemeClr val="accent6"/>
            </a:solidFill>
          </a:ln>
          <a:effectLst>
            <a:outerShdw blurRad="381000" dist="152400" dir="5400000" sx="-80000" sy="-18000" rotWithShape="0">
              <a:srgbClr val="000000">
                <a:alpha val="20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D894CC70-3EA2-E9F4-96C6-0E39435433EE}"/>
              </a:ext>
            </a:extLst>
          </p:cNvPr>
          <p:cNvGrpSpPr/>
          <p:nvPr/>
        </p:nvGrpSpPr>
        <p:grpSpPr>
          <a:xfrm>
            <a:off x="2542117" y="5749846"/>
            <a:ext cx="2819753" cy="548961"/>
            <a:chOff x="2542117" y="5749846"/>
            <a:chExt cx="2819753" cy="548961"/>
          </a:xfrm>
        </p:grpSpPr>
        <p:sp>
          <p:nvSpPr>
            <p:cNvPr id="29" name="Content Placeholder 11">
              <a:extLst>
                <a:ext uri="{FF2B5EF4-FFF2-40B4-BE49-F238E27FC236}">
                  <a16:creationId xmlns:a16="http://schemas.microsoft.com/office/drawing/2014/main" id="{91D68ABB-A757-F8E3-D746-A57545B76C6D}"/>
                </a:ext>
              </a:extLst>
            </p:cNvPr>
            <p:cNvSpPr txBox="1">
              <a:spLocks/>
            </p:cNvSpPr>
            <p:nvPr/>
          </p:nvSpPr>
          <p:spPr>
            <a:xfrm>
              <a:off x="2876563" y="5817157"/>
              <a:ext cx="2485307" cy="414339"/>
            </a:xfrm>
            <a:prstGeom prst="rect">
              <a:avLst/>
            </a:prstGeom>
          </p:spPr>
          <p:txBody>
            <a:bodyPr vert="horz" lIns="121920" tIns="60960" rIns="121920" bIns="60960" rtlCol="0">
              <a:normAutofit/>
            </a:bodyPr>
            <a:lstStyle>
              <a:lvl1pPr marL="257175" indent="-171450" algn="l" defTabSz="685800" rtl="0" eaLnBrk="1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9600FF"/>
                </a:buClr>
                <a:buFont typeface="Wingdings" pitchFamily="2" charset="2"/>
                <a:buChar char="§"/>
                <a:defRPr lang="en-US" sz="1350" b="0" kern="1200" baseline="0" dirty="0" smtClean="0">
                  <a:solidFill>
                    <a:srgbClr val="1E2846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  <a:lvl2pPr marL="557213" indent="-171450" algn="l" defTabSz="685800" rtl="0" eaLnBrk="1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9600FF"/>
                </a:buClr>
                <a:buFont typeface="Courier New" panose="02070309020205020404" pitchFamily="49" charset="0"/>
                <a:buChar char="o"/>
                <a:defRPr lang="en-US" sz="1350" b="0" kern="1200" baseline="0" dirty="0" smtClean="0">
                  <a:solidFill>
                    <a:srgbClr val="1E2846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9600FF"/>
                </a:buClr>
                <a:buFont typeface="Courier New" panose="02070309020205020404" pitchFamily="49" charset="0"/>
                <a:buChar char="o"/>
                <a:defRPr lang="en-US" sz="1350" b="0" kern="1200" baseline="0" dirty="0" smtClean="0">
                  <a:solidFill>
                    <a:srgbClr val="1E2846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9600FF"/>
                </a:buClr>
                <a:buFont typeface="Courier New" panose="02070309020205020404" pitchFamily="49" charset="0"/>
                <a:buChar char="o"/>
                <a:defRPr lang="en-US" sz="1350" b="0" kern="1200" baseline="0" dirty="0" smtClean="0">
                  <a:solidFill>
                    <a:srgbClr val="1E2846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9600FF"/>
                </a:buClr>
                <a:buFont typeface="Courier New" panose="02070309020205020404" pitchFamily="49" charset="0"/>
                <a:buChar char="o"/>
                <a:defRPr lang="en-US" sz="1350" b="0" kern="1200" baseline="0" dirty="0">
                  <a:solidFill>
                    <a:srgbClr val="1E2846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5pPr>
              <a:lvl6pPr marL="1885950" indent="-171450" algn="l" defTabSz="342900" rtl="0" eaLnBrk="1" latinLnBrk="0" hangingPunct="1">
                <a:spcBef>
                  <a:spcPct val="20000"/>
                </a:spcBef>
                <a:buFont typeface="Arial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342900" rtl="0" eaLnBrk="1" latinLnBrk="0" hangingPunct="1">
                <a:spcBef>
                  <a:spcPct val="20000"/>
                </a:spcBef>
                <a:buFont typeface="Arial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342900" rtl="0" eaLnBrk="1" latinLnBrk="0" hangingPunct="1">
                <a:spcBef>
                  <a:spcPct val="20000"/>
                </a:spcBef>
                <a:buFont typeface="Arial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342900" rtl="0" eaLnBrk="1" latinLnBrk="0" hangingPunct="1">
                <a:spcBef>
                  <a:spcPct val="20000"/>
                </a:spcBef>
                <a:buFont typeface="Arial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14297" indent="0">
                <a:buNone/>
              </a:pPr>
              <a:r>
                <a:rPr lang="de-CH" sz="1800" dirty="0" err="1">
                  <a:latin typeface="+mn-lt"/>
                </a:rPr>
                <a:t>oradba.ch</a:t>
              </a:r>
              <a:endParaRPr lang="de-CH" sz="1800" dirty="0">
                <a:latin typeface="+mn-lt"/>
              </a:endParaRPr>
            </a:p>
            <a:p>
              <a:endParaRPr lang="de-CH" sz="1800" dirty="0"/>
            </a:p>
          </p:txBody>
        </p:sp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8462032C-0012-F97A-AD08-FF7EC647B76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42117" y="5749846"/>
              <a:ext cx="548961" cy="548961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4980A225-0BC2-4849-CDF2-6D5911957A8A}"/>
              </a:ext>
            </a:extLst>
          </p:cNvPr>
          <p:cNvGrpSpPr/>
          <p:nvPr/>
        </p:nvGrpSpPr>
        <p:grpSpPr>
          <a:xfrm>
            <a:off x="4501038" y="5817157"/>
            <a:ext cx="3370169" cy="414339"/>
            <a:chOff x="4416814" y="5817157"/>
            <a:chExt cx="3370169" cy="414339"/>
          </a:xfrm>
        </p:grpSpPr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E6972F15-626C-0E12-876A-BDFDB11C854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/>
            <a:stretch/>
          </p:blipFill>
          <p:spPr>
            <a:xfrm>
              <a:off x="4416814" y="5823812"/>
              <a:ext cx="453899" cy="401028"/>
            </a:xfrm>
            <a:prstGeom prst="rect">
              <a:avLst/>
            </a:prstGeom>
          </p:spPr>
        </p:pic>
        <p:sp>
          <p:nvSpPr>
            <p:cNvPr id="32" name="Content Placeholder 11">
              <a:extLst>
                <a:ext uri="{FF2B5EF4-FFF2-40B4-BE49-F238E27FC236}">
                  <a16:creationId xmlns:a16="http://schemas.microsoft.com/office/drawing/2014/main" id="{C417181F-654B-F662-0DBB-9089B783A18D}"/>
                </a:ext>
              </a:extLst>
            </p:cNvPr>
            <p:cNvSpPr txBox="1">
              <a:spLocks/>
            </p:cNvSpPr>
            <p:nvPr/>
          </p:nvSpPr>
          <p:spPr>
            <a:xfrm>
              <a:off x="4703729" y="5817157"/>
              <a:ext cx="3083254" cy="414339"/>
            </a:xfrm>
            <a:prstGeom prst="rect">
              <a:avLst/>
            </a:prstGeom>
          </p:spPr>
          <p:txBody>
            <a:bodyPr vert="horz" lIns="121920" tIns="60960" rIns="121920" bIns="60960" rtlCol="0">
              <a:normAutofit fontScale="92500"/>
            </a:bodyPr>
            <a:lstStyle>
              <a:lvl1pPr marL="257175" indent="-171450" algn="l" defTabSz="685800" rtl="0" eaLnBrk="1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9600FF"/>
                </a:buClr>
                <a:buFont typeface="Wingdings" pitchFamily="2" charset="2"/>
                <a:buChar char="§"/>
                <a:defRPr lang="en-US" sz="1350" b="0" kern="1200" baseline="0" dirty="0" smtClean="0">
                  <a:solidFill>
                    <a:srgbClr val="1E2846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  <a:lvl2pPr marL="557213" indent="-171450" algn="l" defTabSz="685800" rtl="0" eaLnBrk="1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9600FF"/>
                </a:buClr>
                <a:buFont typeface="Courier New" panose="02070309020205020404" pitchFamily="49" charset="0"/>
                <a:buChar char="o"/>
                <a:defRPr lang="en-US" sz="1350" b="0" kern="1200" baseline="0" dirty="0" smtClean="0">
                  <a:solidFill>
                    <a:srgbClr val="1E2846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9600FF"/>
                </a:buClr>
                <a:buFont typeface="Courier New" panose="02070309020205020404" pitchFamily="49" charset="0"/>
                <a:buChar char="o"/>
                <a:defRPr lang="en-US" sz="1350" b="0" kern="1200" baseline="0" dirty="0" smtClean="0">
                  <a:solidFill>
                    <a:srgbClr val="1E2846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9600FF"/>
                </a:buClr>
                <a:buFont typeface="Courier New" panose="02070309020205020404" pitchFamily="49" charset="0"/>
                <a:buChar char="o"/>
                <a:defRPr lang="en-US" sz="1350" b="0" kern="1200" baseline="0" dirty="0" smtClean="0">
                  <a:solidFill>
                    <a:srgbClr val="1E2846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9600FF"/>
                </a:buClr>
                <a:buFont typeface="Courier New" panose="02070309020205020404" pitchFamily="49" charset="0"/>
                <a:buChar char="o"/>
                <a:defRPr lang="en-US" sz="1350" b="0" kern="1200" baseline="0" dirty="0">
                  <a:solidFill>
                    <a:srgbClr val="1E2846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5pPr>
              <a:lvl6pPr marL="1885950" indent="-171450" algn="l" defTabSz="342900" rtl="0" eaLnBrk="1" latinLnBrk="0" hangingPunct="1">
                <a:spcBef>
                  <a:spcPct val="20000"/>
                </a:spcBef>
                <a:buFont typeface="Arial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342900" rtl="0" eaLnBrk="1" latinLnBrk="0" hangingPunct="1">
                <a:spcBef>
                  <a:spcPct val="20000"/>
                </a:spcBef>
                <a:buFont typeface="Arial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342900" rtl="0" eaLnBrk="1" latinLnBrk="0" hangingPunct="1">
                <a:spcBef>
                  <a:spcPct val="20000"/>
                </a:spcBef>
                <a:buFont typeface="Arial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342900" rtl="0" eaLnBrk="1" latinLnBrk="0" hangingPunct="1">
                <a:spcBef>
                  <a:spcPct val="20000"/>
                </a:spcBef>
                <a:buFont typeface="Arial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85725" indent="0">
                <a:buNone/>
              </a:pPr>
              <a:r>
                <a:rPr lang="de-CH" sz="1800" dirty="0">
                  <a:latin typeface="+mn-lt"/>
                </a:rPr>
                <a:t>@</a:t>
              </a:r>
              <a:r>
                <a:rPr lang="de-CH" sz="1800" dirty="0" err="1">
                  <a:latin typeface="+mn-lt"/>
                </a:rPr>
                <a:t>stefanoehrli.bsky.social</a:t>
              </a:r>
              <a:endParaRPr lang="de-CH" sz="1800" dirty="0">
                <a:latin typeface="+mn-lt"/>
              </a:endParaRPr>
            </a:p>
          </p:txBody>
        </p:sp>
      </p:grpSp>
      <p:pic>
        <p:nvPicPr>
          <p:cNvPr id="34" name="Picture 2" descr="Image result for dba handbuch">
            <a:extLst>
              <a:ext uri="{FF2B5EF4-FFF2-40B4-BE49-F238E27FC236}">
                <a16:creationId xmlns:a16="http://schemas.microsoft.com/office/drawing/2014/main" id="{C3B20B5A-1BFC-13EB-9061-96EF4F5F51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3823" y="3292896"/>
            <a:ext cx="1057177" cy="14898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4" descr="A picture containing application&#10;&#10;Description automatically generated">
            <a:extLst>
              <a:ext uri="{FF2B5EF4-FFF2-40B4-BE49-F238E27FC236}">
                <a16:creationId xmlns:a16="http://schemas.microsoft.com/office/drawing/2014/main" id="{73ABD427-27CE-C838-0454-7938396B494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19347" y="1356326"/>
            <a:ext cx="1156204" cy="11562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A690C77-120F-E5E0-063D-D1ABCE284564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6131187" y="817881"/>
            <a:ext cx="2450120" cy="96519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3" descr="A black square with a gold and black logo&#10;&#10;Description automatically generated">
            <a:extLst>
              <a:ext uri="{FF2B5EF4-FFF2-40B4-BE49-F238E27FC236}">
                <a16:creationId xmlns:a16="http://schemas.microsoft.com/office/drawing/2014/main" id="{BDA661E5-2CB1-4379-3D9C-82BF4C5BC6E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151759" y="1758427"/>
            <a:ext cx="1435824" cy="14358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98171000-07B5-D604-3B1D-D17E2FF369C0}"/>
              </a:ext>
            </a:extLst>
          </p:cNvPr>
          <p:cNvGrpSpPr/>
          <p:nvPr/>
        </p:nvGrpSpPr>
        <p:grpSpPr>
          <a:xfrm>
            <a:off x="9427131" y="242710"/>
            <a:ext cx="2450120" cy="995559"/>
            <a:chOff x="3064333" y="2754885"/>
            <a:chExt cx="5703054" cy="2032013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41CFAB29-83AB-BB4E-3827-1DD384EC7236}"/>
                </a:ext>
              </a:extLst>
            </p:cNvPr>
            <p:cNvGrpSpPr/>
            <p:nvPr/>
          </p:nvGrpSpPr>
          <p:grpSpPr>
            <a:xfrm>
              <a:off x="5512941" y="2754885"/>
              <a:ext cx="3254446" cy="1989398"/>
              <a:chOff x="5295227" y="803258"/>
              <a:chExt cx="3254446" cy="1989398"/>
            </a:xfrm>
          </p:grpSpPr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F6FAE0B8-1014-2959-9803-3BE200AAD638}"/>
                  </a:ext>
                </a:extLst>
              </p:cNvPr>
              <p:cNvSpPr txBox="1"/>
              <p:nvPr/>
            </p:nvSpPr>
            <p:spPr>
              <a:xfrm>
                <a:off x="5295227" y="803258"/>
                <a:ext cx="2418961" cy="62819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CH" sz="2000" b="1" dirty="0"/>
                  <a:t>Modern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3B04D1A6-A8A8-B21F-DCBA-A874C0092007}"/>
                  </a:ext>
                </a:extLst>
              </p:cNvPr>
              <p:cNvSpPr txBox="1"/>
              <p:nvPr/>
            </p:nvSpPr>
            <p:spPr>
              <a:xfrm>
                <a:off x="5295227" y="1450284"/>
                <a:ext cx="2660857" cy="62819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CH" sz="2000" b="1" dirty="0"/>
                  <a:t>Data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794FCA43-8DCB-8D5D-A840-A0C372A37E87}"/>
                  </a:ext>
                </a:extLst>
              </p:cNvPr>
              <p:cNvSpPr txBox="1"/>
              <p:nvPr/>
            </p:nvSpPr>
            <p:spPr>
              <a:xfrm>
                <a:off x="5295227" y="2164459"/>
                <a:ext cx="3254446" cy="62819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CH" sz="2000" b="1" dirty="0"/>
                  <a:t>Platforms</a:t>
                </a: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9ADF6806-5DBE-6864-62D3-A832282A8622}"/>
                </a:ext>
              </a:extLst>
            </p:cNvPr>
            <p:cNvGrpSpPr/>
            <p:nvPr/>
          </p:nvGrpSpPr>
          <p:grpSpPr>
            <a:xfrm>
              <a:off x="3064333" y="2896605"/>
              <a:ext cx="2367540" cy="1890293"/>
              <a:chOff x="861065" y="2586057"/>
              <a:chExt cx="2367540" cy="1890293"/>
            </a:xfrm>
            <a:solidFill>
              <a:schemeClr val="tx1"/>
            </a:solidFill>
          </p:grpSpPr>
          <p:sp>
            <p:nvSpPr>
              <p:cNvPr id="25" name="Freeform 147">
                <a:extLst>
                  <a:ext uri="{FF2B5EF4-FFF2-40B4-BE49-F238E27FC236}">
                    <a16:creationId xmlns:a16="http://schemas.microsoft.com/office/drawing/2014/main" id="{9E09B3D6-68D3-4625-3879-638801586451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760613" y="3554112"/>
                <a:ext cx="1467992" cy="922238"/>
              </a:xfrm>
              <a:custGeom>
                <a:avLst/>
                <a:gdLst>
                  <a:gd name="T0" fmla="*/ 54 w 288"/>
                  <a:gd name="T1" fmla="*/ 180 h 180"/>
                  <a:gd name="T2" fmla="*/ 14 w 288"/>
                  <a:gd name="T3" fmla="*/ 164 h 180"/>
                  <a:gd name="T4" fmla="*/ 0 w 288"/>
                  <a:gd name="T5" fmla="*/ 129 h 180"/>
                  <a:gd name="T6" fmla="*/ 19 w 288"/>
                  <a:gd name="T7" fmla="*/ 89 h 180"/>
                  <a:gd name="T8" fmla="*/ 55 w 288"/>
                  <a:gd name="T9" fmla="*/ 78 h 180"/>
                  <a:gd name="T10" fmla="*/ 144 w 288"/>
                  <a:gd name="T11" fmla="*/ 0 h 180"/>
                  <a:gd name="T12" fmla="*/ 224 w 288"/>
                  <a:gd name="T13" fmla="*/ 48 h 180"/>
                  <a:gd name="T14" fmla="*/ 268 w 288"/>
                  <a:gd name="T15" fmla="*/ 66 h 180"/>
                  <a:gd name="T16" fmla="*/ 288 w 288"/>
                  <a:gd name="T17" fmla="*/ 114 h 180"/>
                  <a:gd name="T18" fmla="*/ 229 w 288"/>
                  <a:gd name="T19" fmla="*/ 180 h 180"/>
                  <a:gd name="T20" fmla="*/ 228 w 288"/>
                  <a:gd name="T21" fmla="*/ 180 h 180"/>
                  <a:gd name="T22" fmla="*/ 54 w 288"/>
                  <a:gd name="T23" fmla="*/ 180 h 180"/>
                  <a:gd name="T24" fmla="*/ 54 w 288"/>
                  <a:gd name="T25" fmla="*/ 180 h 180"/>
                  <a:gd name="T26" fmla="*/ 51 w 288"/>
                  <a:gd name="T27" fmla="*/ 90 h 180"/>
                  <a:gd name="T28" fmla="*/ 27 w 288"/>
                  <a:gd name="T29" fmla="*/ 99 h 180"/>
                  <a:gd name="T30" fmla="*/ 12 w 288"/>
                  <a:gd name="T31" fmla="*/ 129 h 180"/>
                  <a:gd name="T32" fmla="*/ 22 w 288"/>
                  <a:gd name="T33" fmla="*/ 156 h 180"/>
                  <a:gd name="T34" fmla="*/ 54 w 288"/>
                  <a:gd name="T35" fmla="*/ 168 h 180"/>
                  <a:gd name="T36" fmla="*/ 54 w 288"/>
                  <a:gd name="T37" fmla="*/ 168 h 180"/>
                  <a:gd name="T38" fmla="*/ 228 w 288"/>
                  <a:gd name="T39" fmla="*/ 168 h 180"/>
                  <a:gd name="T40" fmla="*/ 276 w 288"/>
                  <a:gd name="T41" fmla="*/ 114 h 180"/>
                  <a:gd name="T42" fmla="*/ 260 w 288"/>
                  <a:gd name="T43" fmla="*/ 75 h 180"/>
                  <a:gd name="T44" fmla="*/ 220 w 288"/>
                  <a:gd name="T45" fmla="*/ 60 h 180"/>
                  <a:gd name="T46" fmla="*/ 215 w 288"/>
                  <a:gd name="T47" fmla="*/ 57 h 180"/>
                  <a:gd name="T48" fmla="*/ 144 w 288"/>
                  <a:gd name="T49" fmla="*/ 12 h 180"/>
                  <a:gd name="T50" fmla="*/ 66 w 288"/>
                  <a:gd name="T51" fmla="*/ 85 h 180"/>
                  <a:gd name="T52" fmla="*/ 64 w 288"/>
                  <a:gd name="T53" fmla="*/ 90 h 180"/>
                  <a:gd name="T54" fmla="*/ 59 w 288"/>
                  <a:gd name="T55" fmla="*/ 91 h 180"/>
                  <a:gd name="T56" fmla="*/ 51 w 288"/>
                  <a:gd name="T57" fmla="*/ 9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88" h="180">
                    <a:moveTo>
                      <a:pt x="54" y="180"/>
                    </a:moveTo>
                    <a:cubicBezTo>
                      <a:pt x="51" y="180"/>
                      <a:pt x="29" y="179"/>
                      <a:pt x="14" y="164"/>
                    </a:cubicBezTo>
                    <a:cubicBezTo>
                      <a:pt x="5" y="156"/>
                      <a:pt x="0" y="144"/>
                      <a:pt x="0" y="129"/>
                    </a:cubicBezTo>
                    <a:cubicBezTo>
                      <a:pt x="0" y="113"/>
                      <a:pt x="7" y="99"/>
                      <a:pt x="19" y="89"/>
                    </a:cubicBezTo>
                    <a:cubicBezTo>
                      <a:pt x="29" y="81"/>
                      <a:pt x="42" y="77"/>
                      <a:pt x="55" y="78"/>
                    </a:cubicBezTo>
                    <a:cubicBezTo>
                      <a:pt x="61" y="34"/>
                      <a:pt x="99" y="0"/>
                      <a:pt x="144" y="0"/>
                    </a:cubicBezTo>
                    <a:cubicBezTo>
                      <a:pt x="177" y="0"/>
                      <a:pt x="208" y="19"/>
                      <a:pt x="224" y="48"/>
                    </a:cubicBezTo>
                    <a:cubicBezTo>
                      <a:pt x="240" y="48"/>
                      <a:pt x="256" y="55"/>
                      <a:pt x="268" y="66"/>
                    </a:cubicBezTo>
                    <a:cubicBezTo>
                      <a:pt x="281" y="79"/>
                      <a:pt x="288" y="96"/>
                      <a:pt x="288" y="114"/>
                    </a:cubicBezTo>
                    <a:cubicBezTo>
                      <a:pt x="288" y="171"/>
                      <a:pt x="230" y="180"/>
                      <a:pt x="229" y="180"/>
                    </a:cubicBezTo>
                    <a:cubicBezTo>
                      <a:pt x="229" y="180"/>
                      <a:pt x="228" y="180"/>
                      <a:pt x="228" y="180"/>
                    </a:cubicBezTo>
                    <a:cubicBezTo>
                      <a:pt x="54" y="180"/>
                      <a:pt x="54" y="180"/>
                      <a:pt x="54" y="180"/>
                    </a:cubicBezTo>
                    <a:cubicBezTo>
                      <a:pt x="54" y="180"/>
                      <a:pt x="54" y="180"/>
                      <a:pt x="54" y="180"/>
                    </a:cubicBezTo>
                    <a:close/>
                    <a:moveTo>
                      <a:pt x="51" y="90"/>
                    </a:moveTo>
                    <a:cubicBezTo>
                      <a:pt x="42" y="90"/>
                      <a:pt x="34" y="93"/>
                      <a:pt x="27" y="99"/>
                    </a:cubicBezTo>
                    <a:cubicBezTo>
                      <a:pt x="17" y="106"/>
                      <a:pt x="12" y="117"/>
                      <a:pt x="12" y="129"/>
                    </a:cubicBezTo>
                    <a:cubicBezTo>
                      <a:pt x="12" y="140"/>
                      <a:pt x="16" y="149"/>
                      <a:pt x="22" y="156"/>
                    </a:cubicBezTo>
                    <a:cubicBezTo>
                      <a:pt x="34" y="168"/>
                      <a:pt x="53" y="168"/>
                      <a:pt x="54" y="168"/>
                    </a:cubicBezTo>
                    <a:cubicBezTo>
                      <a:pt x="54" y="168"/>
                      <a:pt x="54" y="168"/>
                      <a:pt x="54" y="168"/>
                    </a:cubicBezTo>
                    <a:cubicBezTo>
                      <a:pt x="228" y="168"/>
                      <a:pt x="228" y="168"/>
                      <a:pt x="228" y="168"/>
                    </a:cubicBezTo>
                    <a:cubicBezTo>
                      <a:pt x="233" y="167"/>
                      <a:pt x="276" y="159"/>
                      <a:pt x="276" y="114"/>
                    </a:cubicBezTo>
                    <a:cubicBezTo>
                      <a:pt x="276" y="99"/>
                      <a:pt x="270" y="85"/>
                      <a:pt x="260" y="75"/>
                    </a:cubicBezTo>
                    <a:cubicBezTo>
                      <a:pt x="249" y="65"/>
                      <a:pt x="235" y="59"/>
                      <a:pt x="220" y="60"/>
                    </a:cubicBezTo>
                    <a:cubicBezTo>
                      <a:pt x="218" y="60"/>
                      <a:pt x="216" y="59"/>
                      <a:pt x="215" y="57"/>
                    </a:cubicBezTo>
                    <a:cubicBezTo>
                      <a:pt x="202" y="29"/>
                      <a:pt x="174" y="12"/>
                      <a:pt x="144" y="12"/>
                    </a:cubicBezTo>
                    <a:cubicBezTo>
                      <a:pt x="103" y="12"/>
                      <a:pt x="69" y="44"/>
                      <a:pt x="66" y="85"/>
                    </a:cubicBezTo>
                    <a:cubicBezTo>
                      <a:pt x="66" y="87"/>
                      <a:pt x="66" y="88"/>
                      <a:pt x="64" y="90"/>
                    </a:cubicBezTo>
                    <a:cubicBezTo>
                      <a:pt x="63" y="91"/>
                      <a:pt x="61" y="91"/>
                      <a:pt x="59" y="91"/>
                    </a:cubicBezTo>
                    <a:cubicBezTo>
                      <a:pt x="57" y="90"/>
                      <a:pt x="54" y="90"/>
                      <a:pt x="51" y="9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26" name="Freeform 159">
                <a:extLst>
                  <a:ext uri="{FF2B5EF4-FFF2-40B4-BE49-F238E27FC236}">
                    <a16:creationId xmlns:a16="http://schemas.microsoft.com/office/drawing/2014/main" id="{BC837DD7-E529-D7D4-B720-0BE9B88793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61065" y="2586057"/>
                <a:ext cx="1686691" cy="758063"/>
              </a:xfrm>
              <a:custGeom>
                <a:avLst/>
                <a:gdLst>
                  <a:gd name="T0" fmla="*/ 120 w 240"/>
                  <a:gd name="T1" fmla="*/ 108 h 108"/>
                  <a:gd name="T2" fmla="*/ 0 w 240"/>
                  <a:gd name="T3" fmla="*/ 54 h 108"/>
                  <a:gd name="T4" fmla="*/ 120 w 240"/>
                  <a:gd name="T5" fmla="*/ 0 h 108"/>
                  <a:gd name="T6" fmla="*/ 240 w 240"/>
                  <a:gd name="T7" fmla="*/ 54 h 108"/>
                  <a:gd name="T8" fmla="*/ 120 w 240"/>
                  <a:gd name="T9" fmla="*/ 108 h 108"/>
                  <a:gd name="T10" fmla="*/ 120 w 240"/>
                  <a:gd name="T11" fmla="*/ 12 h 108"/>
                  <a:gd name="T12" fmla="*/ 12 w 240"/>
                  <a:gd name="T13" fmla="*/ 54 h 108"/>
                  <a:gd name="T14" fmla="*/ 120 w 240"/>
                  <a:gd name="T15" fmla="*/ 96 h 108"/>
                  <a:gd name="T16" fmla="*/ 228 w 240"/>
                  <a:gd name="T17" fmla="*/ 54 h 108"/>
                  <a:gd name="T18" fmla="*/ 120 w 240"/>
                  <a:gd name="T19" fmla="*/ 12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0" h="108">
                    <a:moveTo>
                      <a:pt x="120" y="108"/>
                    </a:moveTo>
                    <a:cubicBezTo>
                      <a:pt x="53" y="108"/>
                      <a:pt x="0" y="84"/>
                      <a:pt x="0" y="54"/>
                    </a:cubicBezTo>
                    <a:cubicBezTo>
                      <a:pt x="0" y="23"/>
                      <a:pt x="53" y="0"/>
                      <a:pt x="120" y="0"/>
                    </a:cubicBezTo>
                    <a:cubicBezTo>
                      <a:pt x="187" y="0"/>
                      <a:pt x="240" y="23"/>
                      <a:pt x="240" y="54"/>
                    </a:cubicBezTo>
                    <a:cubicBezTo>
                      <a:pt x="240" y="84"/>
                      <a:pt x="187" y="108"/>
                      <a:pt x="120" y="108"/>
                    </a:cubicBezTo>
                    <a:close/>
                    <a:moveTo>
                      <a:pt x="120" y="12"/>
                    </a:moveTo>
                    <a:cubicBezTo>
                      <a:pt x="56" y="12"/>
                      <a:pt x="12" y="34"/>
                      <a:pt x="12" y="54"/>
                    </a:cubicBezTo>
                    <a:cubicBezTo>
                      <a:pt x="12" y="74"/>
                      <a:pt x="56" y="96"/>
                      <a:pt x="120" y="96"/>
                    </a:cubicBezTo>
                    <a:cubicBezTo>
                      <a:pt x="183" y="96"/>
                      <a:pt x="228" y="74"/>
                      <a:pt x="228" y="54"/>
                    </a:cubicBezTo>
                    <a:cubicBezTo>
                      <a:pt x="228" y="34"/>
                      <a:pt x="183" y="12"/>
                      <a:pt x="120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27" name="Freeform 160">
                <a:extLst>
                  <a:ext uri="{FF2B5EF4-FFF2-40B4-BE49-F238E27FC236}">
                    <a16:creationId xmlns:a16="http://schemas.microsoft.com/office/drawing/2014/main" id="{F93ED3C9-408F-9F9A-6C24-09E85D284B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065" y="3258838"/>
                <a:ext cx="885987" cy="421673"/>
              </a:xfrm>
              <a:custGeom>
                <a:avLst/>
                <a:gdLst>
                  <a:gd name="T0" fmla="*/ 120 w 126"/>
                  <a:gd name="T1" fmla="*/ 60 h 60"/>
                  <a:gd name="T2" fmla="*/ 0 w 126"/>
                  <a:gd name="T3" fmla="*/ 6 h 60"/>
                  <a:gd name="T4" fmla="*/ 6 w 126"/>
                  <a:gd name="T5" fmla="*/ 0 h 60"/>
                  <a:gd name="T6" fmla="*/ 12 w 126"/>
                  <a:gd name="T7" fmla="*/ 6 h 60"/>
                  <a:gd name="T8" fmla="*/ 120 w 126"/>
                  <a:gd name="T9" fmla="*/ 48 h 60"/>
                  <a:gd name="T10" fmla="*/ 126 w 126"/>
                  <a:gd name="T11" fmla="*/ 54 h 60"/>
                  <a:gd name="T12" fmla="*/ 120 w 126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6" h="60">
                    <a:moveTo>
                      <a:pt x="120" y="60"/>
                    </a:moveTo>
                    <a:cubicBezTo>
                      <a:pt x="53" y="60"/>
                      <a:pt x="0" y="3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26"/>
                      <a:pt x="56" y="48"/>
                      <a:pt x="120" y="48"/>
                    </a:cubicBezTo>
                    <a:cubicBezTo>
                      <a:pt x="123" y="48"/>
                      <a:pt x="126" y="50"/>
                      <a:pt x="126" y="54"/>
                    </a:cubicBezTo>
                    <a:cubicBezTo>
                      <a:pt x="126" y="57"/>
                      <a:pt x="123" y="60"/>
                      <a:pt x="12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28" name="Freeform 161">
                <a:extLst>
                  <a:ext uri="{FF2B5EF4-FFF2-40B4-BE49-F238E27FC236}">
                    <a16:creationId xmlns:a16="http://schemas.microsoft.com/office/drawing/2014/main" id="{6A3E7BB3-E6D0-4728-4C11-4FD5847703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065" y="3637870"/>
                <a:ext cx="758064" cy="412197"/>
              </a:xfrm>
              <a:custGeom>
                <a:avLst/>
                <a:gdLst>
                  <a:gd name="T0" fmla="*/ 102 w 108"/>
                  <a:gd name="T1" fmla="*/ 59 h 59"/>
                  <a:gd name="T2" fmla="*/ 101 w 108"/>
                  <a:gd name="T3" fmla="*/ 59 h 59"/>
                  <a:gd name="T4" fmla="*/ 0 w 108"/>
                  <a:gd name="T5" fmla="*/ 6 h 59"/>
                  <a:gd name="T6" fmla="*/ 6 w 108"/>
                  <a:gd name="T7" fmla="*/ 0 h 59"/>
                  <a:gd name="T8" fmla="*/ 12 w 108"/>
                  <a:gd name="T9" fmla="*/ 6 h 59"/>
                  <a:gd name="T10" fmla="*/ 102 w 108"/>
                  <a:gd name="T11" fmla="*/ 47 h 59"/>
                  <a:gd name="T12" fmla="*/ 108 w 108"/>
                  <a:gd name="T13" fmla="*/ 53 h 59"/>
                  <a:gd name="T14" fmla="*/ 102 w 108"/>
                  <a:gd name="T15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8" h="59">
                    <a:moveTo>
                      <a:pt x="102" y="59"/>
                    </a:moveTo>
                    <a:cubicBezTo>
                      <a:pt x="102" y="59"/>
                      <a:pt x="102" y="59"/>
                      <a:pt x="101" y="59"/>
                    </a:cubicBezTo>
                    <a:cubicBezTo>
                      <a:pt x="42" y="55"/>
                      <a:pt x="0" y="33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25"/>
                      <a:pt x="52" y="44"/>
                      <a:pt x="102" y="47"/>
                    </a:cubicBezTo>
                    <a:cubicBezTo>
                      <a:pt x="106" y="47"/>
                      <a:pt x="108" y="50"/>
                      <a:pt x="108" y="53"/>
                    </a:cubicBezTo>
                    <a:cubicBezTo>
                      <a:pt x="108" y="57"/>
                      <a:pt x="105" y="59"/>
                      <a:pt x="102" y="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33" name="Freeform 162">
                <a:extLst>
                  <a:ext uri="{FF2B5EF4-FFF2-40B4-BE49-F238E27FC236}">
                    <a16:creationId xmlns:a16="http://schemas.microsoft.com/office/drawing/2014/main" id="{4B776AD4-07CA-2F71-90F1-AD8750861D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065" y="2922448"/>
                <a:ext cx="800705" cy="1506650"/>
              </a:xfrm>
              <a:custGeom>
                <a:avLst/>
                <a:gdLst>
                  <a:gd name="T0" fmla="*/ 108 w 114"/>
                  <a:gd name="T1" fmla="*/ 215 h 215"/>
                  <a:gd name="T2" fmla="*/ 108 w 114"/>
                  <a:gd name="T3" fmla="*/ 215 h 215"/>
                  <a:gd name="T4" fmla="*/ 0 w 114"/>
                  <a:gd name="T5" fmla="*/ 162 h 215"/>
                  <a:gd name="T6" fmla="*/ 0 w 114"/>
                  <a:gd name="T7" fmla="*/ 6 h 215"/>
                  <a:gd name="T8" fmla="*/ 6 w 114"/>
                  <a:gd name="T9" fmla="*/ 0 h 215"/>
                  <a:gd name="T10" fmla="*/ 12 w 114"/>
                  <a:gd name="T11" fmla="*/ 6 h 215"/>
                  <a:gd name="T12" fmla="*/ 12 w 114"/>
                  <a:gd name="T13" fmla="*/ 162 h 215"/>
                  <a:gd name="T14" fmla="*/ 108 w 114"/>
                  <a:gd name="T15" fmla="*/ 203 h 215"/>
                  <a:gd name="T16" fmla="*/ 114 w 114"/>
                  <a:gd name="T17" fmla="*/ 210 h 215"/>
                  <a:gd name="T18" fmla="*/ 108 w 114"/>
                  <a:gd name="T19" fmla="*/ 215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4" h="215">
                    <a:moveTo>
                      <a:pt x="108" y="215"/>
                    </a:moveTo>
                    <a:cubicBezTo>
                      <a:pt x="108" y="215"/>
                      <a:pt x="108" y="215"/>
                      <a:pt x="108" y="215"/>
                    </a:cubicBezTo>
                    <a:cubicBezTo>
                      <a:pt x="45" y="213"/>
                      <a:pt x="0" y="190"/>
                      <a:pt x="0" y="16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162"/>
                      <a:pt x="12" y="162"/>
                      <a:pt x="12" y="162"/>
                    </a:cubicBezTo>
                    <a:cubicBezTo>
                      <a:pt x="12" y="180"/>
                      <a:pt x="49" y="201"/>
                      <a:pt x="108" y="203"/>
                    </a:cubicBezTo>
                    <a:cubicBezTo>
                      <a:pt x="111" y="204"/>
                      <a:pt x="114" y="206"/>
                      <a:pt x="114" y="210"/>
                    </a:cubicBezTo>
                    <a:cubicBezTo>
                      <a:pt x="114" y="213"/>
                      <a:pt x="111" y="215"/>
                      <a:pt x="108" y="2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36" name="Freeform 163">
                <a:extLst>
                  <a:ext uri="{FF2B5EF4-FFF2-40B4-BE49-F238E27FC236}">
                    <a16:creationId xmlns:a16="http://schemas.microsoft.com/office/drawing/2014/main" id="{723F06DB-8A4E-72A8-F2B3-1B0260ED9F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2474" y="2922447"/>
                <a:ext cx="85282" cy="464314"/>
              </a:xfrm>
              <a:custGeom>
                <a:avLst/>
                <a:gdLst>
                  <a:gd name="T0" fmla="*/ 6 w 12"/>
                  <a:gd name="T1" fmla="*/ 66 h 66"/>
                  <a:gd name="T2" fmla="*/ 0 w 12"/>
                  <a:gd name="T3" fmla="*/ 60 h 66"/>
                  <a:gd name="T4" fmla="*/ 0 w 12"/>
                  <a:gd name="T5" fmla="*/ 6 h 66"/>
                  <a:gd name="T6" fmla="*/ 6 w 12"/>
                  <a:gd name="T7" fmla="*/ 0 h 66"/>
                  <a:gd name="T8" fmla="*/ 12 w 12"/>
                  <a:gd name="T9" fmla="*/ 6 h 66"/>
                  <a:gd name="T10" fmla="*/ 12 w 12"/>
                  <a:gd name="T11" fmla="*/ 60 h 66"/>
                  <a:gd name="T12" fmla="*/ 6 w 12"/>
                  <a:gd name="T13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6">
                    <a:moveTo>
                      <a:pt x="6" y="66"/>
                    </a:moveTo>
                    <a:cubicBezTo>
                      <a:pt x="3" y="66"/>
                      <a:pt x="0" y="63"/>
                      <a:pt x="0" y="6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60"/>
                      <a:pt x="12" y="60"/>
                      <a:pt x="12" y="60"/>
                    </a:cubicBezTo>
                    <a:cubicBezTo>
                      <a:pt x="12" y="63"/>
                      <a:pt x="9" y="66"/>
                      <a:pt x="6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9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</p:grpSp>
      </p:grpSp>
      <p:pic>
        <p:nvPicPr>
          <p:cNvPr id="39" name="Picture 38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F008A5C9-0680-8150-43AA-CC938A873B9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452100" y="5154202"/>
            <a:ext cx="1358900" cy="1358900"/>
          </a:xfrm>
          <a:prstGeom prst="rect">
            <a:avLst/>
          </a:prstGeom>
        </p:spPr>
      </p:pic>
      <p:sp>
        <p:nvSpPr>
          <p:cNvPr id="40" name="Footer Placeholder 39">
            <a:extLst>
              <a:ext uri="{FF2B5EF4-FFF2-40B4-BE49-F238E27FC236}">
                <a16:creationId xmlns:a16="http://schemas.microsoft.com/office/drawing/2014/main" id="{2F79E84A-F8F1-F320-9F99-8460024C83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41" name="Slide Number Placeholder 40">
            <a:extLst>
              <a:ext uri="{FF2B5EF4-FFF2-40B4-BE49-F238E27FC236}">
                <a16:creationId xmlns:a16="http://schemas.microsoft.com/office/drawing/2014/main" id="{0428C4AA-3DC1-C788-99F9-DE74D951FC6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5" name="Picture 4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0AB5F226-A75D-71B2-6785-E08CD312BE6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834101" y="935380"/>
            <a:ext cx="2046715" cy="79876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2FD9C764-4503-5895-289D-BF875D9E3489}"/>
              </a:ext>
            </a:extLst>
          </p:cNvPr>
          <p:cNvGrpSpPr/>
          <p:nvPr/>
        </p:nvGrpSpPr>
        <p:grpSpPr>
          <a:xfrm>
            <a:off x="7873127" y="5797377"/>
            <a:ext cx="2185272" cy="453899"/>
            <a:chOff x="7873127" y="5797377"/>
            <a:chExt cx="2185272" cy="453899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767DA255-8670-7AA5-9DFA-6F1C38C488B2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rcRect/>
            <a:stretch/>
          </p:blipFill>
          <p:spPr>
            <a:xfrm>
              <a:off x="7873127" y="5797377"/>
              <a:ext cx="453899" cy="453899"/>
            </a:xfrm>
            <a:prstGeom prst="rect">
              <a:avLst/>
            </a:prstGeom>
          </p:spPr>
        </p:pic>
        <p:sp>
          <p:nvSpPr>
            <p:cNvPr id="6" name="Content Placeholder 11">
              <a:extLst>
                <a:ext uri="{FF2B5EF4-FFF2-40B4-BE49-F238E27FC236}">
                  <a16:creationId xmlns:a16="http://schemas.microsoft.com/office/drawing/2014/main" id="{449310E2-310F-77C1-2E26-CFA79AC19A3B}"/>
                </a:ext>
              </a:extLst>
            </p:cNvPr>
            <p:cNvSpPr txBox="1">
              <a:spLocks/>
            </p:cNvSpPr>
            <p:nvPr/>
          </p:nvSpPr>
          <p:spPr>
            <a:xfrm>
              <a:off x="8160042" y="5817157"/>
              <a:ext cx="1898357" cy="414339"/>
            </a:xfrm>
            <a:prstGeom prst="rect">
              <a:avLst/>
            </a:prstGeom>
          </p:spPr>
          <p:txBody>
            <a:bodyPr vert="horz" lIns="121920" tIns="60960" rIns="121920" bIns="60960" rtlCol="0">
              <a:normAutofit/>
            </a:bodyPr>
            <a:lstStyle>
              <a:lvl1pPr marL="257175" indent="-171450" algn="l" defTabSz="685800" rtl="0" eaLnBrk="1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9600FF"/>
                </a:buClr>
                <a:buFont typeface="Wingdings" pitchFamily="2" charset="2"/>
                <a:buChar char="§"/>
                <a:defRPr lang="en-US" sz="1350" b="0" kern="1200" baseline="0" dirty="0" smtClean="0">
                  <a:solidFill>
                    <a:srgbClr val="1E2846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  <a:lvl2pPr marL="557213" indent="-171450" algn="l" defTabSz="685800" rtl="0" eaLnBrk="1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9600FF"/>
                </a:buClr>
                <a:buFont typeface="Courier New" panose="02070309020205020404" pitchFamily="49" charset="0"/>
                <a:buChar char="o"/>
                <a:defRPr lang="en-US" sz="1350" b="0" kern="1200" baseline="0" dirty="0" smtClean="0">
                  <a:solidFill>
                    <a:srgbClr val="1E2846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9600FF"/>
                </a:buClr>
                <a:buFont typeface="Courier New" panose="02070309020205020404" pitchFamily="49" charset="0"/>
                <a:buChar char="o"/>
                <a:defRPr lang="en-US" sz="1350" b="0" kern="1200" baseline="0" dirty="0" smtClean="0">
                  <a:solidFill>
                    <a:srgbClr val="1E2846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9600FF"/>
                </a:buClr>
                <a:buFont typeface="Courier New" panose="02070309020205020404" pitchFamily="49" charset="0"/>
                <a:buChar char="o"/>
                <a:defRPr lang="en-US" sz="1350" b="0" kern="1200" baseline="0" dirty="0" smtClean="0">
                  <a:solidFill>
                    <a:srgbClr val="1E2846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9600FF"/>
                </a:buClr>
                <a:buFont typeface="Courier New" panose="02070309020205020404" pitchFamily="49" charset="0"/>
                <a:buChar char="o"/>
                <a:defRPr lang="en-US" sz="1350" b="0" kern="1200" baseline="0" dirty="0">
                  <a:solidFill>
                    <a:srgbClr val="1E2846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5pPr>
              <a:lvl6pPr marL="1885950" indent="-171450" algn="l" defTabSz="342900" rtl="0" eaLnBrk="1" latinLnBrk="0" hangingPunct="1">
                <a:spcBef>
                  <a:spcPct val="20000"/>
                </a:spcBef>
                <a:buFont typeface="Arial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342900" rtl="0" eaLnBrk="1" latinLnBrk="0" hangingPunct="1">
                <a:spcBef>
                  <a:spcPct val="20000"/>
                </a:spcBef>
                <a:buFont typeface="Arial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342900" rtl="0" eaLnBrk="1" latinLnBrk="0" hangingPunct="1">
                <a:spcBef>
                  <a:spcPct val="20000"/>
                </a:spcBef>
                <a:buFont typeface="Arial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342900" rtl="0" eaLnBrk="1" latinLnBrk="0" hangingPunct="1">
                <a:spcBef>
                  <a:spcPct val="20000"/>
                </a:spcBef>
                <a:buFont typeface="Arial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85725" indent="0">
                <a:buNone/>
              </a:pPr>
              <a:r>
                <a:rPr lang="de-CH" sz="1800" dirty="0">
                  <a:latin typeface="+mn-lt"/>
                </a:rPr>
                <a:t>@</a:t>
              </a:r>
              <a:r>
                <a:rPr lang="de-CH" sz="1800" dirty="0" err="1">
                  <a:latin typeface="+mn-lt"/>
                </a:rPr>
                <a:t>stefanoehrli</a:t>
              </a:r>
              <a:endParaRPr lang="de-CH" sz="1800" dirty="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100810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37A34A-06EC-B2A3-B9F7-FFD6597A8F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E69FFC43-5596-66BB-246E-115474957344}"/>
              </a:ext>
            </a:extLst>
          </p:cNvPr>
          <p:cNvPicPr>
            <a:picLocks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27397" b="32"/>
          <a:stretch/>
        </p:blipFill>
        <p:spPr bwMode="auto">
          <a:xfrm>
            <a:off x="7085104" y="0"/>
            <a:ext cx="5120640" cy="4389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6AA92AA-0FA5-0A9E-522D-D6533CC5846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6720" y="640080"/>
            <a:ext cx="3657600" cy="3657600"/>
          </a:xfrm>
          <a:prstGeom prst="rect">
            <a:avLst/>
          </a:prstGeom>
        </p:spPr>
      </p:pic>
      <p:sp>
        <p:nvSpPr>
          <p:cNvPr id="16" name="Title 22">
            <a:extLst>
              <a:ext uri="{FF2B5EF4-FFF2-40B4-BE49-F238E27FC236}">
                <a16:creationId xmlns:a16="http://schemas.microsoft.com/office/drawing/2014/main" id="{4E757955-0A3B-A929-0381-2AFA91521ACA}"/>
              </a:ext>
            </a:extLst>
          </p:cNvPr>
          <p:cNvSpPr txBox="1">
            <a:spLocks/>
          </p:cNvSpPr>
          <p:nvPr/>
        </p:nvSpPr>
        <p:spPr>
          <a:xfrm>
            <a:off x="822960" y="1554480"/>
            <a:ext cx="7315200" cy="10058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lang="en-US" sz="2400" b="1" i="0" kern="1200" baseline="0" dirty="0">
                <a:solidFill>
                  <a:schemeClr val="tx1"/>
                </a:solidFill>
                <a:latin typeface="+mn-lt"/>
                <a:ea typeface="+mn-ea"/>
                <a:cs typeface="+mj-cs"/>
              </a:defRPr>
            </a:lvl1pPr>
          </a:lstStyle>
          <a:p>
            <a:pPr>
              <a:spcAft>
                <a:spcPts val="900"/>
              </a:spcAft>
            </a:pPr>
            <a:r>
              <a:rPr lang="en-GB" sz="4000" dirty="0">
                <a:latin typeface="Georgia" panose="02040502050405020303" pitchFamily="18" charset="0"/>
                <a:cs typeface="Oracle Sans" panose="020B0503020204020204" pitchFamily="34" charset="0"/>
              </a:rPr>
              <a:t>The Oracle ACE Program</a:t>
            </a:r>
          </a:p>
          <a:p>
            <a:r>
              <a:rPr lang="en-GB" sz="2200" b="0" dirty="0">
                <a:latin typeface="Oracle Sans Light" panose="020B0403020204020204" pitchFamily="34" charset="0"/>
                <a:cs typeface="Oracle Sans Light" panose="020B0403020204020204" pitchFamily="34" charset="0"/>
              </a:rPr>
              <a:t>400+ technical experts helping peers globall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6E16585-426A-FD6E-2AFC-0C6E69912A3D}"/>
              </a:ext>
            </a:extLst>
          </p:cNvPr>
          <p:cNvSpPr txBox="1"/>
          <p:nvPr/>
        </p:nvSpPr>
        <p:spPr>
          <a:xfrm>
            <a:off x="822959" y="3474720"/>
            <a:ext cx="7680960" cy="178510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Oracle Sans" panose="020B0503020204020204" pitchFamily="34" charset="0"/>
                <a:cs typeface="Oracle Sans" panose="020B0503020204020204" pitchFamily="34" charset="0"/>
              </a:rPr>
              <a:t>The Oracle ACE Program recognizes and rewards community members for their technical and community contributions to the Oracle community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Oracle Sans" panose="020B0503020204020204" pitchFamily="34" charset="0"/>
                <a:cs typeface="Oracle Sans" panose="020B0503020204020204" pitchFamily="34" charset="0"/>
              </a:rPr>
              <a:t>3 membership levels: Director, Pro, and Associate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Oracle Sans" panose="020B0503020204020204" pitchFamily="34" charset="0"/>
                <a:cs typeface="Oracle Sans" panose="020B0503020204020204" pitchFamily="34" charset="0"/>
              </a:rPr>
              <a:t>Nominate yourself or a colleague at </a:t>
            </a:r>
            <a:r>
              <a:rPr lang="en-US" sz="1600" dirty="0">
                <a:latin typeface="Oracle Sans" panose="020B0503020204020204" pitchFamily="34" charset="0"/>
                <a:cs typeface="Oracle Sans" panose="020B0503020204020204" pitchFamily="34" charset="0"/>
                <a:hlinkClick r:id="rId4"/>
              </a:rPr>
              <a:t>ace.oracle.com/nominate</a:t>
            </a:r>
            <a:endParaRPr lang="en-US" sz="1600" dirty="0">
              <a:latin typeface="Oracle Sans" panose="020B0503020204020204" pitchFamily="34" charset="0"/>
              <a:cs typeface="Oracle Sans" panose="020B0503020204020204" pitchFamily="34" charset="0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Oracle Sans" panose="020B0503020204020204" pitchFamily="34" charset="0"/>
                <a:cs typeface="Oracle Sans" panose="020B0503020204020204" pitchFamily="34" charset="0"/>
              </a:rPr>
              <a:t>Learn more at </a:t>
            </a:r>
            <a:r>
              <a:rPr lang="en-US" sz="1600" u="sng" dirty="0">
                <a:solidFill>
                  <a:srgbClr val="2C5967"/>
                </a:solidFill>
                <a:latin typeface="Oracle Sans" panose="020B0503020204020204" pitchFamily="34" charset="0"/>
                <a:cs typeface="Oracle Sans" panose="020B0503020204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ce.oracle.com</a:t>
            </a:r>
            <a:endParaRPr lang="en-US" sz="1600" u="sng" dirty="0">
              <a:solidFill>
                <a:srgbClr val="2C5967"/>
              </a:solidFill>
              <a:latin typeface="Oracle Sans" panose="020B0503020204020204" pitchFamily="34" charset="0"/>
              <a:cs typeface="Oracle Sans" panose="020B0503020204020204" pitchFamily="34" charset="0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08B56A5F-4242-9AB6-FA18-3AE1F19C343D}"/>
              </a:ext>
            </a:extLst>
          </p:cNvPr>
          <p:cNvCxnSpPr/>
          <p:nvPr/>
        </p:nvCxnSpPr>
        <p:spPr>
          <a:xfrm>
            <a:off x="822959" y="3017520"/>
            <a:ext cx="548640" cy="0"/>
          </a:xfrm>
          <a:prstGeom prst="line">
            <a:avLst/>
          </a:prstGeom>
          <a:ln w="50800">
            <a:solidFill>
              <a:srgbClr val="FACD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" name="Picture 50">
            <a:extLst>
              <a:ext uri="{FF2B5EF4-FFF2-40B4-BE49-F238E27FC236}">
                <a16:creationId xmlns:a16="http://schemas.microsoft.com/office/drawing/2014/main" id="{9013D4B1-6DE5-F310-B2A6-D697880A405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7120" y="5943600"/>
            <a:ext cx="731520" cy="731520"/>
          </a:xfrm>
          <a:prstGeom prst="rect">
            <a:avLst/>
          </a:prstGeom>
        </p:spPr>
      </p:pic>
      <p:grpSp>
        <p:nvGrpSpPr>
          <p:cNvPr id="73" name="Group 72">
            <a:extLst>
              <a:ext uri="{FF2B5EF4-FFF2-40B4-BE49-F238E27FC236}">
                <a16:creationId xmlns:a16="http://schemas.microsoft.com/office/drawing/2014/main" id="{BDFD9863-92F7-5A40-3B48-D6BD8E849E38}"/>
              </a:ext>
            </a:extLst>
          </p:cNvPr>
          <p:cNvGrpSpPr/>
          <p:nvPr/>
        </p:nvGrpSpPr>
        <p:grpSpPr>
          <a:xfrm>
            <a:off x="822960" y="6126479"/>
            <a:ext cx="8943319" cy="277000"/>
            <a:chOff x="548639" y="6126479"/>
            <a:chExt cx="8943319" cy="277000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48508FFC-0DAC-7C88-AD41-DEC72158D917}"/>
                </a:ext>
              </a:extLst>
            </p:cNvPr>
            <p:cNvSpPr/>
            <p:nvPr/>
          </p:nvSpPr>
          <p:spPr>
            <a:xfrm>
              <a:off x="5989319" y="6126480"/>
              <a:ext cx="914400" cy="276999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r>
                <a:rPr lang="en-US" sz="1200" dirty="0">
                  <a:latin typeface="Oracle Sans" panose="020B0503020204020204" pitchFamily="34" charset="0"/>
                  <a:cs typeface="Oracle Sans" panose="020B0503020204020204" pitchFamily="34" charset="0"/>
                </a:rPr>
                <a:t>@</a:t>
              </a:r>
              <a:r>
                <a:rPr lang="en-US" sz="1200" dirty="0" err="1">
                  <a:latin typeface="Oracle Sans" panose="020B0503020204020204" pitchFamily="34" charset="0"/>
                  <a:cs typeface="Oracle Sans" panose="020B0503020204020204" pitchFamily="34" charset="0"/>
                </a:rPr>
                <a:t>oracleace</a:t>
              </a:r>
              <a:endParaRPr lang="en-US" sz="1200" dirty="0">
                <a:latin typeface="Oracle Sans" panose="020B0503020204020204" pitchFamily="34" charset="0"/>
                <a:cs typeface="Oracle Sans" panose="020B0503020204020204" pitchFamily="34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98E81A8-33AB-DDD0-20E5-073A9BC9312F}"/>
                </a:ext>
              </a:extLst>
            </p:cNvPr>
            <p:cNvSpPr/>
            <p:nvPr/>
          </p:nvSpPr>
          <p:spPr>
            <a:xfrm>
              <a:off x="3520439" y="6126480"/>
              <a:ext cx="2011680" cy="276999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r>
                <a:rPr lang="en-US" sz="1200" dirty="0" err="1">
                  <a:latin typeface="Oracle Sans" panose="020B0503020204020204" pitchFamily="34" charset="0"/>
                  <a:cs typeface="Oracle Sans" panose="020B0503020204020204" pitchFamily="34" charset="0"/>
                </a:rPr>
                <a:t>Facebook.com</a:t>
              </a:r>
              <a:r>
                <a:rPr lang="en-US" sz="1200" dirty="0">
                  <a:latin typeface="Oracle Sans" panose="020B0503020204020204" pitchFamily="34" charset="0"/>
                  <a:cs typeface="Oracle Sans" panose="020B0503020204020204" pitchFamily="34" charset="0"/>
                </a:rPr>
                <a:t>/</a:t>
              </a:r>
              <a:r>
                <a:rPr lang="en-US" sz="1200" dirty="0" err="1">
                  <a:latin typeface="Oracle Sans" panose="020B0503020204020204" pitchFamily="34" charset="0"/>
                  <a:cs typeface="Oracle Sans" panose="020B0503020204020204" pitchFamily="34" charset="0"/>
                </a:rPr>
                <a:t>OracleACEs</a:t>
              </a:r>
              <a:endParaRPr lang="en-US" sz="1200" dirty="0">
                <a:latin typeface="Oracle Sans" panose="020B0503020204020204" pitchFamily="34" charset="0"/>
                <a:cs typeface="Oracle Sans" panose="020B0503020204020204" pitchFamily="34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CE7FBC16-A180-37CC-957E-2FDA21AD8CB4}"/>
                </a:ext>
              </a:extLst>
            </p:cNvPr>
            <p:cNvSpPr/>
            <p:nvPr/>
          </p:nvSpPr>
          <p:spPr>
            <a:xfrm>
              <a:off x="868679" y="6126480"/>
              <a:ext cx="2103120" cy="276999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r>
                <a:rPr lang="en-US" sz="1200" dirty="0" err="1">
                  <a:latin typeface="Oracle Sans" panose="020B0503020204020204" pitchFamily="34" charset="0"/>
                  <a:cs typeface="Oracle Sans" panose="020B0503020204020204" pitchFamily="34" charset="0"/>
                </a:rPr>
                <a:t>aceprogram_ww@oracle.com</a:t>
              </a:r>
              <a:endParaRPr lang="en-US" sz="1200" dirty="0">
                <a:latin typeface="Oracle Sans" panose="020B0503020204020204" pitchFamily="34" charset="0"/>
                <a:cs typeface="Oracle Sans" panose="020B0503020204020204" pitchFamily="34" charset="0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B04F5BCA-D997-50AA-A4FC-E4CFCF5CC3BC}"/>
                </a:ext>
              </a:extLst>
            </p:cNvPr>
            <p:cNvSpPr/>
            <p:nvPr/>
          </p:nvSpPr>
          <p:spPr>
            <a:xfrm>
              <a:off x="7452359" y="6126479"/>
              <a:ext cx="2039599" cy="274320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r>
                <a:rPr lang="en-US" sz="1200" dirty="0">
                  <a:latin typeface="Oracle Sans" panose="020B0503020204020204" pitchFamily="34" charset="0"/>
                  <a:cs typeface="Oracle Sans" panose="020B0503020204020204" pitchFamily="34" charset="0"/>
                </a:rPr>
                <a:t>Oracle ACE Program Group</a:t>
              </a:r>
            </a:p>
          </p:txBody>
        </p:sp>
        <p:pic>
          <p:nvPicPr>
            <p:cNvPr id="55" name="Graphic 54">
              <a:extLst>
                <a:ext uri="{FF2B5EF4-FFF2-40B4-BE49-F238E27FC236}">
                  <a16:creationId xmlns:a16="http://schemas.microsoft.com/office/drawing/2014/main" id="{FE17954D-DC50-3E9D-8200-3774A0BE9C4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48639" y="6126480"/>
              <a:ext cx="274320" cy="274320"/>
            </a:xfrm>
            <a:prstGeom prst="rect">
              <a:avLst/>
            </a:prstGeom>
          </p:spPr>
        </p:pic>
        <p:pic>
          <p:nvPicPr>
            <p:cNvPr id="57" name="Graphic 56">
              <a:extLst>
                <a:ext uri="{FF2B5EF4-FFF2-40B4-BE49-F238E27FC236}">
                  <a16:creationId xmlns:a16="http://schemas.microsoft.com/office/drawing/2014/main" id="{2704A9CA-783E-D6D6-758D-F1894646BBD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200400" y="6126480"/>
              <a:ext cx="274320" cy="274320"/>
            </a:xfrm>
            <a:prstGeom prst="rect">
              <a:avLst/>
            </a:prstGeom>
          </p:spPr>
        </p:pic>
        <p:pic>
          <p:nvPicPr>
            <p:cNvPr id="59" name="Graphic 58">
              <a:extLst>
                <a:ext uri="{FF2B5EF4-FFF2-40B4-BE49-F238E27FC236}">
                  <a16:creationId xmlns:a16="http://schemas.microsoft.com/office/drawing/2014/main" id="{271F9F80-6D96-4D72-05F8-21367D48DFF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132319" y="6126480"/>
              <a:ext cx="274320" cy="274320"/>
            </a:xfrm>
            <a:prstGeom prst="rect">
              <a:avLst/>
            </a:prstGeom>
          </p:spPr>
        </p:pic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1009E2A8-C5F9-32B0-2AE1-F33EDA58C7B3}"/>
                </a:ext>
              </a:extLst>
            </p:cNvPr>
            <p:cNvGrpSpPr/>
            <p:nvPr/>
          </p:nvGrpSpPr>
          <p:grpSpPr>
            <a:xfrm>
              <a:off x="5714999" y="6126480"/>
              <a:ext cx="320041" cy="274320"/>
              <a:chOff x="5509590" y="5545997"/>
              <a:chExt cx="320041" cy="274320"/>
            </a:xfrm>
          </p:grpSpPr>
          <p:pic>
            <p:nvPicPr>
              <p:cNvPr id="61" name="Graphic 60">
                <a:extLst>
                  <a:ext uri="{FF2B5EF4-FFF2-40B4-BE49-F238E27FC236}">
                    <a16:creationId xmlns:a16="http://schemas.microsoft.com/office/drawing/2014/main" id="{13EDFF24-5608-D03B-9906-1B6BCDFB26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5509590" y="5568857"/>
                <a:ext cx="228600" cy="228600"/>
              </a:xfrm>
              <a:prstGeom prst="rect">
                <a:avLst/>
              </a:prstGeom>
            </p:spPr>
          </p:pic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D0A6F405-BBF1-8C46-0C84-548F5B5BD055}"/>
                  </a:ext>
                </a:extLst>
              </p:cNvPr>
              <p:cNvSpPr/>
              <p:nvPr/>
            </p:nvSpPr>
            <p:spPr>
              <a:xfrm>
                <a:off x="5555311" y="5545997"/>
                <a:ext cx="274320" cy="27432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71" name="TextBox 70">
            <a:extLst>
              <a:ext uri="{FF2B5EF4-FFF2-40B4-BE49-F238E27FC236}">
                <a16:creationId xmlns:a16="http://schemas.microsoft.com/office/drawing/2014/main" id="{A1E9D997-F062-BC46-9095-A7565B2DD672}"/>
              </a:ext>
            </a:extLst>
          </p:cNvPr>
          <p:cNvSpPr txBox="1"/>
          <p:nvPr/>
        </p:nvSpPr>
        <p:spPr>
          <a:xfrm>
            <a:off x="4321147" y="-80920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C7D869F9-FA96-786D-8B0E-5578151DD2A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799" y="661511"/>
            <a:ext cx="1828801" cy="73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556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6BCC733-3723-27B6-9EE9-1C114E880A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6BCC733-3723-27B6-9EE9-1C114E880A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Bildplatzhalter 2" descr="Ein Bild, das Person, drinnen, computer, Fenster enthält.&#10;&#10;Automatisch generierte Beschreibung">
            <a:extLst>
              <a:ext uri="{FF2B5EF4-FFF2-40B4-BE49-F238E27FC236}">
                <a16:creationId xmlns:a16="http://schemas.microsoft.com/office/drawing/2014/main" id="{D00FC92A-9E06-4F98-91AA-578E6B717758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DC9E8D1-49A4-4163-9BCF-6ABBC3CEF99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524998" y="-74146"/>
            <a:ext cx="3038457" cy="912223"/>
          </a:xfrm>
        </p:spPr>
        <p:txBody>
          <a:bodyPr/>
          <a:lstStyle/>
          <a:p>
            <a:r>
              <a:rPr lang="en-US" sz="2400"/>
              <a:t>3 key benefit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DDBB6C3-4579-43F5-9071-53562E9134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525000" y="657967"/>
            <a:ext cx="2471755" cy="2328792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600" b="0" dirty="0">
                <a:solidFill>
                  <a:srgbClr val="A100FF"/>
                </a:solidFill>
              </a:rPr>
              <a:t>1</a:t>
            </a:r>
            <a:r>
              <a:rPr lang="en-US" sz="1600" b="0" dirty="0"/>
              <a:t> Architecture expertise from hands-on projects </a:t>
            </a:r>
          </a:p>
          <a:p>
            <a:r>
              <a:rPr lang="en-US" sz="1600" b="0" dirty="0">
                <a:solidFill>
                  <a:srgbClr val="A100FF"/>
                </a:solidFill>
              </a:rPr>
              <a:t>2 </a:t>
            </a:r>
            <a:r>
              <a:rPr lang="en-US" sz="1600" b="0" dirty="0"/>
              <a:t>Delivery of tailor-made data platforms</a:t>
            </a:r>
          </a:p>
          <a:p>
            <a:r>
              <a:rPr lang="en-US" sz="1600" b="0" dirty="0">
                <a:solidFill>
                  <a:srgbClr val="A100FF"/>
                </a:solidFill>
              </a:rPr>
              <a:t>3</a:t>
            </a:r>
            <a:r>
              <a:rPr lang="en-US" sz="1600" b="0" dirty="0"/>
              <a:t> Integrated Teams Like a rowing team, perfect alignment and interaction.</a:t>
            </a:r>
          </a:p>
          <a:p>
            <a:endParaRPr lang="en-US" sz="1600" b="0" dirty="0"/>
          </a:p>
          <a:p>
            <a:endParaRPr lang="en-US" sz="1600" b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6F9DF42-7D33-4C26-A710-37EC657DA57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sz="2400"/>
              <a:t>Tools and Blueprints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547C5EE-1AF5-43B5-926D-56DB81A548C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28987" y="4510186"/>
            <a:ext cx="2285995" cy="1284879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600" b="0"/>
              <a:t>Key enabler for the implementation of modern data platforms at a high speed and quality.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BBB09CA-5BAB-4CC6-8F68-7CE990A7FB7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sz="2400"/>
              <a:t>Continuous Optimizatio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C766EF8-2183-4E9F-A38F-C2AAB9C6163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476995" y="4510183"/>
            <a:ext cx="2285995" cy="1664208"/>
          </a:xfrm>
        </p:spPr>
        <p:txBody>
          <a:bodyPr/>
          <a:lstStyle/>
          <a:p>
            <a:r>
              <a:rPr lang="en-US" sz="1600" b="0"/>
              <a:t>Tools and Blueprints are continuously optimized to the customer and project’s needs. </a:t>
            </a:r>
          </a:p>
        </p:txBody>
      </p:sp>
      <p:pic>
        <p:nvPicPr>
          <p:cNvPr id="18" name="Bildplatzhalter 17" descr="Ein Bild, das draußen, Szene, Weg enthält.&#10;&#10;Automatisch generierte Beschreibung">
            <a:extLst>
              <a:ext uri="{FF2B5EF4-FFF2-40B4-BE49-F238E27FC236}">
                <a16:creationId xmlns:a16="http://schemas.microsoft.com/office/drawing/2014/main" id="{883E81E6-1AE7-458C-87DD-0C465C99E8E1}"/>
              </a:ext>
            </a:extLst>
          </p:cNvPr>
          <p:cNvPicPr>
            <a:picLocks noGrp="1" noChangeAspect="1"/>
          </p:cNvPicPr>
          <p:nvPr>
            <p:ph type="pic" sz="quarter" idx="23"/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B7C30A9A-A995-40CC-BD87-71583B0E616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 sz="2400"/>
              <a:t>Expertise &amp; Light Towers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37117081-6007-4C84-95EC-22E4E0A8537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525000" y="4510184"/>
            <a:ext cx="2285995" cy="1662795"/>
          </a:xfrm>
        </p:spPr>
        <p:txBody>
          <a:bodyPr/>
          <a:lstStyle/>
          <a:p>
            <a:r>
              <a:rPr lang="en-US" sz="1600" b="0"/>
              <a:t>Expert group for modern data platforms from technical implementation to project management and organizatio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33D7343-3A22-4022-A7E9-7FFF163293C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3051" y="296690"/>
            <a:ext cx="6467479" cy="419101"/>
          </a:xfrm>
        </p:spPr>
        <p:txBody>
          <a:bodyPr/>
          <a:lstStyle/>
          <a:p>
            <a:r>
              <a:rPr lang="en-US" sz="2400" dirty="0">
                <a:solidFill>
                  <a:srgbClr val="A100FF"/>
                </a:solidFill>
              </a:rPr>
              <a:t>Modern Data Platforms</a:t>
            </a:r>
            <a:br>
              <a:rPr lang="en-US" sz="2400" dirty="0">
                <a:solidFill>
                  <a:srgbClr val="A100FF"/>
                </a:solidFill>
              </a:rPr>
            </a:br>
            <a:r>
              <a:rPr lang="en-US" sz="2400" dirty="0">
                <a:solidFill>
                  <a:srgbClr val="A100FF"/>
                </a:solidFill>
              </a:rPr>
              <a:t>VISON &amp; MISSION</a:t>
            </a:r>
          </a:p>
        </p:txBody>
      </p:sp>
      <p:sp>
        <p:nvSpPr>
          <p:cNvPr id="17" name="Rectangle 9">
            <a:extLst>
              <a:ext uri="{FF2B5EF4-FFF2-40B4-BE49-F238E27FC236}">
                <a16:creationId xmlns:a16="http://schemas.microsoft.com/office/drawing/2014/main" id="{15199D59-83FC-46F4-B0A1-D58E53A4A45E}"/>
              </a:ext>
            </a:extLst>
          </p:cNvPr>
          <p:cNvSpPr/>
          <p:nvPr/>
        </p:nvSpPr>
        <p:spPr>
          <a:xfrm>
            <a:off x="5869734" y="1771753"/>
            <a:ext cx="189333" cy="1427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 defTabSz="609585">
              <a:defRPr/>
            </a:pPr>
            <a:endParaRPr lang="en-US">
              <a:solidFill>
                <a:srgbClr val="FFFFFF"/>
              </a:solidFill>
              <a:latin typeface="Graphik"/>
            </a:endParaRPr>
          </a:p>
        </p:txBody>
      </p:sp>
      <p:sp>
        <p:nvSpPr>
          <p:cNvPr id="20" name="Textplatzhalter 14">
            <a:extLst>
              <a:ext uri="{FF2B5EF4-FFF2-40B4-BE49-F238E27FC236}">
                <a16:creationId xmlns:a16="http://schemas.microsoft.com/office/drawing/2014/main" id="{CD70640B-2E66-4E7A-A3D1-EDE2D07BCF48}"/>
              </a:ext>
            </a:extLst>
          </p:cNvPr>
          <p:cNvSpPr txBox="1">
            <a:spLocks/>
          </p:cNvSpPr>
          <p:nvPr/>
        </p:nvSpPr>
        <p:spPr>
          <a:xfrm>
            <a:off x="380998" y="719228"/>
            <a:ext cx="4614749" cy="239395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kumimoji="0" lang="en-US" sz="3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Graphik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04792">
              <a:spcAft>
                <a:spcPts val="800"/>
              </a:spcAft>
              <a:defRPr/>
            </a:pPr>
            <a:r>
              <a:rPr lang="en-US" sz="1600" dirty="0">
                <a:solidFill>
                  <a:srgbClr val="A100FF"/>
                </a:solidFill>
              </a:rPr>
              <a:t>WHY? </a:t>
            </a:r>
            <a:r>
              <a:rPr lang="en-US" sz="1600" b="0" dirty="0"/>
              <a:t> We are the game changer for our client's data platform projects</a:t>
            </a:r>
            <a:endParaRPr lang="en-US" sz="4800" dirty="0"/>
          </a:p>
          <a:p>
            <a:pPr defTabSz="304792">
              <a:spcAft>
                <a:spcPts val="800"/>
              </a:spcAft>
              <a:defRPr/>
            </a:pPr>
            <a:r>
              <a:rPr lang="en-US" sz="1600" dirty="0">
                <a:solidFill>
                  <a:srgbClr val="A100FF"/>
                </a:solidFill>
              </a:rPr>
              <a:t>HOW? </a:t>
            </a:r>
            <a:r>
              <a:rPr lang="en-US" sz="1600" b="0" dirty="0"/>
              <a:t>Maximum automation, maximum efficiency, maximum quality!</a:t>
            </a:r>
          </a:p>
          <a:p>
            <a:pPr>
              <a:defRPr/>
            </a:pPr>
            <a:r>
              <a:rPr lang="en-US" sz="1600" dirty="0">
                <a:solidFill>
                  <a:srgbClr val="A100FF"/>
                </a:solidFill>
              </a:rPr>
              <a:t>WHAT? </a:t>
            </a:r>
            <a:r>
              <a:rPr lang="en-US" sz="1600" b="0" dirty="0"/>
              <a:t>We build innovative data platforms based on our blueprints and licensable assets and tool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F194001-0E39-FED6-2BAC-7837A930F9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F6CBAE3-9293-0AD3-C8A9-107BFC6E5089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5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3261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F9E552B-AE32-4808-0A30-526769E9FE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Hands-On Practice Workshop</a:t>
            </a:r>
            <a:endParaRPr lang="en-CH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1629877-83F9-C3AD-1532-9D122387E4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CI Security</a:t>
            </a:r>
            <a:endParaRPr lang="en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53B9380-47E6-C19E-4053-86E14366F5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Introduction</a:t>
            </a:r>
            <a:endParaRPr lang="en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1089D9-B568-BC09-13D3-75786BE4D9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Basic OCI Security</a:t>
            </a:r>
            <a:endParaRPr lang="en-CH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B352734-A1FB-38C6-2A1D-F73070E0CD1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 dirty="0"/>
              <a:t>Cloud Guard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9F6E433-F286-B428-87FF-D12488F81E3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 dirty="0"/>
              <a:t>Data Saf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B72ACB7-875F-88E1-8FF9-E339AB5CEA9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GB" dirty="0"/>
              <a:t>Security Zones</a:t>
            </a:r>
            <a:r>
              <a:rPr lang="en-CH" dirty="0"/>
              <a:t> / WAF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722DDC2-84AC-744A-549D-84D37EC6E17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GB" dirty="0"/>
              <a:t>Summary</a:t>
            </a:r>
            <a:endParaRPr lang="en-CH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510B16E-5797-8D5D-1A8B-7AEBFCCACEC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E22572D-86FE-3D93-8F31-CF570714B8B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11B6A20-BE70-5369-DAC3-771200A31A95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r>
              <a:rPr lang="en-CH" dirty="0"/>
              <a:t>1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7D98A69-FEC9-0D24-AD29-CAEF70F45C3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CH" dirty="0"/>
              <a:t>2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8F22D79-A2DC-4DB4-4E7C-F342772A9A7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r>
              <a:rPr lang="en-CH" dirty="0"/>
              <a:t>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3EAA9DB-E71A-70D3-114E-5321A42925E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r>
              <a:rPr lang="en-CH" dirty="0"/>
              <a:t>4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6D08F88-0E76-35AD-C5AA-16AAAFF2226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r>
              <a:rPr lang="en-CH" dirty="0"/>
              <a:t>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C7779BC-3AFB-E14A-280C-6CE561AD9271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r>
              <a:rPr lang="en-CH" dirty="0"/>
              <a:t>6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380F4E5-96D3-0EE8-91FF-7DFC06D0DF4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DA95C92-2A43-394F-DEB1-D1AE8939D91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C7A55A09-8644-5322-2543-6A19297EDB95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53587B63-E347-256A-C7C6-2B5C07976E08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2DBCE82-A05F-62CF-664C-3F570BE437A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7F0C9FAF-78AB-7175-433E-BC8CAA53D75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31B64CA0-DDE7-7B73-FC06-F698A18ACCF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DBA47D0D-CED6-9BDF-255E-674ED709C969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2BCD39E1-8AD9-520E-DBD9-5EB328622168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D7D6F620-4C9B-4057-0A46-4F7C50F45807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E55DC9F5-D1C9-618C-F3B3-C6377C50D3FE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35B4E289-497D-D23B-4370-4B9DF0F2C8BD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759DC1EA-9CC7-7360-AD6C-CB9F30FEE0FB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3376197E-CBBE-B7C5-A14E-BE4DE19F58C0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ECC39724-D870-BE0E-D2EC-A855A381149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EF32D3B3-9B53-DF9F-E980-C640773AADB1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449C82F9-DBE5-8FEA-BC35-027AFA7CA4C5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6C3F387D-5DAB-F896-E74C-5924C60DC17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6" name="Footer Placeholder 35">
            <a:extLst>
              <a:ext uri="{FF2B5EF4-FFF2-40B4-BE49-F238E27FC236}">
                <a16:creationId xmlns:a16="http://schemas.microsoft.com/office/drawing/2014/main" id="{A39E7756-20A4-027F-2273-A6B17B3DEA54}"/>
              </a:ext>
            </a:extLst>
          </p:cNvPr>
          <p:cNvSpPr>
            <a:spLocks noGrp="1"/>
          </p:cNvSpPr>
          <p:nvPr>
            <p:ph type="ftr" sz="quarter" idx="56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2C56FF7C-113F-961D-8C45-E570A83E6D6D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74506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6582D1-49DB-4A36-2989-B436C3F3E9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le 37">
            <a:extLst>
              <a:ext uri="{FF2B5EF4-FFF2-40B4-BE49-F238E27FC236}">
                <a16:creationId xmlns:a16="http://schemas.microsoft.com/office/drawing/2014/main" id="{94D98D8E-1535-2614-3837-FCA45E5838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urse Schedule</a:t>
            </a:r>
            <a:endParaRPr lang="en-CH" dirty="0"/>
          </a:p>
        </p:txBody>
      </p:sp>
      <p:graphicFrame>
        <p:nvGraphicFramePr>
          <p:cNvPr id="2" name="Content Placeholder 1">
            <a:extLst>
              <a:ext uri="{FF2B5EF4-FFF2-40B4-BE49-F238E27FC236}">
                <a16:creationId xmlns:a16="http://schemas.microsoft.com/office/drawing/2014/main" id="{4289A93C-7EDF-E20E-9146-A3D68AD7AC49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588437488"/>
              </p:ext>
            </p:extLst>
          </p:nvPr>
        </p:nvGraphicFramePr>
        <p:xfrm>
          <a:off x="239485" y="1981510"/>
          <a:ext cx="11677654" cy="3872672"/>
        </p:xfrm>
        <a:graphic>
          <a:graphicData uri="http://schemas.openxmlformats.org/drawingml/2006/table">
            <a:tbl>
              <a:tblPr firstRow="1" bandRow="1">
                <a:tableStyleId>{A0BC3CC4-8867-4C89-9D3F-A6A6B9ED4035}</a:tableStyleId>
              </a:tblPr>
              <a:tblGrid>
                <a:gridCol w="946137">
                  <a:extLst>
                    <a:ext uri="{9D8B030D-6E8A-4147-A177-3AD203B41FA5}">
                      <a16:colId xmlns:a16="http://schemas.microsoft.com/office/drawing/2014/main" val="3857854049"/>
                    </a:ext>
                  </a:extLst>
                </a:gridCol>
                <a:gridCol w="880187">
                  <a:extLst>
                    <a:ext uri="{9D8B030D-6E8A-4147-A177-3AD203B41FA5}">
                      <a16:colId xmlns:a16="http://schemas.microsoft.com/office/drawing/2014/main" val="3111781915"/>
                    </a:ext>
                  </a:extLst>
                </a:gridCol>
                <a:gridCol w="2670493">
                  <a:extLst>
                    <a:ext uri="{9D8B030D-6E8A-4147-A177-3AD203B41FA5}">
                      <a16:colId xmlns:a16="http://schemas.microsoft.com/office/drawing/2014/main" val="2045306253"/>
                    </a:ext>
                  </a:extLst>
                </a:gridCol>
                <a:gridCol w="7180837">
                  <a:extLst>
                    <a:ext uri="{9D8B030D-6E8A-4147-A177-3AD203B41FA5}">
                      <a16:colId xmlns:a16="http://schemas.microsoft.com/office/drawing/2014/main" val="15841464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CH" sz="1800" dirty="0"/>
                        <a:t>fr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to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CH" sz="1800" dirty="0"/>
                        <a:t>Topic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3575576"/>
                  </a:ext>
                </a:extLst>
              </a:tr>
              <a:tr h="535112">
                <a:tc>
                  <a:txBody>
                    <a:bodyPr/>
                    <a:lstStyle/>
                    <a:p>
                      <a:r>
                        <a:rPr lang="en-CH" sz="1800" dirty="0"/>
                        <a:t>09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09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lcome</a:t>
                      </a:r>
                      <a:endParaRPr lang="en-CH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urse Overview and Lab Setup Instructions</a:t>
                      </a:r>
                      <a:endParaRPr lang="en-CH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67316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H" sz="1800" dirty="0"/>
                        <a:t>09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10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b="1" dirty="0"/>
                        <a:t>Basic OCI Security</a:t>
                      </a:r>
                      <a:endParaRPr lang="en-CH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dirty="0"/>
                        <a:t>In-Transit Encryption, Shielded Instances, Key Management</a:t>
                      </a:r>
                      <a:endParaRPr lang="en-CH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06642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H" sz="1800" dirty="0"/>
                        <a:t>10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H" sz="1800" dirty="0"/>
                        <a:t>10: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dirty="0"/>
                        <a:t>Coffee Break</a:t>
                      </a:r>
                      <a:endParaRPr lang="en-CH" sz="18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H" sz="18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98917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H" sz="1800" dirty="0"/>
                        <a:t>10: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12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b="1" dirty="0"/>
                        <a:t>Cloud Gu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dirty="0"/>
                        <a:t>Overview, Recipes, CIS Scans, Remediation, Alerts, and Events</a:t>
                      </a:r>
                      <a:endParaRPr lang="en-CH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67068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H" sz="1800" dirty="0"/>
                        <a:t>12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13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b="0" dirty="0"/>
                        <a:t>Lunch</a:t>
                      </a:r>
                      <a:endParaRPr lang="en-CH" sz="18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H" sz="18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97129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H" sz="1800" dirty="0"/>
                        <a:t>13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14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/>
                        <a:t>Data Safe </a:t>
                      </a:r>
                      <a:endParaRPr lang="en-CH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dirty="0"/>
                        <a:t>Overview, Setup, Auditing, Data Masking, Assessments,…</a:t>
                      </a:r>
                      <a:endParaRPr lang="en-CH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13785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H" sz="1800" dirty="0"/>
                        <a:t>14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14: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dirty="0"/>
                        <a:t>Coffee Break</a:t>
                      </a:r>
                      <a:endParaRPr lang="en-CH" sz="18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H" sz="18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96396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H" sz="1800" dirty="0"/>
                        <a:t>14: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16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b="1" dirty="0"/>
                        <a:t>Security Zones / WAF</a:t>
                      </a:r>
                      <a:endParaRPr lang="en-CH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dirty="0"/>
                        <a:t>Overview, Zone Management, Rulesets, and CIS Compliance</a:t>
                      </a:r>
                      <a:endParaRPr lang="en-CH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896317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H" sz="1800" dirty="0"/>
                        <a:t>16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H" sz="1800" dirty="0"/>
                        <a:t>16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b="1" dirty="0"/>
                        <a:t>Wrap-Up </a:t>
                      </a:r>
                      <a:endParaRPr lang="en-CH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Additional Resources, Next Steps, and Farewell</a:t>
                      </a:r>
                      <a:endParaRPr lang="en-CH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3188968"/>
                  </a:ext>
                </a:extLst>
              </a:tr>
            </a:tbl>
          </a:graphicData>
        </a:graphic>
      </p:graphicFrame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0A4DADE8-AA25-5A9D-096D-4314B067A5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Session Times and Breaks</a:t>
            </a:r>
            <a:endParaRPr lang="en-CH" dirty="0"/>
          </a:p>
        </p:txBody>
      </p:sp>
      <p:sp>
        <p:nvSpPr>
          <p:cNvPr id="36" name="Footer Placeholder 35">
            <a:extLst>
              <a:ext uri="{FF2B5EF4-FFF2-40B4-BE49-F238E27FC236}">
                <a16:creationId xmlns:a16="http://schemas.microsoft.com/office/drawing/2014/main" id="{C478E210-3E7A-9C20-9A19-932E2D9BDF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4 Accenture. All rights reserved.</a:t>
            </a:r>
            <a:endParaRPr lang="en-GB" dirty="0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id="{56A8F1B4-0015-1B23-44F9-0F00EAE837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49181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8848400A-6E28-9F32-0A9F-BBB645085677}"/>
              </a:ext>
            </a:extLst>
          </p:cNvPr>
          <p:cNvSpPr/>
          <p:nvPr/>
        </p:nvSpPr>
        <p:spPr>
          <a:xfrm>
            <a:off x="657077" y="5450018"/>
            <a:ext cx="10769366" cy="102698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de-CH" dirty="0" err="1"/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03E9CF95-07BD-3A8E-D8A1-A360815F437B}"/>
              </a:ext>
            </a:extLst>
          </p:cNvPr>
          <p:cNvSpPr/>
          <p:nvPr/>
        </p:nvSpPr>
        <p:spPr>
          <a:xfrm>
            <a:off x="646715" y="4327837"/>
            <a:ext cx="10769366" cy="102698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de-CH" dirty="0" err="1"/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91BC9EEC-7A5A-F1D4-E181-7EE44B5E6C73}"/>
              </a:ext>
            </a:extLst>
          </p:cNvPr>
          <p:cNvSpPr/>
          <p:nvPr/>
        </p:nvSpPr>
        <p:spPr>
          <a:xfrm>
            <a:off x="657077" y="3203034"/>
            <a:ext cx="10769366" cy="102698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de-CH" dirty="0" err="1"/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95D5E440-FEA2-88E4-70FD-8C1DE140306E}"/>
              </a:ext>
            </a:extLst>
          </p:cNvPr>
          <p:cNvSpPr/>
          <p:nvPr/>
        </p:nvSpPr>
        <p:spPr>
          <a:xfrm>
            <a:off x="657077" y="2081791"/>
            <a:ext cx="10769366" cy="102698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de-CH" dirty="0" err="1"/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E2A405E7-A2E5-1655-9887-83CD2E355864}"/>
              </a:ext>
            </a:extLst>
          </p:cNvPr>
          <p:cNvSpPr/>
          <p:nvPr/>
        </p:nvSpPr>
        <p:spPr>
          <a:xfrm>
            <a:off x="657077" y="958322"/>
            <a:ext cx="10769366" cy="102698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de-CH" dirty="0" err="1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3011302-FCD2-C617-56F2-078283DE80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Security Service Products</a:t>
            </a:r>
          </a:p>
        </p:txBody>
      </p:sp>
      <p:grpSp>
        <p:nvGrpSpPr>
          <p:cNvPr id="330" name="Group 329">
            <a:extLst>
              <a:ext uri="{FF2B5EF4-FFF2-40B4-BE49-F238E27FC236}">
                <a16:creationId xmlns:a16="http://schemas.microsoft.com/office/drawing/2014/main" id="{B0BE61AF-70AC-6BF1-9ADF-CF352D744E6A}"/>
              </a:ext>
            </a:extLst>
          </p:cNvPr>
          <p:cNvGrpSpPr/>
          <p:nvPr/>
        </p:nvGrpSpPr>
        <p:grpSpPr>
          <a:xfrm>
            <a:off x="783914" y="1058005"/>
            <a:ext cx="9047050" cy="973818"/>
            <a:chOff x="388997" y="1058005"/>
            <a:chExt cx="9047050" cy="973818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D90F2E1C-38BD-816C-13E0-E5ECA0C8FD47}"/>
                </a:ext>
              </a:extLst>
            </p:cNvPr>
            <p:cNvSpPr txBox="1"/>
            <p:nvPr/>
          </p:nvSpPr>
          <p:spPr>
            <a:xfrm>
              <a:off x="388997" y="1319658"/>
              <a:ext cx="2806262" cy="3258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 defTabSz="228600">
                <a:spcAft>
                  <a:spcPts val="1200"/>
                </a:spcAft>
              </a:pPr>
              <a:r>
                <a:rPr lang="de-CH" b="1" noProof="0" dirty="0" err="1"/>
                <a:t>Detection</a:t>
              </a:r>
              <a:r>
                <a:rPr lang="de-CH" b="1" noProof="0" dirty="0"/>
                <a:t> and </a:t>
              </a:r>
              <a:r>
                <a:rPr lang="de-CH" b="1" noProof="0" dirty="0" err="1"/>
                <a:t>Remediation</a:t>
              </a:r>
              <a:endParaRPr lang="de-CH" b="1" noProof="0" dirty="0"/>
            </a:p>
          </p:txBody>
        </p:sp>
        <p:grpSp>
          <p:nvGrpSpPr>
            <p:cNvPr id="12" name="Graphic 3">
              <a:extLst>
                <a:ext uri="{FF2B5EF4-FFF2-40B4-BE49-F238E27FC236}">
                  <a16:creationId xmlns:a16="http://schemas.microsoft.com/office/drawing/2014/main" id="{D6238B12-F5BB-F874-498C-9F0AEACD49F8}"/>
                </a:ext>
              </a:extLst>
            </p:cNvPr>
            <p:cNvGrpSpPr/>
            <p:nvPr/>
          </p:nvGrpSpPr>
          <p:grpSpPr>
            <a:xfrm>
              <a:off x="4116345" y="1194771"/>
              <a:ext cx="961610" cy="698509"/>
              <a:chOff x="9558720" y="1773473"/>
              <a:chExt cx="961610" cy="698509"/>
            </a:xfrm>
          </p:grpSpPr>
          <p:grpSp>
            <p:nvGrpSpPr>
              <p:cNvPr id="13" name="Graphic 3">
                <a:extLst>
                  <a:ext uri="{FF2B5EF4-FFF2-40B4-BE49-F238E27FC236}">
                    <a16:creationId xmlns:a16="http://schemas.microsoft.com/office/drawing/2014/main" id="{38B13103-67E9-02B2-FE5B-30C88F77B049}"/>
                  </a:ext>
                </a:extLst>
              </p:cNvPr>
              <p:cNvGrpSpPr/>
              <p:nvPr/>
            </p:nvGrpSpPr>
            <p:grpSpPr>
              <a:xfrm>
                <a:off x="9683014" y="1773473"/>
                <a:ext cx="513356" cy="462950"/>
                <a:chOff x="9683014" y="1773473"/>
                <a:chExt cx="513356" cy="462950"/>
              </a:xfrm>
            </p:grpSpPr>
            <p:sp>
              <p:nvSpPr>
                <p:cNvPr id="15" name="Freeform: Shape 14">
                  <a:extLst>
                    <a:ext uri="{FF2B5EF4-FFF2-40B4-BE49-F238E27FC236}">
                      <a16:creationId xmlns:a16="http://schemas.microsoft.com/office/drawing/2014/main" id="{CCCDA6F1-3133-C3A6-0B4D-0A03904EA7BE}"/>
                    </a:ext>
                  </a:extLst>
                </p:cNvPr>
                <p:cNvSpPr/>
                <p:nvPr/>
              </p:nvSpPr>
              <p:spPr>
                <a:xfrm>
                  <a:off x="9689624" y="1777874"/>
                  <a:ext cx="500839" cy="453056"/>
                </a:xfrm>
                <a:custGeom>
                  <a:avLst/>
                  <a:gdLst>
                    <a:gd name="connsiteX0" fmla="*/ 245187 w 500839"/>
                    <a:gd name="connsiteY0" fmla="*/ 449758 h 453056"/>
                    <a:gd name="connsiteX1" fmla="*/ 120957 w 500839"/>
                    <a:gd name="connsiteY1" fmla="*/ 288105 h 453056"/>
                    <a:gd name="connsiteX2" fmla="*/ 120957 w 500839"/>
                    <a:gd name="connsiteY2" fmla="*/ 255118 h 453056"/>
                    <a:gd name="connsiteX3" fmla="*/ 0 w 500839"/>
                    <a:gd name="connsiteY3" fmla="*/ 255118 h 453056"/>
                    <a:gd name="connsiteX4" fmla="*/ 1090 w 500839"/>
                    <a:gd name="connsiteY4" fmla="*/ 240823 h 453056"/>
                    <a:gd name="connsiteX5" fmla="*/ 64874 w 500839"/>
                    <a:gd name="connsiteY5" fmla="*/ 142954 h 453056"/>
                    <a:gd name="connsiteX6" fmla="*/ 82456 w 500839"/>
                    <a:gd name="connsiteY6" fmla="*/ 119861 h 453056"/>
                    <a:gd name="connsiteX7" fmla="*/ 135267 w 500839"/>
                    <a:gd name="connsiteY7" fmla="*/ 53883 h 453056"/>
                    <a:gd name="connsiteX8" fmla="*/ 171522 w 500839"/>
                    <a:gd name="connsiteY8" fmla="*/ 46185 h 453056"/>
                    <a:gd name="connsiteX9" fmla="*/ 180313 w 500839"/>
                    <a:gd name="connsiteY9" fmla="*/ 46185 h 453056"/>
                    <a:gd name="connsiteX10" fmla="*/ 183650 w 500839"/>
                    <a:gd name="connsiteY10" fmla="*/ 46185 h 453056"/>
                    <a:gd name="connsiteX11" fmla="*/ 206750 w 500839"/>
                    <a:gd name="connsiteY11" fmla="*/ 36289 h 453056"/>
                    <a:gd name="connsiteX12" fmla="*/ 289207 w 500839"/>
                    <a:gd name="connsiteY12" fmla="*/ 0 h 453056"/>
                    <a:gd name="connsiteX13" fmla="*/ 389245 w 500839"/>
                    <a:gd name="connsiteY13" fmla="*/ 61580 h 453056"/>
                    <a:gd name="connsiteX14" fmla="*/ 411255 w 500839"/>
                    <a:gd name="connsiteY14" fmla="*/ 81374 h 453056"/>
                    <a:gd name="connsiteX15" fmla="*/ 447575 w 500839"/>
                    <a:gd name="connsiteY15" fmla="*/ 96769 h 453056"/>
                    <a:gd name="connsiteX16" fmla="*/ 487166 w 500839"/>
                    <a:gd name="connsiteY16" fmla="*/ 248520 h 453056"/>
                    <a:gd name="connsiteX17" fmla="*/ 483830 w 500839"/>
                    <a:gd name="connsiteY17" fmla="*/ 255118 h 453056"/>
                    <a:gd name="connsiteX18" fmla="*/ 381545 w 500839"/>
                    <a:gd name="connsiteY18" fmla="*/ 255118 h 453056"/>
                    <a:gd name="connsiteX19" fmla="*/ 381545 w 500839"/>
                    <a:gd name="connsiteY19" fmla="*/ 288105 h 453056"/>
                    <a:gd name="connsiteX20" fmla="*/ 257315 w 500839"/>
                    <a:gd name="connsiteY20" fmla="*/ 449758 h 453056"/>
                    <a:gd name="connsiteX21" fmla="*/ 251797 w 500839"/>
                    <a:gd name="connsiteY21" fmla="*/ 453057 h 453056"/>
                    <a:gd name="connsiteX22" fmla="*/ 245187 w 500839"/>
                    <a:gd name="connsiteY22" fmla="*/ 449758 h 453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500839" h="453056">
                      <a:moveTo>
                        <a:pt x="245187" y="449758"/>
                      </a:moveTo>
                      <a:cubicBezTo>
                        <a:pt x="169341" y="412367"/>
                        <a:pt x="124230" y="352986"/>
                        <a:pt x="120957" y="288105"/>
                      </a:cubicBezTo>
                      <a:lnTo>
                        <a:pt x="120957" y="255118"/>
                      </a:lnTo>
                      <a:lnTo>
                        <a:pt x="0" y="255118"/>
                      </a:lnTo>
                      <a:lnTo>
                        <a:pt x="1090" y="240823"/>
                      </a:lnTo>
                      <a:cubicBezTo>
                        <a:pt x="4363" y="199036"/>
                        <a:pt x="28555" y="162748"/>
                        <a:pt x="64874" y="142954"/>
                      </a:cubicBezTo>
                      <a:cubicBezTo>
                        <a:pt x="73665" y="138556"/>
                        <a:pt x="80275" y="129758"/>
                        <a:pt x="82456" y="119861"/>
                      </a:cubicBezTo>
                      <a:cubicBezTo>
                        <a:pt x="87975" y="90171"/>
                        <a:pt x="107738" y="65979"/>
                        <a:pt x="135267" y="53883"/>
                      </a:cubicBezTo>
                      <a:cubicBezTo>
                        <a:pt x="146239" y="48384"/>
                        <a:pt x="159458" y="46185"/>
                        <a:pt x="171522" y="46185"/>
                      </a:cubicBezTo>
                      <a:cubicBezTo>
                        <a:pt x="174859" y="46185"/>
                        <a:pt x="177040" y="46185"/>
                        <a:pt x="180313" y="46185"/>
                      </a:cubicBezTo>
                      <a:cubicBezTo>
                        <a:pt x="181404" y="46185"/>
                        <a:pt x="182559" y="46185"/>
                        <a:pt x="183650" y="46185"/>
                      </a:cubicBezTo>
                      <a:cubicBezTo>
                        <a:pt x="192441" y="46185"/>
                        <a:pt x="201232" y="42886"/>
                        <a:pt x="206750" y="36289"/>
                      </a:cubicBezTo>
                      <a:cubicBezTo>
                        <a:pt x="227605" y="13196"/>
                        <a:pt x="257315" y="0"/>
                        <a:pt x="289207" y="0"/>
                      </a:cubicBezTo>
                      <a:cubicBezTo>
                        <a:pt x="332072" y="0"/>
                        <a:pt x="370573" y="24192"/>
                        <a:pt x="389245" y="61580"/>
                      </a:cubicBezTo>
                      <a:cubicBezTo>
                        <a:pt x="392582" y="72577"/>
                        <a:pt x="401373" y="79175"/>
                        <a:pt x="411255" y="81374"/>
                      </a:cubicBezTo>
                      <a:cubicBezTo>
                        <a:pt x="424474" y="84673"/>
                        <a:pt x="436538" y="89072"/>
                        <a:pt x="447575" y="96769"/>
                      </a:cubicBezTo>
                      <a:cubicBezTo>
                        <a:pt x="498139" y="128659"/>
                        <a:pt x="515722" y="195737"/>
                        <a:pt x="487166" y="248520"/>
                      </a:cubicBezTo>
                      <a:lnTo>
                        <a:pt x="483830" y="255118"/>
                      </a:lnTo>
                      <a:lnTo>
                        <a:pt x="381545" y="255118"/>
                      </a:lnTo>
                      <a:lnTo>
                        <a:pt x="381545" y="288105"/>
                      </a:lnTo>
                      <a:cubicBezTo>
                        <a:pt x="378273" y="352986"/>
                        <a:pt x="332072" y="411270"/>
                        <a:pt x="257315" y="449758"/>
                      </a:cubicBezTo>
                      <a:lnTo>
                        <a:pt x="251797" y="453057"/>
                      </a:lnTo>
                      <a:lnTo>
                        <a:pt x="245187" y="44975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6" name="Freeform: Shape 15">
                  <a:extLst>
                    <a:ext uri="{FF2B5EF4-FFF2-40B4-BE49-F238E27FC236}">
                      <a16:creationId xmlns:a16="http://schemas.microsoft.com/office/drawing/2014/main" id="{17BCF7A9-9A25-6996-66A0-6AE418C3E731}"/>
                    </a:ext>
                  </a:extLst>
                </p:cNvPr>
                <p:cNvSpPr/>
                <p:nvPr/>
              </p:nvSpPr>
              <p:spPr>
                <a:xfrm>
                  <a:off x="9683014" y="1773473"/>
                  <a:ext cx="513356" cy="462950"/>
                </a:xfrm>
                <a:custGeom>
                  <a:avLst/>
                  <a:gdLst>
                    <a:gd name="connsiteX0" fmla="*/ 294726 w 513356"/>
                    <a:gd name="connsiteY0" fmla="*/ 10997 h 462950"/>
                    <a:gd name="connsiteX1" fmla="*/ 390400 w 513356"/>
                    <a:gd name="connsiteY1" fmla="*/ 70377 h 462950"/>
                    <a:gd name="connsiteX2" fmla="*/ 416774 w 513356"/>
                    <a:gd name="connsiteY2" fmla="*/ 91271 h 462950"/>
                    <a:gd name="connsiteX3" fmla="*/ 450847 w 513356"/>
                    <a:gd name="connsiteY3" fmla="*/ 105566 h 462950"/>
                    <a:gd name="connsiteX4" fmla="*/ 489348 w 513356"/>
                    <a:gd name="connsiteY4" fmla="*/ 249620 h 462950"/>
                    <a:gd name="connsiteX5" fmla="*/ 487167 w 513356"/>
                    <a:gd name="connsiteY5" fmla="*/ 254018 h 462950"/>
                    <a:gd name="connsiteX6" fmla="*/ 382701 w 513356"/>
                    <a:gd name="connsiteY6" fmla="*/ 254018 h 462950"/>
                    <a:gd name="connsiteX7" fmla="*/ 382701 w 513356"/>
                    <a:gd name="connsiteY7" fmla="*/ 292506 h 462950"/>
                    <a:gd name="connsiteX8" fmla="*/ 260588 w 513356"/>
                    <a:gd name="connsiteY8" fmla="*/ 449757 h 462950"/>
                    <a:gd name="connsiteX9" fmla="*/ 257315 w 513356"/>
                    <a:gd name="connsiteY9" fmla="*/ 450854 h 462950"/>
                    <a:gd name="connsiteX10" fmla="*/ 254043 w 513356"/>
                    <a:gd name="connsiteY10" fmla="*/ 448653 h 462950"/>
                    <a:gd name="connsiteX11" fmla="*/ 131931 w 513356"/>
                    <a:gd name="connsiteY11" fmla="*/ 291409 h 462950"/>
                    <a:gd name="connsiteX12" fmla="*/ 131931 w 513356"/>
                    <a:gd name="connsiteY12" fmla="*/ 254018 h 462950"/>
                    <a:gd name="connsiteX13" fmla="*/ 12128 w 513356"/>
                    <a:gd name="connsiteY13" fmla="*/ 254018 h 462950"/>
                    <a:gd name="connsiteX14" fmla="*/ 13219 w 513356"/>
                    <a:gd name="connsiteY14" fmla="*/ 245221 h 462950"/>
                    <a:gd name="connsiteX15" fmla="*/ 74756 w 513356"/>
                    <a:gd name="connsiteY15" fmla="*/ 152851 h 462950"/>
                    <a:gd name="connsiteX16" fmla="*/ 94584 w 513356"/>
                    <a:gd name="connsiteY16" fmla="*/ 126459 h 462950"/>
                    <a:gd name="connsiteX17" fmla="*/ 142967 w 513356"/>
                    <a:gd name="connsiteY17" fmla="*/ 63780 h 462950"/>
                    <a:gd name="connsiteX18" fmla="*/ 177040 w 513356"/>
                    <a:gd name="connsiteY18" fmla="*/ 56082 h 462950"/>
                    <a:gd name="connsiteX19" fmla="*/ 184741 w 513356"/>
                    <a:gd name="connsiteY19" fmla="*/ 56082 h 462950"/>
                    <a:gd name="connsiteX20" fmla="*/ 188014 w 513356"/>
                    <a:gd name="connsiteY20" fmla="*/ 56082 h 462950"/>
                    <a:gd name="connsiteX21" fmla="*/ 215542 w 513356"/>
                    <a:gd name="connsiteY21" fmla="*/ 43986 h 462950"/>
                    <a:gd name="connsiteX22" fmla="*/ 294726 w 513356"/>
                    <a:gd name="connsiteY22" fmla="*/ 10997 h 462950"/>
                    <a:gd name="connsiteX23" fmla="*/ 294726 w 513356"/>
                    <a:gd name="connsiteY23" fmla="*/ 0 h 462950"/>
                    <a:gd name="connsiteX24" fmla="*/ 208933 w 513356"/>
                    <a:gd name="connsiteY24" fmla="*/ 37388 h 462950"/>
                    <a:gd name="connsiteX25" fmla="*/ 190260 w 513356"/>
                    <a:gd name="connsiteY25" fmla="*/ 45085 h 462950"/>
                    <a:gd name="connsiteX26" fmla="*/ 188014 w 513356"/>
                    <a:gd name="connsiteY26" fmla="*/ 45085 h 462950"/>
                    <a:gd name="connsiteX27" fmla="*/ 179223 w 513356"/>
                    <a:gd name="connsiteY27" fmla="*/ 45085 h 462950"/>
                    <a:gd name="connsiteX28" fmla="*/ 140785 w 513356"/>
                    <a:gd name="connsiteY28" fmla="*/ 52783 h 462950"/>
                    <a:gd name="connsiteX29" fmla="*/ 82456 w 513356"/>
                    <a:gd name="connsiteY29" fmla="*/ 123160 h 462950"/>
                    <a:gd name="connsiteX30" fmla="*/ 68147 w 513356"/>
                    <a:gd name="connsiteY30" fmla="*/ 141855 h 462950"/>
                    <a:gd name="connsiteX31" fmla="*/ 1091 w 513356"/>
                    <a:gd name="connsiteY31" fmla="*/ 244122 h 462950"/>
                    <a:gd name="connsiteX32" fmla="*/ 1091 w 513356"/>
                    <a:gd name="connsiteY32" fmla="*/ 252919 h 462950"/>
                    <a:gd name="connsiteX33" fmla="*/ 0 w 513356"/>
                    <a:gd name="connsiteY33" fmla="*/ 263915 h 462950"/>
                    <a:gd name="connsiteX34" fmla="*/ 12128 w 513356"/>
                    <a:gd name="connsiteY34" fmla="*/ 263915 h 462950"/>
                    <a:gd name="connsiteX35" fmla="*/ 120957 w 513356"/>
                    <a:gd name="connsiteY35" fmla="*/ 263915 h 462950"/>
                    <a:gd name="connsiteX36" fmla="*/ 120957 w 513356"/>
                    <a:gd name="connsiteY36" fmla="*/ 290305 h 462950"/>
                    <a:gd name="connsiteX37" fmla="*/ 120957 w 513356"/>
                    <a:gd name="connsiteY37" fmla="*/ 291409 h 462950"/>
                    <a:gd name="connsiteX38" fmla="*/ 248524 w 513356"/>
                    <a:gd name="connsiteY38" fmla="*/ 458555 h 462950"/>
                    <a:gd name="connsiteX39" fmla="*/ 251797 w 513356"/>
                    <a:gd name="connsiteY39" fmla="*/ 460749 h 462950"/>
                    <a:gd name="connsiteX40" fmla="*/ 257315 w 513356"/>
                    <a:gd name="connsiteY40" fmla="*/ 462950 h 462950"/>
                    <a:gd name="connsiteX41" fmla="*/ 262834 w 513356"/>
                    <a:gd name="connsiteY41" fmla="*/ 460749 h 462950"/>
                    <a:gd name="connsiteX42" fmla="*/ 266106 w 513356"/>
                    <a:gd name="connsiteY42" fmla="*/ 458555 h 462950"/>
                    <a:gd name="connsiteX43" fmla="*/ 393673 w 513356"/>
                    <a:gd name="connsiteY43" fmla="*/ 292506 h 462950"/>
                    <a:gd name="connsiteX44" fmla="*/ 393673 w 513356"/>
                    <a:gd name="connsiteY44" fmla="*/ 263915 h 462950"/>
                    <a:gd name="connsiteX45" fmla="*/ 487167 w 513356"/>
                    <a:gd name="connsiteY45" fmla="*/ 263915 h 462950"/>
                    <a:gd name="connsiteX46" fmla="*/ 493711 w 513356"/>
                    <a:gd name="connsiteY46" fmla="*/ 263915 h 462950"/>
                    <a:gd name="connsiteX47" fmla="*/ 497048 w 513356"/>
                    <a:gd name="connsiteY47" fmla="*/ 258417 h 462950"/>
                    <a:gd name="connsiteX48" fmla="*/ 499231 w 513356"/>
                    <a:gd name="connsiteY48" fmla="*/ 254018 h 462950"/>
                    <a:gd name="connsiteX49" fmla="*/ 457457 w 513356"/>
                    <a:gd name="connsiteY49" fmla="*/ 95669 h 462950"/>
                    <a:gd name="connsiteX50" fmla="*/ 418956 w 513356"/>
                    <a:gd name="connsiteY50" fmla="*/ 80274 h 462950"/>
                    <a:gd name="connsiteX51" fmla="*/ 399192 w 513356"/>
                    <a:gd name="connsiteY51" fmla="*/ 64879 h 462950"/>
                    <a:gd name="connsiteX52" fmla="*/ 294726 w 513356"/>
                    <a:gd name="connsiteY52" fmla="*/ 0 h 4629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</a:cxnLst>
                  <a:rect l="l" t="t" r="r" b="b"/>
                  <a:pathLst>
                    <a:path w="513356" h="462950">
                      <a:moveTo>
                        <a:pt x="294726" y="10997"/>
                      </a:moveTo>
                      <a:cubicBezTo>
                        <a:pt x="335408" y="10997"/>
                        <a:pt x="371664" y="34089"/>
                        <a:pt x="390400" y="70377"/>
                      </a:cubicBezTo>
                      <a:cubicBezTo>
                        <a:pt x="395855" y="81374"/>
                        <a:pt x="405801" y="87972"/>
                        <a:pt x="416774" y="91271"/>
                      </a:cubicBezTo>
                      <a:cubicBezTo>
                        <a:pt x="428837" y="93470"/>
                        <a:pt x="440965" y="97868"/>
                        <a:pt x="450847" y="105566"/>
                      </a:cubicBezTo>
                      <a:cubicBezTo>
                        <a:pt x="499231" y="136356"/>
                        <a:pt x="515722" y="199036"/>
                        <a:pt x="489348" y="249620"/>
                      </a:cubicBezTo>
                      <a:lnTo>
                        <a:pt x="487167" y="254018"/>
                      </a:lnTo>
                      <a:lnTo>
                        <a:pt x="382701" y="254018"/>
                      </a:lnTo>
                      <a:lnTo>
                        <a:pt x="382701" y="292506"/>
                      </a:lnTo>
                      <a:cubicBezTo>
                        <a:pt x="379364" y="355186"/>
                        <a:pt x="334317" y="412366"/>
                        <a:pt x="260588" y="449757"/>
                      </a:cubicBezTo>
                      <a:lnTo>
                        <a:pt x="257315" y="450854"/>
                      </a:lnTo>
                      <a:lnTo>
                        <a:pt x="254043" y="448653"/>
                      </a:lnTo>
                      <a:cubicBezTo>
                        <a:pt x="180313" y="411269"/>
                        <a:pt x="136358" y="354088"/>
                        <a:pt x="131931" y="291409"/>
                      </a:cubicBezTo>
                      <a:lnTo>
                        <a:pt x="131931" y="254018"/>
                      </a:lnTo>
                      <a:lnTo>
                        <a:pt x="12128" y="254018"/>
                      </a:lnTo>
                      <a:lnTo>
                        <a:pt x="13219" y="245221"/>
                      </a:lnTo>
                      <a:cubicBezTo>
                        <a:pt x="16491" y="205634"/>
                        <a:pt x="38501" y="170445"/>
                        <a:pt x="74756" y="152851"/>
                      </a:cubicBezTo>
                      <a:cubicBezTo>
                        <a:pt x="85793" y="147353"/>
                        <a:pt x="92338" y="137456"/>
                        <a:pt x="94584" y="126459"/>
                      </a:cubicBezTo>
                      <a:cubicBezTo>
                        <a:pt x="98948" y="97868"/>
                        <a:pt x="117685" y="74776"/>
                        <a:pt x="142967" y="63780"/>
                      </a:cubicBezTo>
                      <a:cubicBezTo>
                        <a:pt x="153940" y="59381"/>
                        <a:pt x="166068" y="56082"/>
                        <a:pt x="177040" y="56082"/>
                      </a:cubicBezTo>
                      <a:cubicBezTo>
                        <a:pt x="179223" y="56082"/>
                        <a:pt x="182559" y="56082"/>
                        <a:pt x="184741" y="56082"/>
                      </a:cubicBezTo>
                      <a:cubicBezTo>
                        <a:pt x="185832" y="56082"/>
                        <a:pt x="186923" y="56082"/>
                        <a:pt x="188014" y="56082"/>
                      </a:cubicBezTo>
                      <a:cubicBezTo>
                        <a:pt x="199051" y="56082"/>
                        <a:pt x="207842" y="51684"/>
                        <a:pt x="215542" y="43986"/>
                      </a:cubicBezTo>
                      <a:cubicBezTo>
                        <a:pt x="236396" y="23093"/>
                        <a:pt x="265016" y="10997"/>
                        <a:pt x="294726" y="10997"/>
                      </a:cubicBezTo>
                      <a:close/>
                      <a:moveTo>
                        <a:pt x="294726" y="0"/>
                      </a:moveTo>
                      <a:cubicBezTo>
                        <a:pt x="261743" y="0"/>
                        <a:pt x="230942" y="13196"/>
                        <a:pt x="208933" y="37388"/>
                      </a:cubicBezTo>
                      <a:cubicBezTo>
                        <a:pt x="203414" y="42886"/>
                        <a:pt x="196805" y="45085"/>
                        <a:pt x="190260" y="45085"/>
                      </a:cubicBezTo>
                      <a:cubicBezTo>
                        <a:pt x="189168" y="45085"/>
                        <a:pt x="188014" y="45085"/>
                        <a:pt x="188014" y="45085"/>
                      </a:cubicBezTo>
                      <a:cubicBezTo>
                        <a:pt x="184741" y="45085"/>
                        <a:pt x="182559" y="45085"/>
                        <a:pt x="179223" y="45085"/>
                      </a:cubicBezTo>
                      <a:cubicBezTo>
                        <a:pt x="166068" y="45085"/>
                        <a:pt x="152849" y="48385"/>
                        <a:pt x="140785" y="52783"/>
                      </a:cubicBezTo>
                      <a:cubicBezTo>
                        <a:pt x="109985" y="65979"/>
                        <a:pt x="89066" y="92370"/>
                        <a:pt x="82456" y="123160"/>
                      </a:cubicBezTo>
                      <a:cubicBezTo>
                        <a:pt x="80275" y="130858"/>
                        <a:pt x="75847" y="138556"/>
                        <a:pt x="68147" y="141855"/>
                      </a:cubicBezTo>
                      <a:cubicBezTo>
                        <a:pt x="29710" y="162748"/>
                        <a:pt x="4427" y="200136"/>
                        <a:pt x="1091" y="244122"/>
                      </a:cubicBezTo>
                      <a:lnTo>
                        <a:pt x="1091" y="252919"/>
                      </a:lnTo>
                      <a:lnTo>
                        <a:pt x="0" y="263915"/>
                      </a:lnTo>
                      <a:lnTo>
                        <a:pt x="12128" y="263915"/>
                      </a:lnTo>
                      <a:lnTo>
                        <a:pt x="120957" y="263915"/>
                      </a:lnTo>
                      <a:lnTo>
                        <a:pt x="120957" y="290305"/>
                      </a:lnTo>
                      <a:lnTo>
                        <a:pt x="120957" y="291409"/>
                      </a:lnTo>
                      <a:cubicBezTo>
                        <a:pt x="125385" y="358484"/>
                        <a:pt x="171522" y="418963"/>
                        <a:pt x="248524" y="458555"/>
                      </a:cubicBezTo>
                      <a:lnTo>
                        <a:pt x="251797" y="460749"/>
                      </a:lnTo>
                      <a:lnTo>
                        <a:pt x="257315" y="462950"/>
                      </a:lnTo>
                      <a:lnTo>
                        <a:pt x="262834" y="460749"/>
                      </a:lnTo>
                      <a:lnTo>
                        <a:pt x="266106" y="458555"/>
                      </a:lnTo>
                      <a:cubicBezTo>
                        <a:pt x="343108" y="420066"/>
                        <a:pt x="390400" y="359581"/>
                        <a:pt x="393673" y="292506"/>
                      </a:cubicBezTo>
                      <a:lnTo>
                        <a:pt x="393673" y="263915"/>
                      </a:lnTo>
                      <a:lnTo>
                        <a:pt x="487167" y="263915"/>
                      </a:lnTo>
                      <a:lnTo>
                        <a:pt x="493711" y="263915"/>
                      </a:lnTo>
                      <a:lnTo>
                        <a:pt x="497048" y="258417"/>
                      </a:lnTo>
                      <a:lnTo>
                        <a:pt x="499231" y="254018"/>
                      </a:lnTo>
                      <a:cubicBezTo>
                        <a:pt x="528941" y="199036"/>
                        <a:pt x="510267" y="128659"/>
                        <a:pt x="457457" y="95669"/>
                      </a:cubicBezTo>
                      <a:cubicBezTo>
                        <a:pt x="445329" y="87972"/>
                        <a:pt x="433265" y="82474"/>
                        <a:pt x="418956" y="80274"/>
                      </a:cubicBezTo>
                      <a:cubicBezTo>
                        <a:pt x="410165" y="78075"/>
                        <a:pt x="403555" y="72577"/>
                        <a:pt x="399192" y="64879"/>
                      </a:cubicBezTo>
                      <a:cubicBezTo>
                        <a:pt x="379364" y="25292"/>
                        <a:pt x="339771" y="0"/>
                        <a:pt x="29472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7" name="Freeform: Shape 16">
                  <a:extLst>
                    <a:ext uri="{FF2B5EF4-FFF2-40B4-BE49-F238E27FC236}">
                      <a16:creationId xmlns:a16="http://schemas.microsoft.com/office/drawing/2014/main" id="{661AC301-67CD-E6B5-0155-6711922E56FE}"/>
                    </a:ext>
                  </a:extLst>
                </p:cNvPr>
                <p:cNvSpPr/>
                <p:nvPr/>
              </p:nvSpPr>
              <p:spPr>
                <a:xfrm>
                  <a:off x="9693987" y="1784460"/>
                  <a:ext cx="491370" cy="244121"/>
                </a:xfrm>
                <a:custGeom>
                  <a:avLst/>
                  <a:gdLst>
                    <a:gd name="connsiteX0" fmla="*/ 439875 w 491370"/>
                    <a:gd name="connsiteY0" fmla="*/ 94569 h 244121"/>
                    <a:gd name="connsiteX1" fmla="*/ 405801 w 491370"/>
                    <a:gd name="connsiteY1" fmla="*/ 80274 h 244121"/>
                    <a:gd name="connsiteX2" fmla="*/ 379428 w 491370"/>
                    <a:gd name="connsiteY2" fmla="*/ 59381 h 244121"/>
                    <a:gd name="connsiteX3" fmla="*/ 283753 w 491370"/>
                    <a:gd name="connsiteY3" fmla="*/ 0 h 244121"/>
                    <a:gd name="connsiteX4" fmla="*/ 205660 w 491370"/>
                    <a:gd name="connsiteY4" fmla="*/ 34089 h 244121"/>
                    <a:gd name="connsiteX5" fmla="*/ 174859 w 491370"/>
                    <a:gd name="connsiteY5" fmla="*/ 45085 h 244121"/>
                    <a:gd name="connsiteX6" fmla="*/ 131995 w 491370"/>
                    <a:gd name="connsiteY6" fmla="*/ 52783 h 244121"/>
                    <a:gd name="connsiteX7" fmla="*/ 82520 w 491370"/>
                    <a:gd name="connsiteY7" fmla="*/ 114363 h 244121"/>
                    <a:gd name="connsiteX8" fmla="*/ 62693 w 491370"/>
                    <a:gd name="connsiteY8" fmla="*/ 140755 h 244121"/>
                    <a:gd name="connsiteX9" fmla="*/ 1155 w 491370"/>
                    <a:gd name="connsiteY9" fmla="*/ 233124 h 244121"/>
                    <a:gd name="connsiteX10" fmla="*/ 0 w 491370"/>
                    <a:gd name="connsiteY10" fmla="*/ 241922 h 244121"/>
                    <a:gd name="connsiteX11" fmla="*/ 107803 w 491370"/>
                    <a:gd name="connsiteY11" fmla="*/ 241922 h 244121"/>
                    <a:gd name="connsiteX12" fmla="*/ 107803 w 491370"/>
                    <a:gd name="connsiteY12" fmla="*/ 225428 h 244121"/>
                    <a:gd name="connsiteX13" fmla="*/ 18737 w 491370"/>
                    <a:gd name="connsiteY13" fmla="*/ 225428 h 244121"/>
                    <a:gd name="connsiteX14" fmla="*/ 70393 w 491370"/>
                    <a:gd name="connsiteY14" fmla="*/ 153950 h 244121"/>
                    <a:gd name="connsiteX15" fmla="*/ 99012 w 491370"/>
                    <a:gd name="connsiteY15" fmla="*/ 116563 h 244121"/>
                    <a:gd name="connsiteX16" fmla="*/ 138604 w 491370"/>
                    <a:gd name="connsiteY16" fmla="*/ 67078 h 244121"/>
                    <a:gd name="connsiteX17" fmla="*/ 172677 w 491370"/>
                    <a:gd name="connsiteY17" fmla="*/ 61580 h 244121"/>
                    <a:gd name="connsiteX18" fmla="*/ 216633 w 491370"/>
                    <a:gd name="connsiteY18" fmla="*/ 45085 h 244121"/>
                    <a:gd name="connsiteX19" fmla="*/ 282662 w 491370"/>
                    <a:gd name="connsiteY19" fmla="*/ 16494 h 244121"/>
                    <a:gd name="connsiteX20" fmla="*/ 362937 w 491370"/>
                    <a:gd name="connsiteY20" fmla="*/ 67078 h 244121"/>
                    <a:gd name="connsiteX21" fmla="*/ 400283 w 491370"/>
                    <a:gd name="connsiteY21" fmla="*/ 96769 h 244121"/>
                    <a:gd name="connsiteX22" fmla="*/ 429993 w 491370"/>
                    <a:gd name="connsiteY22" fmla="*/ 108865 h 244121"/>
                    <a:gd name="connsiteX23" fmla="*/ 464066 w 491370"/>
                    <a:gd name="connsiteY23" fmla="*/ 227627 h 244121"/>
                    <a:gd name="connsiteX24" fmla="*/ 384882 w 491370"/>
                    <a:gd name="connsiteY24" fmla="*/ 227627 h 244121"/>
                    <a:gd name="connsiteX25" fmla="*/ 384882 w 491370"/>
                    <a:gd name="connsiteY25" fmla="*/ 244121 h 244121"/>
                    <a:gd name="connsiteX26" fmla="*/ 476194 w 491370"/>
                    <a:gd name="connsiteY26" fmla="*/ 244121 h 244121"/>
                    <a:gd name="connsiteX27" fmla="*/ 478376 w 491370"/>
                    <a:gd name="connsiteY27" fmla="*/ 239723 h 244121"/>
                    <a:gd name="connsiteX28" fmla="*/ 439875 w 491370"/>
                    <a:gd name="connsiteY28" fmla="*/ 94569 h 2441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491370" h="244121">
                      <a:moveTo>
                        <a:pt x="439875" y="94569"/>
                      </a:moveTo>
                      <a:cubicBezTo>
                        <a:pt x="428902" y="87972"/>
                        <a:pt x="417865" y="82473"/>
                        <a:pt x="405801" y="80274"/>
                      </a:cubicBezTo>
                      <a:cubicBezTo>
                        <a:pt x="393674" y="78075"/>
                        <a:pt x="383792" y="70377"/>
                        <a:pt x="379428" y="59381"/>
                      </a:cubicBezTo>
                      <a:cubicBezTo>
                        <a:pt x="360691" y="23092"/>
                        <a:pt x="324436" y="0"/>
                        <a:pt x="283753" y="0"/>
                      </a:cubicBezTo>
                      <a:cubicBezTo>
                        <a:pt x="254043" y="0"/>
                        <a:pt x="225424" y="12096"/>
                        <a:pt x="205660" y="34089"/>
                      </a:cubicBezTo>
                      <a:cubicBezTo>
                        <a:pt x="197960" y="42886"/>
                        <a:pt x="186987" y="47284"/>
                        <a:pt x="174859" y="45085"/>
                      </a:cubicBezTo>
                      <a:cubicBezTo>
                        <a:pt x="159459" y="43986"/>
                        <a:pt x="145213" y="46185"/>
                        <a:pt x="131995" y="52783"/>
                      </a:cubicBezTo>
                      <a:cubicBezTo>
                        <a:pt x="106712" y="63780"/>
                        <a:pt x="87975" y="86872"/>
                        <a:pt x="82520" y="114363"/>
                      </a:cubicBezTo>
                      <a:cubicBezTo>
                        <a:pt x="80275" y="125359"/>
                        <a:pt x="72575" y="135256"/>
                        <a:pt x="62693" y="140755"/>
                      </a:cubicBezTo>
                      <a:cubicBezTo>
                        <a:pt x="27529" y="159448"/>
                        <a:pt x="4428" y="193538"/>
                        <a:pt x="1155" y="233124"/>
                      </a:cubicBezTo>
                      <a:lnTo>
                        <a:pt x="0" y="241922"/>
                      </a:lnTo>
                      <a:lnTo>
                        <a:pt x="107803" y="241922"/>
                      </a:lnTo>
                      <a:lnTo>
                        <a:pt x="107803" y="225428"/>
                      </a:lnTo>
                      <a:lnTo>
                        <a:pt x="18737" y="225428"/>
                      </a:lnTo>
                      <a:cubicBezTo>
                        <a:pt x="24192" y="194637"/>
                        <a:pt x="42929" y="169346"/>
                        <a:pt x="70393" y="153950"/>
                      </a:cubicBezTo>
                      <a:cubicBezTo>
                        <a:pt x="85793" y="146253"/>
                        <a:pt x="95675" y="131957"/>
                        <a:pt x="99012" y="116563"/>
                      </a:cubicBezTo>
                      <a:cubicBezTo>
                        <a:pt x="103375" y="94569"/>
                        <a:pt x="118776" y="75875"/>
                        <a:pt x="138604" y="67078"/>
                      </a:cubicBezTo>
                      <a:cubicBezTo>
                        <a:pt x="149577" y="62680"/>
                        <a:pt x="161705" y="60481"/>
                        <a:pt x="172677" y="61580"/>
                      </a:cubicBezTo>
                      <a:cubicBezTo>
                        <a:pt x="189168" y="63780"/>
                        <a:pt x="205660" y="57182"/>
                        <a:pt x="216633" y="45085"/>
                      </a:cubicBezTo>
                      <a:cubicBezTo>
                        <a:pt x="233124" y="26391"/>
                        <a:pt x="258471" y="16494"/>
                        <a:pt x="282662" y="16494"/>
                      </a:cubicBezTo>
                      <a:cubicBezTo>
                        <a:pt x="316735" y="16494"/>
                        <a:pt x="348628" y="35189"/>
                        <a:pt x="362937" y="67078"/>
                      </a:cubicBezTo>
                      <a:cubicBezTo>
                        <a:pt x="370637" y="82473"/>
                        <a:pt x="383792" y="92370"/>
                        <a:pt x="400283" y="96769"/>
                      </a:cubicBezTo>
                      <a:cubicBezTo>
                        <a:pt x="411320" y="98968"/>
                        <a:pt x="420111" y="103366"/>
                        <a:pt x="429993" y="108865"/>
                      </a:cubicBezTo>
                      <a:cubicBezTo>
                        <a:pt x="469585" y="134157"/>
                        <a:pt x="484985" y="184740"/>
                        <a:pt x="464066" y="227627"/>
                      </a:cubicBezTo>
                      <a:lnTo>
                        <a:pt x="384882" y="227627"/>
                      </a:lnTo>
                      <a:lnTo>
                        <a:pt x="384882" y="244121"/>
                      </a:lnTo>
                      <a:lnTo>
                        <a:pt x="476194" y="244121"/>
                      </a:lnTo>
                      <a:lnTo>
                        <a:pt x="478376" y="239723"/>
                      </a:lnTo>
                      <a:cubicBezTo>
                        <a:pt x="505840" y="188039"/>
                        <a:pt x="488258" y="124260"/>
                        <a:pt x="439875" y="94569"/>
                      </a:cubicBez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8" name="Freeform: Shape 17">
                  <a:extLst>
                    <a:ext uri="{FF2B5EF4-FFF2-40B4-BE49-F238E27FC236}">
                      <a16:creationId xmlns:a16="http://schemas.microsoft.com/office/drawing/2014/main" id="{7F55D448-B773-FEA2-F1F8-671C6827865A}"/>
                    </a:ext>
                  </a:extLst>
                </p:cNvPr>
                <p:cNvSpPr/>
                <p:nvPr/>
              </p:nvSpPr>
              <p:spPr>
                <a:xfrm>
                  <a:off x="9814945" y="1894431"/>
                  <a:ext cx="250769" cy="329896"/>
                </a:xfrm>
                <a:custGeom>
                  <a:avLst/>
                  <a:gdLst>
                    <a:gd name="connsiteX0" fmla="*/ 0 w 250769"/>
                    <a:gd name="connsiteY0" fmla="*/ 53883 h 329896"/>
                    <a:gd name="connsiteX1" fmla="*/ 0 w 250769"/>
                    <a:gd name="connsiteY1" fmla="*/ 170444 h 329896"/>
                    <a:gd name="connsiteX2" fmla="*/ 122112 w 250769"/>
                    <a:gd name="connsiteY2" fmla="*/ 327695 h 329896"/>
                    <a:gd name="connsiteX3" fmla="*/ 125385 w 250769"/>
                    <a:gd name="connsiteY3" fmla="*/ 329896 h 329896"/>
                    <a:gd name="connsiteX4" fmla="*/ 128657 w 250769"/>
                    <a:gd name="connsiteY4" fmla="*/ 327695 h 329896"/>
                    <a:gd name="connsiteX5" fmla="*/ 250770 w 250769"/>
                    <a:gd name="connsiteY5" fmla="*/ 170444 h 329896"/>
                    <a:gd name="connsiteX6" fmla="*/ 250770 w 250769"/>
                    <a:gd name="connsiteY6" fmla="*/ 52783 h 329896"/>
                    <a:gd name="connsiteX7" fmla="*/ 125385 w 250769"/>
                    <a:gd name="connsiteY7" fmla="*/ 0 h 329896"/>
                    <a:gd name="connsiteX8" fmla="*/ 0 w 250769"/>
                    <a:gd name="connsiteY8" fmla="*/ 53883 h 329896"/>
                    <a:gd name="connsiteX9" fmla="*/ 234215 w 250769"/>
                    <a:gd name="connsiteY9" fmla="*/ 170444 h 329896"/>
                    <a:gd name="connsiteX10" fmla="*/ 133085 w 250769"/>
                    <a:gd name="connsiteY10" fmla="*/ 307899 h 329896"/>
                    <a:gd name="connsiteX11" fmla="*/ 133085 w 250769"/>
                    <a:gd name="connsiteY11" fmla="*/ 293603 h 329896"/>
                    <a:gd name="connsiteX12" fmla="*/ 133085 w 250769"/>
                    <a:gd name="connsiteY12" fmla="*/ 134157 h 329896"/>
                    <a:gd name="connsiteX13" fmla="*/ 116594 w 250769"/>
                    <a:gd name="connsiteY13" fmla="*/ 134157 h 329896"/>
                    <a:gd name="connsiteX14" fmla="*/ 116594 w 250769"/>
                    <a:gd name="connsiteY14" fmla="*/ 293603 h 329896"/>
                    <a:gd name="connsiteX15" fmla="*/ 116594 w 250769"/>
                    <a:gd name="connsiteY15" fmla="*/ 307899 h 329896"/>
                    <a:gd name="connsiteX16" fmla="*/ 15400 w 250769"/>
                    <a:gd name="connsiteY16" fmla="*/ 170444 h 329896"/>
                    <a:gd name="connsiteX17" fmla="*/ 15400 w 250769"/>
                    <a:gd name="connsiteY17" fmla="*/ 64879 h 329896"/>
                    <a:gd name="connsiteX18" fmla="*/ 116594 w 250769"/>
                    <a:gd name="connsiteY18" fmla="*/ 21993 h 329896"/>
                    <a:gd name="connsiteX19" fmla="*/ 116594 w 250769"/>
                    <a:gd name="connsiteY19" fmla="*/ 35189 h 329896"/>
                    <a:gd name="connsiteX20" fmla="*/ 116594 w 250769"/>
                    <a:gd name="connsiteY20" fmla="*/ 114364 h 329896"/>
                    <a:gd name="connsiteX21" fmla="*/ 133085 w 250769"/>
                    <a:gd name="connsiteY21" fmla="*/ 114364 h 329896"/>
                    <a:gd name="connsiteX22" fmla="*/ 133085 w 250769"/>
                    <a:gd name="connsiteY22" fmla="*/ 35189 h 329896"/>
                    <a:gd name="connsiteX23" fmla="*/ 133085 w 250769"/>
                    <a:gd name="connsiteY23" fmla="*/ 21993 h 329896"/>
                    <a:gd name="connsiteX24" fmla="*/ 234215 w 250769"/>
                    <a:gd name="connsiteY24" fmla="*/ 64879 h 329896"/>
                    <a:gd name="connsiteX25" fmla="*/ 234215 w 250769"/>
                    <a:gd name="connsiteY25" fmla="*/ 170444 h 3298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250769" h="329896">
                      <a:moveTo>
                        <a:pt x="0" y="53883"/>
                      </a:moveTo>
                      <a:lnTo>
                        <a:pt x="0" y="170444"/>
                      </a:lnTo>
                      <a:cubicBezTo>
                        <a:pt x="3336" y="233124"/>
                        <a:pt x="48382" y="290304"/>
                        <a:pt x="122112" y="327695"/>
                      </a:cubicBezTo>
                      <a:lnTo>
                        <a:pt x="125385" y="329896"/>
                      </a:lnTo>
                      <a:lnTo>
                        <a:pt x="128657" y="327695"/>
                      </a:lnTo>
                      <a:cubicBezTo>
                        <a:pt x="202322" y="290304"/>
                        <a:pt x="246342" y="233124"/>
                        <a:pt x="250770" y="170444"/>
                      </a:cubicBezTo>
                      <a:lnTo>
                        <a:pt x="250770" y="52783"/>
                      </a:lnTo>
                      <a:lnTo>
                        <a:pt x="125385" y="0"/>
                      </a:lnTo>
                      <a:lnTo>
                        <a:pt x="0" y="53883"/>
                      </a:lnTo>
                      <a:close/>
                      <a:moveTo>
                        <a:pt x="234215" y="170444"/>
                      </a:moveTo>
                      <a:cubicBezTo>
                        <a:pt x="230942" y="224326"/>
                        <a:pt x="194687" y="273813"/>
                        <a:pt x="133085" y="307899"/>
                      </a:cubicBezTo>
                      <a:lnTo>
                        <a:pt x="133085" y="293603"/>
                      </a:lnTo>
                      <a:lnTo>
                        <a:pt x="133085" y="134157"/>
                      </a:lnTo>
                      <a:lnTo>
                        <a:pt x="116594" y="134157"/>
                      </a:lnTo>
                      <a:lnTo>
                        <a:pt x="116594" y="293603"/>
                      </a:lnTo>
                      <a:lnTo>
                        <a:pt x="116594" y="307899"/>
                      </a:lnTo>
                      <a:cubicBezTo>
                        <a:pt x="54992" y="273813"/>
                        <a:pt x="18737" y="224326"/>
                        <a:pt x="15400" y="170444"/>
                      </a:cubicBezTo>
                      <a:lnTo>
                        <a:pt x="15400" y="64879"/>
                      </a:lnTo>
                      <a:lnTo>
                        <a:pt x="116594" y="21993"/>
                      </a:lnTo>
                      <a:lnTo>
                        <a:pt x="116594" y="35189"/>
                      </a:lnTo>
                      <a:lnTo>
                        <a:pt x="116594" y="114364"/>
                      </a:lnTo>
                      <a:lnTo>
                        <a:pt x="133085" y="114364"/>
                      </a:lnTo>
                      <a:lnTo>
                        <a:pt x="133085" y="35189"/>
                      </a:lnTo>
                      <a:lnTo>
                        <a:pt x="133085" y="21993"/>
                      </a:lnTo>
                      <a:lnTo>
                        <a:pt x="234215" y="64879"/>
                      </a:lnTo>
                      <a:lnTo>
                        <a:pt x="234215" y="170444"/>
                      </a:ln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</p:grp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99606790-2031-1A99-C6DD-0F8D1D1CF279}"/>
                  </a:ext>
                </a:extLst>
              </p:cNvPr>
              <p:cNvSpPr txBox="1"/>
              <p:nvPr/>
            </p:nvSpPr>
            <p:spPr>
              <a:xfrm>
                <a:off x="9558720" y="2194983"/>
                <a:ext cx="961610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Cloud Guard</a:t>
                </a:r>
              </a:p>
            </p:txBody>
          </p:sp>
        </p:grpSp>
        <p:grpSp>
          <p:nvGrpSpPr>
            <p:cNvPr id="19" name="Graphic 3">
              <a:extLst>
                <a:ext uri="{FF2B5EF4-FFF2-40B4-BE49-F238E27FC236}">
                  <a16:creationId xmlns:a16="http://schemas.microsoft.com/office/drawing/2014/main" id="{9B305ED1-2FDA-12FF-E2FC-7667C2205B80}"/>
                </a:ext>
              </a:extLst>
            </p:cNvPr>
            <p:cNvGrpSpPr/>
            <p:nvPr/>
          </p:nvGrpSpPr>
          <p:grpSpPr>
            <a:xfrm>
              <a:off x="5547193" y="1058005"/>
              <a:ext cx="1030475" cy="933660"/>
              <a:chOff x="896253" y="3005488"/>
              <a:chExt cx="1030475" cy="933660"/>
            </a:xfrm>
          </p:grpSpPr>
          <p:grpSp>
            <p:nvGrpSpPr>
              <p:cNvPr id="20" name="Graphic 3">
                <a:extLst>
                  <a:ext uri="{FF2B5EF4-FFF2-40B4-BE49-F238E27FC236}">
                    <a16:creationId xmlns:a16="http://schemas.microsoft.com/office/drawing/2014/main" id="{CB6DC953-E2BA-96CF-AA33-6802CB7C24D6}"/>
                  </a:ext>
                </a:extLst>
              </p:cNvPr>
              <p:cNvGrpSpPr/>
              <p:nvPr/>
            </p:nvGrpSpPr>
            <p:grpSpPr>
              <a:xfrm>
                <a:off x="1152516" y="3005488"/>
                <a:ext cx="499082" cy="513347"/>
                <a:chOff x="1152516" y="3005488"/>
                <a:chExt cx="499082" cy="513347"/>
              </a:xfrm>
            </p:grpSpPr>
            <p:grpSp>
              <p:nvGrpSpPr>
                <p:cNvPr id="24" name="Graphic 3">
                  <a:extLst>
                    <a:ext uri="{FF2B5EF4-FFF2-40B4-BE49-F238E27FC236}">
                      <a16:creationId xmlns:a16="http://schemas.microsoft.com/office/drawing/2014/main" id="{F7461C57-2773-4C73-B301-088A55767287}"/>
                    </a:ext>
                  </a:extLst>
                </p:cNvPr>
                <p:cNvGrpSpPr/>
                <p:nvPr/>
              </p:nvGrpSpPr>
              <p:grpSpPr>
                <a:xfrm>
                  <a:off x="1152516" y="3005488"/>
                  <a:ext cx="499082" cy="513347"/>
                  <a:chOff x="1152516" y="3005488"/>
                  <a:chExt cx="499082" cy="513347"/>
                </a:xfrm>
                <a:solidFill>
                  <a:srgbClr val="FFFFFF"/>
                </a:solidFill>
              </p:grpSpPr>
              <p:sp>
                <p:nvSpPr>
                  <p:cNvPr id="48" name="Freeform: Shape 47">
                    <a:extLst>
                      <a:ext uri="{FF2B5EF4-FFF2-40B4-BE49-F238E27FC236}">
                        <a16:creationId xmlns:a16="http://schemas.microsoft.com/office/drawing/2014/main" id="{3759C792-4F05-A549-05E4-2CA78B7B3CD3}"/>
                      </a:ext>
                    </a:extLst>
                  </p:cNvPr>
                  <p:cNvSpPr/>
                  <p:nvPr/>
                </p:nvSpPr>
                <p:spPr>
                  <a:xfrm>
                    <a:off x="1158624" y="3011597"/>
                    <a:ext cx="486852" cy="501129"/>
                  </a:xfrm>
                  <a:custGeom>
                    <a:avLst/>
                    <a:gdLst>
                      <a:gd name="connsiteX0" fmla="*/ 0 w 486852"/>
                      <a:gd name="connsiteY0" fmla="*/ 501130 h 501129"/>
                      <a:gd name="connsiteX1" fmla="*/ 0 w 486852"/>
                      <a:gd name="connsiteY1" fmla="*/ 202894 h 501129"/>
                      <a:gd name="connsiteX2" fmla="*/ 238533 w 486852"/>
                      <a:gd name="connsiteY2" fmla="*/ 202894 h 501129"/>
                      <a:gd name="connsiteX3" fmla="*/ 238533 w 486852"/>
                      <a:gd name="connsiteY3" fmla="*/ 101450 h 501129"/>
                      <a:gd name="connsiteX4" fmla="*/ 283798 w 486852"/>
                      <a:gd name="connsiteY4" fmla="*/ 81892 h 501129"/>
                      <a:gd name="connsiteX5" fmla="*/ 283798 w 486852"/>
                      <a:gd name="connsiteY5" fmla="*/ 78228 h 501129"/>
                      <a:gd name="connsiteX6" fmla="*/ 283798 w 486852"/>
                      <a:gd name="connsiteY6" fmla="*/ 70893 h 501129"/>
                      <a:gd name="connsiteX7" fmla="*/ 362083 w 486852"/>
                      <a:gd name="connsiteY7" fmla="*/ 0 h 501129"/>
                      <a:gd name="connsiteX8" fmla="*/ 439149 w 486852"/>
                      <a:gd name="connsiteY8" fmla="*/ 69674 h 501129"/>
                      <a:gd name="connsiteX9" fmla="*/ 439149 w 486852"/>
                      <a:gd name="connsiteY9" fmla="*/ 78228 h 501129"/>
                      <a:gd name="connsiteX10" fmla="*/ 439149 w 486852"/>
                      <a:gd name="connsiteY10" fmla="*/ 80672 h 501129"/>
                      <a:gd name="connsiteX11" fmla="*/ 486852 w 486852"/>
                      <a:gd name="connsiteY11" fmla="*/ 100225 h 501129"/>
                      <a:gd name="connsiteX12" fmla="*/ 486852 w 486852"/>
                      <a:gd name="connsiteY12" fmla="*/ 215118 h 501129"/>
                      <a:gd name="connsiteX13" fmla="*/ 429364 w 486852"/>
                      <a:gd name="connsiteY13" fmla="*/ 326348 h 501129"/>
                      <a:gd name="connsiteX14" fmla="*/ 481963 w 486852"/>
                      <a:gd name="connsiteY14" fmla="*/ 378902 h 501129"/>
                      <a:gd name="connsiteX15" fmla="*/ 459946 w 486852"/>
                      <a:gd name="connsiteY15" fmla="*/ 400905 h 501129"/>
                      <a:gd name="connsiteX16" fmla="*/ 447709 w 486852"/>
                      <a:gd name="connsiteY16" fmla="*/ 388681 h 501129"/>
                      <a:gd name="connsiteX17" fmla="*/ 447709 w 486852"/>
                      <a:gd name="connsiteY17" fmla="*/ 501130 h 501129"/>
                      <a:gd name="connsiteX18" fmla="*/ 0 w 486852"/>
                      <a:gd name="connsiteY18" fmla="*/ 501130 h 5011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486852" h="501129">
                        <a:moveTo>
                          <a:pt x="0" y="501130"/>
                        </a:moveTo>
                        <a:lnTo>
                          <a:pt x="0" y="202894"/>
                        </a:lnTo>
                        <a:lnTo>
                          <a:pt x="238533" y="202894"/>
                        </a:lnTo>
                        <a:lnTo>
                          <a:pt x="238533" y="101450"/>
                        </a:lnTo>
                        <a:lnTo>
                          <a:pt x="283798" y="81892"/>
                        </a:lnTo>
                        <a:cubicBezTo>
                          <a:pt x="283798" y="80672"/>
                          <a:pt x="283798" y="79447"/>
                          <a:pt x="283798" y="78228"/>
                        </a:cubicBezTo>
                        <a:cubicBezTo>
                          <a:pt x="283798" y="75783"/>
                          <a:pt x="283798" y="73338"/>
                          <a:pt x="283798" y="70893"/>
                        </a:cubicBezTo>
                        <a:cubicBezTo>
                          <a:pt x="287468" y="30557"/>
                          <a:pt x="320496" y="0"/>
                          <a:pt x="362083" y="0"/>
                        </a:cubicBezTo>
                        <a:cubicBezTo>
                          <a:pt x="402452" y="0"/>
                          <a:pt x="435479" y="29338"/>
                          <a:pt x="439149" y="69674"/>
                        </a:cubicBezTo>
                        <a:cubicBezTo>
                          <a:pt x="439149" y="72113"/>
                          <a:pt x="439149" y="75783"/>
                          <a:pt x="439149" y="78228"/>
                        </a:cubicBezTo>
                        <a:cubicBezTo>
                          <a:pt x="439149" y="79447"/>
                          <a:pt x="439149" y="80672"/>
                          <a:pt x="439149" y="80672"/>
                        </a:cubicBezTo>
                        <a:lnTo>
                          <a:pt x="486852" y="100225"/>
                        </a:lnTo>
                        <a:lnTo>
                          <a:pt x="486852" y="215118"/>
                        </a:lnTo>
                        <a:cubicBezTo>
                          <a:pt x="484407" y="256674"/>
                          <a:pt x="464836" y="294565"/>
                          <a:pt x="429364" y="326348"/>
                        </a:cubicBezTo>
                        <a:lnTo>
                          <a:pt x="481963" y="378902"/>
                        </a:lnTo>
                        <a:lnTo>
                          <a:pt x="459946" y="400905"/>
                        </a:lnTo>
                        <a:lnTo>
                          <a:pt x="447709" y="388681"/>
                        </a:lnTo>
                        <a:lnTo>
                          <a:pt x="447709" y="501130"/>
                        </a:lnTo>
                        <a:lnTo>
                          <a:pt x="0" y="50113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49" name="Freeform: Shape 48">
                    <a:extLst>
                      <a:ext uri="{FF2B5EF4-FFF2-40B4-BE49-F238E27FC236}">
                        <a16:creationId xmlns:a16="http://schemas.microsoft.com/office/drawing/2014/main" id="{2209E789-1A98-BAEB-08D2-172130618A91}"/>
                      </a:ext>
                    </a:extLst>
                  </p:cNvPr>
                  <p:cNvSpPr/>
                  <p:nvPr/>
                </p:nvSpPr>
                <p:spPr>
                  <a:xfrm>
                    <a:off x="1152516" y="3005488"/>
                    <a:ext cx="499082" cy="513347"/>
                  </a:xfrm>
                  <a:custGeom>
                    <a:avLst/>
                    <a:gdLst>
                      <a:gd name="connsiteX0" fmla="*/ 368198 w 499082"/>
                      <a:gd name="connsiteY0" fmla="*/ 12224 h 513347"/>
                      <a:gd name="connsiteX1" fmla="*/ 440369 w 499082"/>
                      <a:gd name="connsiteY1" fmla="*/ 75783 h 513347"/>
                      <a:gd name="connsiteX2" fmla="*/ 440369 w 499082"/>
                      <a:gd name="connsiteY2" fmla="*/ 84337 h 513347"/>
                      <a:gd name="connsiteX3" fmla="*/ 440369 w 499082"/>
                      <a:gd name="connsiteY3" fmla="*/ 91671 h 513347"/>
                      <a:gd name="connsiteX4" fmla="*/ 488078 w 499082"/>
                      <a:gd name="connsiteY4" fmla="*/ 112449 h 513347"/>
                      <a:gd name="connsiteX5" fmla="*/ 488078 w 499082"/>
                      <a:gd name="connsiteY5" fmla="*/ 222453 h 513347"/>
                      <a:gd name="connsiteX6" fmla="*/ 428138 w 499082"/>
                      <a:gd name="connsiteY6" fmla="*/ 333676 h 513347"/>
                      <a:gd name="connsiteX7" fmla="*/ 480737 w 499082"/>
                      <a:gd name="connsiteY7" fmla="*/ 386230 h 513347"/>
                      <a:gd name="connsiteX8" fmla="*/ 468506 w 499082"/>
                      <a:gd name="connsiteY8" fmla="*/ 398454 h 513347"/>
                      <a:gd name="connsiteX9" fmla="*/ 450154 w 499082"/>
                      <a:gd name="connsiteY9" fmla="*/ 380121 h 513347"/>
                      <a:gd name="connsiteX10" fmla="*/ 450154 w 499082"/>
                      <a:gd name="connsiteY10" fmla="*/ 501123 h 513347"/>
                      <a:gd name="connsiteX11" fmla="*/ 12231 w 499082"/>
                      <a:gd name="connsiteY11" fmla="*/ 501123 h 513347"/>
                      <a:gd name="connsiteX12" fmla="*/ 12231 w 499082"/>
                      <a:gd name="connsiteY12" fmla="*/ 215118 h 513347"/>
                      <a:gd name="connsiteX13" fmla="*/ 250764 w 499082"/>
                      <a:gd name="connsiteY13" fmla="*/ 215118 h 513347"/>
                      <a:gd name="connsiteX14" fmla="*/ 250764 w 499082"/>
                      <a:gd name="connsiteY14" fmla="*/ 111223 h 513347"/>
                      <a:gd name="connsiteX15" fmla="*/ 296028 w 499082"/>
                      <a:gd name="connsiteY15" fmla="*/ 91671 h 513347"/>
                      <a:gd name="connsiteX16" fmla="*/ 296028 w 499082"/>
                      <a:gd name="connsiteY16" fmla="*/ 84337 h 513347"/>
                      <a:gd name="connsiteX17" fmla="*/ 296028 w 499082"/>
                      <a:gd name="connsiteY17" fmla="*/ 77002 h 513347"/>
                      <a:gd name="connsiteX18" fmla="*/ 368198 w 499082"/>
                      <a:gd name="connsiteY18" fmla="*/ 12224 h 513347"/>
                      <a:gd name="connsiteX19" fmla="*/ 368198 w 499082"/>
                      <a:gd name="connsiteY19" fmla="*/ 0 h 513347"/>
                      <a:gd name="connsiteX20" fmla="*/ 283791 w 499082"/>
                      <a:gd name="connsiteY20" fmla="*/ 75783 h 513347"/>
                      <a:gd name="connsiteX21" fmla="*/ 283791 w 499082"/>
                      <a:gd name="connsiteY21" fmla="*/ 84337 h 513347"/>
                      <a:gd name="connsiteX22" fmla="*/ 245874 w 499082"/>
                      <a:gd name="connsiteY22" fmla="*/ 100225 h 513347"/>
                      <a:gd name="connsiteX23" fmla="*/ 238533 w 499082"/>
                      <a:gd name="connsiteY23" fmla="*/ 103889 h 513347"/>
                      <a:gd name="connsiteX24" fmla="*/ 238533 w 499082"/>
                      <a:gd name="connsiteY24" fmla="*/ 112449 h 513347"/>
                      <a:gd name="connsiteX25" fmla="*/ 238533 w 499082"/>
                      <a:gd name="connsiteY25" fmla="*/ 204120 h 513347"/>
                      <a:gd name="connsiteX26" fmla="*/ 12231 w 499082"/>
                      <a:gd name="connsiteY26" fmla="*/ 204120 h 513347"/>
                      <a:gd name="connsiteX27" fmla="*/ 0 w 499082"/>
                      <a:gd name="connsiteY27" fmla="*/ 204120 h 513347"/>
                      <a:gd name="connsiteX28" fmla="*/ 0 w 499082"/>
                      <a:gd name="connsiteY28" fmla="*/ 216337 h 513347"/>
                      <a:gd name="connsiteX29" fmla="*/ 0 w 499082"/>
                      <a:gd name="connsiteY29" fmla="*/ 501123 h 513347"/>
                      <a:gd name="connsiteX30" fmla="*/ 0 w 499082"/>
                      <a:gd name="connsiteY30" fmla="*/ 513347 h 513347"/>
                      <a:gd name="connsiteX31" fmla="*/ 12231 w 499082"/>
                      <a:gd name="connsiteY31" fmla="*/ 513347 h 513347"/>
                      <a:gd name="connsiteX32" fmla="*/ 448935 w 499082"/>
                      <a:gd name="connsiteY32" fmla="*/ 513347 h 513347"/>
                      <a:gd name="connsiteX33" fmla="*/ 461166 w 499082"/>
                      <a:gd name="connsiteY33" fmla="*/ 513347 h 513347"/>
                      <a:gd name="connsiteX34" fmla="*/ 461166 w 499082"/>
                      <a:gd name="connsiteY34" fmla="*/ 501123 h 513347"/>
                      <a:gd name="connsiteX35" fmla="*/ 461166 w 499082"/>
                      <a:gd name="connsiteY35" fmla="*/ 409459 h 513347"/>
                      <a:gd name="connsiteX36" fmla="*/ 467281 w 499082"/>
                      <a:gd name="connsiteY36" fmla="*/ 415567 h 513347"/>
                      <a:gd name="connsiteX37" fmla="*/ 475841 w 499082"/>
                      <a:gd name="connsiteY37" fmla="*/ 407014 h 513347"/>
                      <a:gd name="connsiteX38" fmla="*/ 488078 w 499082"/>
                      <a:gd name="connsiteY38" fmla="*/ 394790 h 513347"/>
                      <a:gd name="connsiteX39" fmla="*/ 496638 w 499082"/>
                      <a:gd name="connsiteY39" fmla="*/ 386230 h 513347"/>
                      <a:gd name="connsiteX40" fmla="*/ 488078 w 499082"/>
                      <a:gd name="connsiteY40" fmla="*/ 377676 h 513347"/>
                      <a:gd name="connsiteX41" fmla="*/ 445265 w 499082"/>
                      <a:gd name="connsiteY41" fmla="*/ 334895 h 513347"/>
                      <a:gd name="connsiteX42" fmla="*/ 499083 w 499082"/>
                      <a:gd name="connsiteY42" fmla="*/ 223672 h 513347"/>
                      <a:gd name="connsiteX43" fmla="*/ 499083 w 499082"/>
                      <a:gd name="connsiteY43" fmla="*/ 113668 h 513347"/>
                      <a:gd name="connsiteX44" fmla="*/ 499083 w 499082"/>
                      <a:gd name="connsiteY44" fmla="*/ 103889 h 513347"/>
                      <a:gd name="connsiteX45" fmla="*/ 491748 w 499082"/>
                      <a:gd name="connsiteY45" fmla="*/ 100225 h 513347"/>
                      <a:gd name="connsiteX46" fmla="*/ 452599 w 499082"/>
                      <a:gd name="connsiteY46" fmla="*/ 83111 h 513347"/>
                      <a:gd name="connsiteX47" fmla="*/ 452599 w 499082"/>
                      <a:gd name="connsiteY47" fmla="*/ 74557 h 513347"/>
                      <a:gd name="connsiteX48" fmla="*/ 368198 w 499082"/>
                      <a:gd name="connsiteY48" fmla="*/ 0 h 5133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</a:cxnLst>
                    <a:rect l="l" t="t" r="r" b="b"/>
                    <a:pathLst>
                      <a:path w="499082" h="513347">
                        <a:moveTo>
                          <a:pt x="368198" y="12224"/>
                        </a:moveTo>
                        <a:cubicBezTo>
                          <a:pt x="404896" y="12224"/>
                          <a:pt x="435479" y="40336"/>
                          <a:pt x="440369" y="75783"/>
                        </a:cubicBezTo>
                        <a:cubicBezTo>
                          <a:pt x="440369" y="78221"/>
                          <a:pt x="440369" y="80666"/>
                          <a:pt x="440369" y="84337"/>
                        </a:cubicBezTo>
                        <a:cubicBezTo>
                          <a:pt x="440369" y="86781"/>
                          <a:pt x="440369" y="89226"/>
                          <a:pt x="440369" y="91671"/>
                        </a:cubicBezTo>
                        <a:lnTo>
                          <a:pt x="488078" y="112449"/>
                        </a:lnTo>
                        <a:lnTo>
                          <a:pt x="488078" y="222453"/>
                        </a:lnTo>
                        <a:cubicBezTo>
                          <a:pt x="485627" y="264008"/>
                          <a:pt x="464836" y="303119"/>
                          <a:pt x="428138" y="333676"/>
                        </a:cubicBezTo>
                        <a:lnTo>
                          <a:pt x="480737" y="386230"/>
                        </a:lnTo>
                        <a:lnTo>
                          <a:pt x="468506" y="398454"/>
                        </a:lnTo>
                        <a:lnTo>
                          <a:pt x="450154" y="380121"/>
                        </a:lnTo>
                        <a:lnTo>
                          <a:pt x="450154" y="501123"/>
                        </a:lnTo>
                        <a:lnTo>
                          <a:pt x="12231" y="501123"/>
                        </a:lnTo>
                        <a:lnTo>
                          <a:pt x="12231" y="215118"/>
                        </a:lnTo>
                        <a:lnTo>
                          <a:pt x="250764" y="215118"/>
                        </a:lnTo>
                        <a:lnTo>
                          <a:pt x="250764" y="111223"/>
                        </a:lnTo>
                        <a:lnTo>
                          <a:pt x="296028" y="91671"/>
                        </a:lnTo>
                        <a:cubicBezTo>
                          <a:pt x="296028" y="89226"/>
                          <a:pt x="296028" y="86781"/>
                          <a:pt x="296028" y="84337"/>
                        </a:cubicBezTo>
                        <a:cubicBezTo>
                          <a:pt x="296028" y="81892"/>
                          <a:pt x="296028" y="79447"/>
                          <a:pt x="296028" y="77002"/>
                        </a:cubicBezTo>
                        <a:cubicBezTo>
                          <a:pt x="299692" y="40336"/>
                          <a:pt x="330275" y="12224"/>
                          <a:pt x="368198" y="12224"/>
                        </a:cubicBezTo>
                        <a:close/>
                        <a:moveTo>
                          <a:pt x="368198" y="0"/>
                        </a:moveTo>
                        <a:cubicBezTo>
                          <a:pt x="324160" y="0"/>
                          <a:pt x="288687" y="33002"/>
                          <a:pt x="283791" y="75783"/>
                        </a:cubicBezTo>
                        <a:cubicBezTo>
                          <a:pt x="283791" y="78221"/>
                          <a:pt x="283791" y="80666"/>
                          <a:pt x="283791" y="84337"/>
                        </a:cubicBezTo>
                        <a:lnTo>
                          <a:pt x="245874" y="100225"/>
                        </a:lnTo>
                        <a:lnTo>
                          <a:pt x="238533" y="103889"/>
                        </a:lnTo>
                        <a:lnTo>
                          <a:pt x="238533" y="112449"/>
                        </a:lnTo>
                        <a:lnTo>
                          <a:pt x="238533" y="204120"/>
                        </a:lnTo>
                        <a:lnTo>
                          <a:pt x="12231" y="204120"/>
                        </a:lnTo>
                        <a:lnTo>
                          <a:pt x="0" y="204120"/>
                        </a:lnTo>
                        <a:lnTo>
                          <a:pt x="0" y="216337"/>
                        </a:lnTo>
                        <a:lnTo>
                          <a:pt x="0" y="501123"/>
                        </a:lnTo>
                        <a:lnTo>
                          <a:pt x="0" y="513347"/>
                        </a:lnTo>
                        <a:lnTo>
                          <a:pt x="12231" y="513347"/>
                        </a:lnTo>
                        <a:lnTo>
                          <a:pt x="448935" y="513347"/>
                        </a:lnTo>
                        <a:lnTo>
                          <a:pt x="461166" y="513347"/>
                        </a:lnTo>
                        <a:lnTo>
                          <a:pt x="461166" y="501123"/>
                        </a:lnTo>
                        <a:lnTo>
                          <a:pt x="461166" y="409459"/>
                        </a:lnTo>
                        <a:lnTo>
                          <a:pt x="467281" y="415567"/>
                        </a:lnTo>
                        <a:lnTo>
                          <a:pt x="475841" y="407014"/>
                        </a:lnTo>
                        <a:lnTo>
                          <a:pt x="488078" y="394790"/>
                        </a:lnTo>
                        <a:lnTo>
                          <a:pt x="496638" y="386230"/>
                        </a:lnTo>
                        <a:lnTo>
                          <a:pt x="488078" y="377676"/>
                        </a:lnTo>
                        <a:lnTo>
                          <a:pt x="445265" y="334895"/>
                        </a:lnTo>
                        <a:cubicBezTo>
                          <a:pt x="478292" y="303119"/>
                          <a:pt x="496638" y="264008"/>
                          <a:pt x="499083" y="223672"/>
                        </a:cubicBezTo>
                        <a:lnTo>
                          <a:pt x="499083" y="113668"/>
                        </a:lnTo>
                        <a:lnTo>
                          <a:pt x="499083" y="103889"/>
                        </a:lnTo>
                        <a:lnTo>
                          <a:pt x="491748" y="100225"/>
                        </a:lnTo>
                        <a:lnTo>
                          <a:pt x="452599" y="83111"/>
                        </a:lnTo>
                        <a:cubicBezTo>
                          <a:pt x="452599" y="80666"/>
                          <a:pt x="452599" y="78221"/>
                          <a:pt x="452599" y="74557"/>
                        </a:cubicBezTo>
                        <a:cubicBezTo>
                          <a:pt x="446484" y="31776"/>
                          <a:pt x="411012" y="0"/>
                          <a:pt x="368198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  <p:grpSp>
              <p:nvGrpSpPr>
                <p:cNvPr id="25" name="Graphic 3">
                  <a:extLst>
                    <a:ext uri="{FF2B5EF4-FFF2-40B4-BE49-F238E27FC236}">
                      <a16:creationId xmlns:a16="http://schemas.microsoft.com/office/drawing/2014/main" id="{F640C5C9-0219-A3A9-55E8-1E2A91E9FA70}"/>
                    </a:ext>
                  </a:extLst>
                </p:cNvPr>
                <p:cNvGrpSpPr/>
                <p:nvPr/>
              </p:nvGrpSpPr>
              <p:grpSpPr>
                <a:xfrm>
                  <a:off x="1164733" y="3017712"/>
                  <a:ext cx="473408" cy="488899"/>
                  <a:chOff x="1164733" y="3017712"/>
                  <a:chExt cx="473408" cy="488899"/>
                </a:xfrm>
                <a:solidFill>
                  <a:srgbClr val="2D5967"/>
                </a:solidFill>
              </p:grpSpPr>
              <p:sp>
                <p:nvSpPr>
                  <p:cNvPr id="26" name="Freeform: Shape 25">
                    <a:extLst>
                      <a:ext uri="{FF2B5EF4-FFF2-40B4-BE49-F238E27FC236}">
                        <a16:creationId xmlns:a16="http://schemas.microsoft.com/office/drawing/2014/main" id="{097EDF63-0C1C-1035-9E20-E0F6EF43F99B}"/>
                      </a:ext>
                    </a:extLst>
                  </p:cNvPr>
                  <p:cNvSpPr/>
                  <p:nvPr/>
                </p:nvSpPr>
                <p:spPr>
                  <a:xfrm>
                    <a:off x="1564746" y="3469945"/>
                    <a:ext cx="36697" cy="36665"/>
                  </a:xfrm>
                  <a:custGeom>
                    <a:avLst/>
                    <a:gdLst>
                      <a:gd name="connsiteX0" fmla="*/ 18352 w 36697"/>
                      <a:gd name="connsiteY0" fmla="*/ 18333 h 36665"/>
                      <a:gd name="connsiteX1" fmla="*/ 0 w 36697"/>
                      <a:gd name="connsiteY1" fmla="*/ 18333 h 36665"/>
                      <a:gd name="connsiteX2" fmla="*/ 0 w 36697"/>
                      <a:gd name="connsiteY2" fmla="*/ 36666 h 36665"/>
                      <a:gd name="connsiteX3" fmla="*/ 36698 w 36697"/>
                      <a:gd name="connsiteY3" fmla="*/ 36666 h 36665"/>
                      <a:gd name="connsiteX4" fmla="*/ 36698 w 36697"/>
                      <a:gd name="connsiteY4" fmla="*/ 0 h 36665"/>
                      <a:gd name="connsiteX5" fmla="*/ 18352 w 36697"/>
                      <a:gd name="connsiteY5" fmla="*/ 0 h 36665"/>
                      <a:gd name="connsiteX6" fmla="*/ 18352 w 36697"/>
                      <a:gd name="connsiteY6" fmla="*/ 18333 h 366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6697" h="36665">
                        <a:moveTo>
                          <a:pt x="18352" y="18333"/>
                        </a:moveTo>
                        <a:lnTo>
                          <a:pt x="0" y="18333"/>
                        </a:lnTo>
                        <a:lnTo>
                          <a:pt x="0" y="36666"/>
                        </a:lnTo>
                        <a:lnTo>
                          <a:pt x="36698" y="36666"/>
                        </a:lnTo>
                        <a:lnTo>
                          <a:pt x="36698" y="0"/>
                        </a:lnTo>
                        <a:lnTo>
                          <a:pt x="18352" y="0"/>
                        </a:lnTo>
                        <a:lnTo>
                          <a:pt x="18352" y="18333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7" name="Freeform: Shape 26">
                    <a:extLst>
                      <a:ext uri="{FF2B5EF4-FFF2-40B4-BE49-F238E27FC236}">
                        <a16:creationId xmlns:a16="http://schemas.microsoft.com/office/drawing/2014/main" id="{3235992C-AD57-0FF4-7C6F-1959D78D1D69}"/>
                      </a:ext>
                    </a:extLst>
                  </p:cNvPr>
                  <p:cNvSpPr/>
                  <p:nvPr/>
                </p:nvSpPr>
                <p:spPr>
                  <a:xfrm>
                    <a:off x="1164733" y="3469945"/>
                    <a:ext cx="36697" cy="36665"/>
                  </a:xfrm>
                  <a:custGeom>
                    <a:avLst/>
                    <a:gdLst>
                      <a:gd name="connsiteX0" fmla="*/ 18352 w 36697"/>
                      <a:gd name="connsiteY0" fmla="*/ 0 h 36665"/>
                      <a:gd name="connsiteX1" fmla="*/ 0 w 36697"/>
                      <a:gd name="connsiteY1" fmla="*/ 0 h 36665"/>
                      <a:gd name="connsiteX2" fmla="*/ 0 w 36697"/>
                      <a:gd name="connsiteY2" fmla="*/ 36666 h 36665"/>
                      <a:gd name="connsiteX3" fmla="*/ 36698 w 36697"/>
                      <a:gd name="connsiteY3" fmla="*/ 36666 h 36665"/>
                      <a:gd name="connsiteX4" fmla="*/ 36698 w 36697"/>
                      <a:gd name="connsiteY4" fmla="*/ 18333 h 36665"/>
                      <a:gd name="connsiteX5" fmla="*/ 18352 w 36697"/>
                      <a:gd name="connsiteY5" fmla="*/ 18333 h 36665"/>
                      <a:gd name="connsiteX6" fmla="*/ 18352 w 36697"/>
                      <a:gd name="connsiteY6" fmla="*/ 0 h 366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6697" h="36665">
                        <a:moveTo>
                          <a:pt x="18352" y="0"/>
                        </a:moveTo>
                        <a:lnTo>
                          <a:pt x="0" y="0"/>
                        </a:lnTo>
                        <a:lnTo>
                          <a:pt x="0" y="36666"/>
                        </a:lnTo>
                        <a:lnTo>
                          <a:pt x="36698" y="36666"/>
                        </a:lnTo>
                        <a:lnTo>
                          <a:pt x="36698" y="18333"/>
                        </a:lnTo>
                        <a:lnTo>
                          <a:pt x="18352" y="18333"/>
                        </a:lnTo>
                        <a:lnTo>
                          <a:pt x="18352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8" name="Freeform: Shape 27">
                    <a:extLst>
                      <a:ext uri="{FF2B5EF4-FFF2-40B4-BE49-F238E27FC236}">
                        <a16:creationId xmlns:a16="http://schemas.microsoft.com/office/drawing/2014/main" id="{748EC88F-F3C7-980D-3792-92A2731C4914}"/>
                      </a:ext>
                    </a:extLst>
                  </p:cNvPr>
                  <p:cNvSpPr/>
                  <p:nvPr/>
                </p:nvSpPr>
                <p:spPr>
                  <a:xfrm>
                    <a:off x="1164733" y="3220606"/>
                    <a:ext cx="36697" cy="36665"/>
                  </a:xfrm>
                  <a:custGeom>
                    <a:avLst/>
                    <a:gdLst>
                      <a:gd name="connsiteX0" fmla="*/ 0 w 36697"/>
                      <a:gd name="connsiteY0" fmla="*/ 36666 h 36665"/>
                      <a:gd name="connsiteX1" fmla="*/ 18352 w 36697"/>
                      <a:gd name="connsiteY1" fmla="*/ 36666 h 36665"/>
                      <a:gd name="connsiteX2" fmla="*/ 18352 w 36697"/>
                      <a:gd name="connsiteY2" fmla="*/ 18333 h 36665"/>
                      <a:gd name="connsiteX3" fmla="*/ 36698 w 36697"/>
                      <a:gd name="connsiteY3" fmla="*/ 18333 h 36665"/>
                      <a:gd name="connsiteX4" fmla="*/ 36698 w 36697"/>
                      <a:gd name="connsiteY4" fmla="*/ 0 h 36665"/>
                      <a:gd name="connsiteX5" fmla="*/ 0 w 36697"/>
                      <a:gd name="connsiteY5" fmla="*/ 0 h 36665"/>
                      <a:gd name="connsiteX6" fmla="*/ 0 w 36697"/>
                      <a:gd name="connsiteY6" fmla="*/ 36666 h 366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6697" h="36665">
                        <a:moveTo>
                          <a:pt x="0" y="36666"/>
                        </a:moveTo>
                        <a:lnTo>
                          <a:pt x="18352" y="36666"/>
                        </a:lnTo>
                        <a:lnTo>
                          <a:pt x="18352" y="18333"/>
                        </a:lnTo>
                        <a:lnTo>
                          <a:pt x="36698" y="18333"/>
                        </a:lnTo>
                        <a:lnTo>
                          <a:pt x="36698" y="0"/>
                        </a:lnTo>
                        <a:lnTo>
                          <a:pt x="0" y="0"/>
                        </a:lnTo>
                        <a:lnTo>
                          <a:pt x="0" y="36666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9" name="Freeform: Shape 28">
                    <a:extLst>
                      <a:ext uri="{FF2B5EF4-FFF2-40B4-BE49-F238E27FC236}">
                        <a16:creationId xmlns:a16="http://schemas.microsoft.com/office/drawing/2014/main" id="{62B1C984-F642-EBED-9907-4CC22A2B8387}"/>
                      </a:ext>
                    </a:extLst>
                  </p:cNvPr>
                  <p:cNvSpPr/>
                  <p:nvPr/>
                </p:nvSpPr>
                <p:spPr>
                  <a:xfrm>
                    <a:off x="1414291" y="3488278"/>
                    <a:ext cx="36697" cy="18332"/>
                  </a:xfrm>
                  <a:custGeom>
                    <a:avLst/>
                    <a:gdLst>
                      <a:gd name="connsiteX0" fmla="*/ 36698 w 36697"/>
                      <a:gd name="connsiteY0" fmla="*/ 0 h 18332"/>
                      <a:gd name="connsiteX1" fmla="*/ 0 w 36697"/>
                      <a:gd name="connsiteY1" fmla="*/ 0 h 18332"/>
                      <a:gd name="connsiteX2" fmla="*/ 0 w 36697"/>
                      <a:gd name="connsiteY2" fmla="*/ 18333 h 18332"/>
                      <a:gd name="connsiteX3" fmla="*/ 36698 w 36697"/>
                      <a:gd name="connsiteY3" fmla="*/ 18333 h 18332"/>
                      <a:gd name="connsiteX4" fmla="*/ 36698 w 36697"/>
                      <a:gd name="connsiteY4" fmla="*/ 0 h 183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6697" h="18332">
                        <a:moveTo>
                          <a:pt x="36698" y="0"/>
                        </a:moveTo>
                        <a:lnTo>
                          <a:pt x="0" y="0"/>
                        </a:lnTo>
                        <a:lnTo>
                          <a:pt x="0" y="18333"/>
                        </a:lnTo>
                        <a:lnTo>
                          <a:pt x="36698" y="18333"/>
                        </a:lnTo>
                        <a:lnTo>
                          <a:pt x="36698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0" name="Freeform: Shape 29">
                    <a:extLst>
                      <a:ext uri="{FF2B5EF4-FFF2-40B4-BE49-F238E27FC236}">
                        <a16:creationId xmlns:a16="http://schemas.microsoft.com/office/drawing/2014/main" id="{A595C823-6C57-458D-7805-9C1527312031}"/>
                      </a:ext>
                    </a:extLst>
                  </p:cNvPr>
                  <p:cNvSpPr/>
                  <p:nvPr/>
                </p:nvSpPr>
                <p:spPr>
                  <a:xfrm>
                    <a:off x="1464445" y="3488278"/>
                    <a:ext cx="36697" cy="18332"/>
                  </a:xfrm>
                  <a:custGeom>
                    <a:avLst/>
                    <a:gdLst>
                      <a:gd name="connsiteX0" fmla="*/ 36698 w 36697"/>
                      <a:gd name="connsiteY0" fmla="*/ 0 h 18332"/>
                      <a:gd name="connsiteX1" fmla="*/ 0 w 36697"/>
                      <a:gd name="connsiteY1" fmla="*/ 0 h 18332"/>
                      <a:gd name="connsiteX2" fmla="*/ 0 w 36697"/>
                      <a:gd name="connsiteY2" fmla="*/ 18333 h 18332"/>
                      <a:gd name="connsiteX3" fmla="*/ 36698 w 36697"/>
                      <a:gd name="connsiteY3" fmla="*/ 18333 h 18332"/>
                      <a:gd name="connsiteX4" fmla="*/ 36698 w 36697"/>
                      <a:gd name="connsiteY4" fmla="*/ 0 h 183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6697" h="18332">
                        <a:moveTo>
                          <a:pt x="36698" y="0"/>
                        </a:moveTo>
                        <a:lnTo>
                          <a:pt x="0" y="0"/>
                        </a:lnTo>
                        <a:lnTo>
                          <a:pt x="0" y="18333"/>
                        </a:lnTo>
                        <a:lnTo>
                          <a:pt x="36698" y="18333"/>
                        </a:lnTo>
                        <a:lnTo>
                          <a:pt x="36698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1" name="Freeform: Shape 30">
                    <a:extLst>
                      <a:ext uri="{FF2B5EF4-FFF2-40B4-BE49-F238E27FC236}">
                        <a16:creationId xmlns:a16="http://schemas.microsoft.com/office/drawing/2014/main" id="{9778EE82-0126-8D28-E660-56FA874D34FA}"/>
                      </a:ext>
                    </a:extLst>
                  </p:cNvPr>
                  <p:cNvSpPr/>
                  <p:nvPr/>
                </p:nvSpPr>
                <p:spPr>
                  <a:xfrm>
                    <a:off x="1514599" y="3488278"/>
                    <a:ext cx="36697" cy="18332"/>
                  </a:xfrm>
                  <a:custGeom>
                    <a:avLst/>
                    <a:gdLst>
                      <a:gd name="connsiteX0" fmla="*/ 36698 w 36697"/>
                      <a:gd name="connsiteY0" fmla="*/ 0 h 18332"/>
                      <a:gd name="connsiteX1" fmla="*/ 0 w 36697"/>
                      <a:gd name="connsiteY1" fmla="*/ 0 h 18332"/>
                      <a:gd name="connsiteX2" fmla="*/ 0 w 36697"/>
                      <a:gd name="connsiteY2" fmla="*/ 18333 h 18332"/>
                      <a:gd name="connsiteX3" fmla="*/ 36698 w 36697"/>
                      <a:gd name="connsiteY3" fmla="*/ 18333 h 18332"/>
                      <a:gd name="connsiteX4" fmla="*/ 36698 w 36697"/>
                      <a:gd name="connsiteY4" fmla="*/ 0 h 183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6697" h="18332">
                        <a:moveTo>
                          <a:pt x="36698" y="0"/>
                        </a:moveTo>
                        <a:lnTo>
                          <a:pt x="0" y="0"/>
                        </a:lnTo>
                        <a:lnTo>
                          <a:pt x="0" y="18333"/>
                        </a:lnTo>
                        <a:lnTo>
                          <a:pt x="36698" y="18333"/>
                        </a:lnTo>
                        <a:lnTo>
                          <a:pt x="36698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2" name="Freeform: Shape 31">
                    <a:extLst>
                      <a:ext uri="{FF2B5EF4-FFF2-40B4-BE49-F238E27FC236}">
                        <a16:creationId xmlns:a16="http://schemas.microsoft.com/office/drawing/2014/main" id="{EFB83EC7-060E-EBD1-6F35-F9C0D2F2B770}"/>
                      </a:ext>
                    </a:extLst>
                  </p:cNvPr>
                  <p:cNvSpPr/>
                  <p:nvPr/>
                </p:nvSpPr>
                <p:spPr>
                  <a:xfrm>
                    <a:off x="1364137" y="3488278"/>
                    <a:ext cx="36697" cy="18332"/>
                  </a:xfrm>
                  <a:custGeom>
                    <a:avLst/>
                    <a:gdLst>
                      <a:gd name="connsiteX0" fmla="*/ 36698 w 36697"/>
                      <a:gd name="connsiteY0" fmla="*/ 0 h 18332"/>
                      <a:gd name="connsiteX1" fmla="*/ 0 w 36697"/>
                      <a:gd name="connsiteY1" fmla="*/ 0 h 18332"/>
                      <a:gd name="connsiteX2" fmla="*/ 0 w 36697"/>
                      <a:gd name="connsiteY2" fmla="*/ 18333 h 18332"/>
                      <a:gd name="connsiteX3" fmla="*/ 36698 w 36697"/>
                      <a:gd name="connsiteY3" fmla="*/ 18333 h 18332"/>
                      <a:gd name="connsiteX4" fmla="*/ 36698 w 36697"/>
                      <a:gd name="connsiteY4" fmla="*/ 0 h 183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6697" h="18332">
                        <a:moveTo>
                          <a:pt x="36698" y="0"/>
                        </a:moveTo>
                        <a:lnTo>
                          <a:pt x="0" y="0"/>
                        </a:lnTo>
                        <a:lnTo>
                          <a:pt x="0" y="18333"/>
                        </a:lnTo>
                        <a:lnTo>
                          <a:pt x="36698" y="18333"/>
                        </a:lnTo>
                        <a:lnTo>
                          <a:pt x="36698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3" name="Freeform: Shape 32">
                    <a:extLst>
                      <a:ext uri="{FF2B5EF4-FFF2-40B4-BE49-F238E27FC236}">
                        <a16:creationId xmlns:a16="http://schemas.microsoft.com/office/drawing/2014/main" id="{4803A99F-0135-678C-A365-C1394A1D3F01}"/>
                      </a:ext>
                    </a:extLst>
                  </p:cNvPr>
                  <p:cNvSpPr/>
                  <p:nvPr/>
                </p:nvSpPr>
                <p:spPr>
                  <a:xfrm>
                    <a:off x="1313983" y="3488278"/>
                    <a:ext cx="36697" cy="18332"/>
                  </a:xfrm>
                  <a:custGeom>
                    <a:avLst/>
                    <a:gdLst>
                      <a:gd name="connsiteX0" fmla="*/ 36698 w 36697"/>
                      <a:gd name="connsiteY0" fmla="*/ 0 h 18332"/>
                      <a:gd name="connsiteX1" fmla="*/ 0 w 36697"/>
                      <a:gd name="connsiteY1" fmla="*/ 0 h 18332"/>
                      <a:gd name="connsiteX2" fmla="*/ 0 w 36697"/>
                      <a:gd name="connsiteY2" fmla="*/ 18333 h 18332"/>
                      <a:gd name="connsiteX3" fmla="*/ 36698 w 36697"/>
                      <a:gd name="connsiteY3" fmla="*/ 18333 h 18332"/>
                      <a:gd name="connsiteX4" fmla="*/ 36698 w 36697"/>
                      <a:gd name="connsiteY4" fmla="*/ 0 h 183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6697" h="18332">
                        <a:moveTo>
                          <a:pt x="36698" y="0"/>
                        </a:moveTo>
                        <a:lnTo>
                          <a:pt x="0" y="0"/>
                        </a:lnTo>
                        <a:lnTo>
                          <a:pt x="0" y="18333"/>
                        </a:lnTo>
                        <a:lnTo>
                          <a:pt x="36698" y="18333"/>
                        </a:lnTo>
                        <a:lnTo>
                          <a:pt x="36698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4" name="Freeform: Shape 33">
                    <a:extLst>
                      <a:ext uri="{FF2B5EF4-FFF2-40B4-BE49-F238E27FC236}">
                        <a16:creationId xmlns:a16="http://schemas.microsoft.com/office/drawing/2014/main" id="{9861432C-6F83-F24A-24F8-B04AAE059E1B}"/>
                      </a:ext>
                    </a:extLst>
                  </p:cNvPr>
                  <p:cNvSpPr/>
                  <p:nvPr/>
                </p:nvSpPr>
                <p:spPr>
                  <a:xfrm>
                    <a:off x="1265054" y="3488278"/>
                    <a:ext cx="36697" cy="18332"/>
                  </a:xfrm>
                  <a:custGeom>
                    <a:avLst/>
                    <a:gdLst>
                      <a:gd name="connsiteX0" fmla="*/ 36698 w 36697"/>
                      <a:gd name="connsiteY0" fmla="*/ 0 h 18332"/>
                      <a:gd name="connsiteX1" fmla="*/ 0 w 36697"/>
                      <a:gd name="connsiteY1" fmla="*/ 0 h 18332"/>
                      <a:gd name="connsiteX2" fmla="*/ 0 w 36697"/>
                      <a:gd name="connsiteY2" fmla="*/ 18333 h 18332"/>
                      <a:gd name="connsiteX3" fmla="*/ 36698 w 36697"/>
                      <a:gd name="connsiteY3" fmla="*/ 18333 h 18332"/>
                      <a:gd name="connsiteX4" fmla="*/ 36698 w 36697"/>
                      <a:gd name="connsiteY4" fmla="*/ 0 h 183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6697" h="18332">
                        <a:moveTo>
                          <a:pt x="36698" y="0"/>
                        </a:moveTo>
                        <a:lnTo>
                          <a:pt x="0" y="0"/>
                        </a:lnTo>
                        <a:lnTo>
                          <a:pt x="0" y="18333"/>
                        </a:lnTo>
                        <a:lnTo>
                          <a:pt x="36698" y="18333"/>
                        </a:lnTo>
                        <a:lnTo>
                          <a:pt x="36698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5" name="Freeform: Shape 34">
                    <a:extLst>
                      <a:ext uri="{FF2B5EF4-FFF2-40B4-BE49-F238E27FC236}">
                        <a16:creationId xmlns:a16="http://schemas.microsoft.com/office/drawing/2014/main" id="{732016DB-BBD9-1F91-01C9-24AD9089ABD4}"/>
                      </a:ext>
                    </a:extLst>
                  </p:cNvPr>
                  <p:cNvSpPr/>
                  <p:nvPr/>
                </p:nvSpPr>
                <p:spPr>
                  <a:xfrm>
                    <a:off x="1214900" y="3488278"/>
                    <a:ext cx="36697" cy="18332"/>
                  </a:xfrm>
                  <a:custGeom>
                    <a:avLst/>
                    <a:gdLst>
                      <a:gd name="connsiteX0" fmla="*/ 36698 w 36697"/>
                      <a:gd name="connsiteY0" fmla="*/ 0 h 18332"/>
                      <a:gd name="connsiteX1" fmla="*/ 0 w 36697"/>
                      <a:gd name="connsiteY1" fmla="*/ 0 h 18332"/>
                      <a:gd name="connsiteX2" fmla="*/ 0 w 36697"/>
                      <a:gd name="connsiteY2" fmla="*/ 18333 h 18332"/>
                      <a:gd name="connsiteX3" fmla="*/ 36698 w 36697"/>
                      <a:gd name="connsiteY3" fmla="*/ 18333 h 18332"/>
                      <a:gd name="connsiteX4" fmla="*/ 36698 w 36697"/>
                      <a:gd name="connsiteY4" fmla="*/ 0 h 183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6697" h="18332">
                        <a:moveTo>
                          <a:pt x="36698" y="0"/>
                        </a:moveTo>
                        <a:lnTo>
                          <a:pt x="0" y="0"/>
                        </a:lnTo>
                        <a:lnTo>
                          <a:pt x="0" y="18333"/>
                        </a:lnTo>
                        <a:lnTo>
                          <a:pt x="36698" y="18333"/>
                        </a:lnTo>
                        <a:lnTo>
                          <a:pt x="36698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6" name="Freeform: Shape 35">
                    <a:extLst>
                      <a:ext uri="{FF2B5EF4-FFF2-40B4-BE49-F238E27FC236}">
                        <a16:creationId xmlns:a16="http://schemas.microsoft.com/office/drawing/2014/main" id="{A7874C0E-A4DA-7B0C-1294-A5583663CDD2}"/>
                      </a:ext>
                    </a:extLst>
                  </p:cNvPr>
                  <p:cNvSpPr/>
                  <p:nvPr/>
                </p:nvSpPr>
                <p:spPr>
                  <a:xfrm>
                    <a:off x="1164733" y="3370940"/>
                    <a:ext cx="18352" cy="36672"/>
                  </a:xfrm>
                  <a:custGeom>
                    <a:avLst/>
                    <a:gdLst>
                      <a:gd name="connsiteX0" fmla="*/ 18352 w 18352"/>
                      <a:gd name="connsiteY0" fmla="*/ 0 h 36672"/>
                      <a:gd name="connsiteX1" fmla="*/ 0 w 18352"/>
                      <a:gd name="connsiteY1" fmla="*/ 0 h 36672"/>
                      <a:gd name="connsiteX2" fmla="*/ 0 w 18352"/>
                      <a:gd name="connsiteY2" fmla="*/ 36672 h 36672"/>
                      <a:gd name="connsiteX3" fmla="*/ 18352 w 18352"/>
                      <a:gd name="connsiteY3" fmla="*/ 36672 h 36672"/>
                      <a:gd name="connsiteX4" fmla="*/ 18352 w 18352"/>
                      <a:gd name="connsiteY4" fmla="*/ 0 h 3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352" h="36672">
                        <a:moveTo>
                          <a:pt x="18352" y="0"/>
                        </a:moveTo>
                        <a:lnTo>
                          <a:pt x="0" y="0"/>
                        </a:lnTo>
                        <a:lnTo>
                          <a:pt x="0" y="36672"/>
                        </a:lnTo>
                        <a:lnTo>
                          <a:pt x="18352" y="36672"/>
                        </a:lnTo>
                        <a:lnTo>
                          <a:pt x="18352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7" name="Freeform: Shape 36">
                    <a:extLst>
                      <a:ext uri="{FF2B5EF4-FFF2-40B4-BE49-F238E27FC236}">
                        <a16:creationId xmlns:a16="http://schemas.microsoft.com/office/drawing/2014/main" id="{029EDDC2-6224-E777-515D-AEB001D2B3E4}"/>
                      </a:ext>
                    </a:extLst>
                  </p:cNvPr>
                  <p:cNvSpPr/>
                  <p:nvPr/>
                </p:nvSpPr>
                <p:spPr>
                  <a:xfrm>
                    <a:off x="1164733" y="3421055"/>
                    <a:ext cx="18352" cy="36665"/>
                  </a:xfrm>
                  <a:custGeom>
                    <a:avLst/>
                    <a:gdLst>
                      <a:gd name="connsiteX0" fmla="*/ 18352 w 18352"/>
                      <a:gd name="connsiteY0" fmla="*/ 0 h 36665"/>
                      <a:gd name="connsiteX1" fmla="*/ 0 w 18352"/>
                      <a:gd name="connsiteY1" fmla="*/ 0 h 36665"/>
                      <a:gd name="connsiteX2" fmla="*/ 0 w 18352"/>
                      <a:gd name="connsiteY2" fmla="*/ 36666 h 36665"/>
                      <a:gd name="connsiteX3" fmla="*/ 18352 w 18352"/>
                      <a:gd name="connsiteY3" fmla="*/ 36666 h 36665"/>
                      <a:gd name="connsiteX4" fmla="*/ 18352 w 18352"/>
                      <a:gd name="connsiteY4" fmla="*/ 0 h 366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352" h="36665">
                        <a:moveTo>
                          <a:pt x="18352" y="0"/>
                        </a:moveTo>
                        <a:lnTo>
                          <a:pt x="0" y="0"/>
                        </a:lnTo>
                        <a:lnTo>
                          <a:pt x="0" y="36666"/>
                        </a:lnTo>
                        <a:lnTo>
                          <a:pt x="18352" y="36666"/>
                        </a:lnTo>
                        <a:lnTo>
                          <a:pt x="18352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8" name="Freeform: Shape 37">
                    <a:extLst>
                      <a:ext uri="{FF2B5EF4-FFF2-40B4-BE49-F238E27FC236}">
                        <a16:creationId xmlns:a16="http://schemas.microsoft.com/office/drawing/2014/main" id="{890F863D-B79C-B939-FAC5-74C56ADB4E61}"/>
                      </a:ext>
                    </a:extLst>
                  </p:cNvPr>
                  <p:cNvSpPr/>
                  <p:nvPr/>
                </p:nvSpPr>
                <p:spPr>
                  <a:xfrm>
                    <a:off x="1583099" y="3421055"/>
                    <a:ext cx="18345" cy="36665"/>
                  </a:xfrm>
                  <a:custGeom>
                    <a:avLst/>
                    <a:gdLst>
                      <a:gd name="connsiteX0" fmla="*/ 18346 w 18345"/>
                      <a:gd name="connsiteY0" fmla="*/ 0 h 36665"/>
                      <a:gd name="connsiteX1" fmla="*/ 0 w 18345"/>
                      <a:gd name="connsiteY1" fmla="*/ 0 h 36665"/>
                      <a:gd name="connsiteX2" fmla="*/ 0 w 18345"/>
                      <a:gd name="connsiteY2" fmla="*/ 36666 h 36665"/>
                      <a:gd name="connsiteX3" fmla="*/ 18346 w 18345"/>
                      <a:gd name="connsiteY3" fmla="*/ 36666 h 36665"/>
                      <a:gd name="connsiteX4" fmla="*/ 18346 w 18345"/>
                      <a:gd name="connsiteY4" fmla="*/ 0 h 366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345" h="36665">
                        <a:moveTo>
                          <a:pt x="18346" y="0"/>
                        </a:moveTo>
                        <a:lnTo>
                          <a:pt x="0" y="0"/>
                        </a:lnTo>
                        <a:lnTo>
                          <a:pt x="0" y="36666"/>
                        </a:lnTo>
                        <a:lnTo>
                          <a:pt x="18346" y="36666"/>
                        </a:lnTo>
                        <a:lnTo>
                          <a:pt x="18346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9" name="Freeform: Shape 38">
                    <a:extLst>
                      <a:ext uri="{FF2B5EF4-FFF2-40B4-BE49-F238E27FC236}">
                        <a16:creationId xmlns:a16="http://schemas.microsoft.com/office/drawing/2014/main" id="{EA09C91C-6702-1002-A50B-C3F1B7DE0E8D}"/>
                      </a:ext>
                    </a:extLst>
                  </p:cNvPr>
                  <p:cNvSpPr/>
                  <p:nvPr/>
                </p:nvSpPr>
                <p:spPr>
                  <a:xfrm>
                    <a:off x="1164733" y="3320831"/>
                    <a:ext cx="18352" cy="36665"/>
                  </a:xfrm>
                  <a:custGeom>
                    <a:avLst/>
                    <a:gdLst>
                      <a:gd name="connsiteX0" fmla="*/ 18352 w 18352"/>
                      <a:gd name="connsiteY0" fmla="*/ 0 h 36665"/>
                      <a:gd name="connsiteX1" fmla="*/ 0 w 18352"/>
                      <a:gd name="connsiteY1" fmla="*/ 0 h 36665"/>
                      <a:gd name="connsiteX2" fmla="*/ 0 w 18352"/>
                      <a:gd name="connsiteY2" fmla="*/ 36666 h 36665"/>
                      <a:gd name="connsiteX3" fmla="*/ 18352 w 18352"/>
                      <a:gd name="connsiteY3" fmla="*/ 36666 h 36665"/>
                      <a:gd name="connsiteX4" fmla="*/ 18352 w 18352"/>
                      <a:gd name="connsiteY4" fmla="*/ 0 h 366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352" h="36665">
                        <a:moveTo>
                          <a:pt x="18352" y="0"/>
                        </a:moveTo>
                        <a:lnTo>
                          <a:pt x="0" y="0"/>
                        </a:lnTo>
                        <a:lnTo>
                          <a:pt x="0" y="36666"/>
                        </a:lnTo>
                        <a:lnTo>
                          <a:pt x="18352" y="36666"/>
                        </a:lnTo>
                        <a:lnTo>
                          <a:pt x="18352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40" name="Freeform: Shape 39">
                    <a:extLst>
                      <a:ext uri="{FF2B5EF4-FFF2-40B4-BE49-F238E27FC236}">
                        <a16:creationId xmlns:a16="http://schemas.microsoft.com/office/drawing/2014/main" id="{5344E7FB-E885-2087-6AA7-3A3A8E88A5F6}"/>
                      </a:ext>
                    </a:extLst>
                  </p:cNvPr>
                  <p:cNvSpPr/>
                  <p:nvPr/>
                </p:nvSpPr>
                <p:spPr>
                  <a:xfrm>
                    <a:off x="1164733" y="3270715"/>
                    <a:ext cx="18352" cy="36672"/>
                  </a:xfrm>
                  <a:custGeom>
                    <a:avLst/>
                    <a:gdLst>
                      <a:gd name="connsiteX0" fmla="*/ 18352 w 18352"/>
                      <a:gd name="connsiteY0" fmla="*/ 0 h 36672"/>
                      <a:gd name="connsiteX1" fmla="*/ 0 w 18352"/>
                      <a:gd name="connsiteY1" fmla="*/ 0 h 36672"/>
                      <a:gd name="connsiteX2" fmla="*/ 0 w 18352"/>
                      <a:gd name="connsiteY2" fmla="*/ 36672 h 36672"/>
                      <a:gd name="connsiteX3" fmla="*/ 18352 w 18352"/>
                      <a:gd name="connsiteY3" fmla="*/ 36672 h 36672"/>
                      <a:gd name="connsiteX4" fmla="*/ 18352 w 18352"/>
                      <a:gd name="connsiteY4" fmla="*/ 0 h 3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352" h="36672">
                        <a:moveTo>
                          <a:pt x="18352" y="0"/>
                        </a:moveTo>
                        <a:lnTo>
                          <a:pt x="0" y="0"/>
                        </a:lnTo>
                        <a:lnTo>
                          <a:pt x="0" y="36672"/>
                        </a:lnTo>
                        <a:lnTo>
                          <a:pt x="18352" y="36672"/>
                        </a:lnTo>
                        <a:lnTo>
                          <a:pt x="18352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41" name="Freeform: Shape 40">
                    <a:extLst>
                      <a:ext uri="{FF2B5EF4-FFF2-40B4-BE49-F238E27FC236}">
                        <a16:creationId xmlns:a16="http://schemas.microsoft.com/office/drawing/2014/main" id="{29A7DCE8-3E86-A746-E5BC-F55539246795}"/>
                      </a:ext>
                    </a:extLst>
                  </p:cNvPr>
                  <p:cNvSpPr/>
                  <p:nvPr/>
                </p:nvSpPr>
                <p:spPr>
                  <a:xfrm>
                    <a:off x="1313983" y="3220606"/>
                    <a:ext cx="36697" cy="18333"/>
                  </a:xfrm>
                  <a:custGeom>
                    <a:avLst/>
                    <a:gdLst>
                      <a:gd name="connsiteX0" fmla="*/ 36698 w 36697"/>
                      <a:gd name="connsiteY0" fmla="*/ 0 h 18333"/>
                      <a:gd name="connsiteX1" fmla="*/ 0 w 36697"/>
                      <a:gd name="connsiteY1" fmla="*/ 0 h 18333"/>
                      <a:gd name="connsiteX2" fmla="*/ 0 w 36697"/>
                      <a:gd name="connsiteY2" fmla="*/ 18333 h 18333"/>
                      <a:gd name="connsiteX3" fmla="*/ 36698 w 36697"/>
                      <a:gd name="connsiteY3" fmla="*/ 18333 h 18333"/>
                      <a:gd name="connsiteX4" fmla="*/ 36698 w 36697"/>
                      <a:gd name="connsiteY4" fmla="*/ 0 h 183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6697" h="18333">
                        <a:moveTo>
                          <a:pt x="36698" y="0"/>
                        </a:moveTo>
                        <a:lnTo>
                          <a:pt x="0" y="0"/>
                        </a:lnTo>
                        <a:lnTo>
                          <a:pt x="0" y="18333"/>
                        </a:lnTo>
                        <a:lnTo>
                          <a:pt x="36698" y="18333"/>
                        </a:lnTo>
                        <a:lnTo>
                          <a:pt x="36698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42" name="Freeform: Shape 41">
                    <a:extLst>
                      <a:ext uri="{FF2B5EF4-FFF2-40B4-BE49-F238E27FC236}">
                        <a16:creationId xmlns:a16="http://schemas.microsoft.com/office/drawing/2014/main" id="{7F35CA64-0CF0-0F71-3894-C029BA4DFB1A}"/>
                      </a:ext>
                    </a:extLst>
                  </p:cNvPr>
                  <p:cNvSpPr/>
                  <p:nvPr/>
                </p:nvSpPr>
                <p:spPr>
                  <a:xfrm>
                    <a:off x="1365362" y="3220606"/>
                    <a:ext cx="25686" cy="18333"/>
                  </a:xfrm>
                  <a:custGeom>
                    <a:avLst/>
                    <a:gdLst>
                      <a:gd name="connsiteX0" fmla="*/ 24461 w 25686"/>
                      <a:gd name="connsiteY0" fmla="*/ 6109 h 18333"/>
                      <a:gd name="connsiteX1" fmla="*/ 24461 w 25686"/>
                      <a:gd name="connsiteY1" fmla="*/ 0 h 18333"/>
                      <a:gd name="connsiteX2" fmla="*/ 0 w 25686"/>
                      <a:gd name="connsiteY2" fmla="*/ 0 h 18333"/>
                      <a:gd name="connsiteX3" fmla="*/ 0 w 25686"/>
                      <a:gd name="connsiteY3" fmla="*/ 18333 h 18333"/>
                      <a:gd name="connsiteX4" fmla="*/ 25687 w 25686"/>
                      <a:gd name="connsiteY4" fmla="*/ 18333 h 18333"/>
                      <a:gd name="connsiteX5" fmla="*/ 24461 w 25686"/>
                      <a:gd name="connsiteY5" fmla="*/ 6109 h 183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25686" h="18333">
                        <a:moveTo>
                          <a:pt x="24461" y="6109"/>
                        </a:moveTo>
                        <a:lnTo>
                          <a:pt x="24461" y="0"/>
                        </a:lnTo>
                        <a:lnTo>
                          <a:pt x="0" y="0"/>
                        </a:lnTo>
                        <a:lnTo>
                          <a:pt x="0" y="18333"/>
                        </a:lnTo>
                        <a:lnTo>
                          <a:pt x="25687" y="18333"/>
                        </a:lnTo>
                        <a:cubicBezTo>
                          <a:pt x="24461" y="14663"/>
                          <a:pt x="24461" y="10999"/>
                          <a:pt x="24461" y="6109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43" name="Freeform: Shape 42">
                    <a:extLst>
                      <a:ext uri="{FF2B5EF4-FFF2-40B4-BE49-F238E27FC236}">
                        <a16:creationId xmlns:a16="http://schemas.microsoft.com/office/drawing/2014/main" id="{CE0A7CD8-D494-56FF-4069-8727307C4A18}"/>
                      </a:ext>
                    </a:extLst>
                  </p:cNvPr>
                  <p:cNvSpPr/>
                  <p:nvPr/>
                </p:nvSpPr>
                <p:spPr>
                  <a:xfrm>
                    <a:off x="1265054" y="3220606"/>
                    <a:ext cx="36697" cy="18333"/>
                  </a:xfrm>
                  <a:custGeom>
                    <a:avLst/>
                    <a:gdLst>
                      <a:gd name="connsiteX0" fmla="*/ 36698 w 36697"/>
                      <a:gd name="connsiteY0" fmla="*/ 0 h 18333"/>
                      <a:gd name="connsiteX1" fmla="*/ 0 w 36697"/>
                      <a:gd name="connsiteY1" fmla="*/ 0 h 18333"/>
                      <a:gd name="connsiteX2" fmla="*/ 0 w 36697"/>
                      <a:gd name="connsiteY2" fmla="*/ 18333 h 18333"/>
                      <a:gd name="connsiteX3" fmla="*/ 36698 w 36697"/>
                      <a:gd name="connsiteY3" fmla="*/ 18333 h 18333"/>
                      <a:gd name="connsiteX4" fmla="*/ 36698 w 36697"/>
                      <a:gd name="connsiteY4" fmla="*/ 0 h 183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6697" h="18333">
                        <a:moveTo>
                          <a:pt x="36698" y="0"/>
                        </a:moveTo>
                        <a:lnTo>
                          <a:pt x="0" y="0"/>
                        </a:lnTo>
                        <a:lnTo>
                          <a:pt x="0" y="18333"/>
                        </a:lnTo>
                        <a:lnTo>
                          <a:pt x="36698" y="18333"/>
                        </a:lnTo>
                        <a:lnTo>
                          <a:pt x="36698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44" name="Freeform: Shape 43">
                    <a:extLst>
                      <a:ext uri="{FF2B5EF4-FFF2-40B4-BE49-F238E27FC236}">
                        <a16:creationId xmlns:a16="http://schemas.microsoft.com/office/drawing/2014/main" id="{C0FBD7CF-092B-9956-E8A2-36BC247C5FB7}"/>
                      </a:ext>
                    </a:extLst>
                  </p:cNvPr>
                  <p:cNvSpPr/>
                  <p:nvPr/>
                </p:nvSpPr>
                <p:spPr>
                  <a:xfrm>
                    <a:off x="1214900" y="3220606"/>
                    <a:ext cx="36697" cy="18333"/>
                  </a:xfrm>
                  <a:custGeom>
                    <a:avLst/>
                    <a:gdLst>
                      <a:gd name="connsiteX0" fmla="*/ 36698 w 36697"/>
                      <a:gd name="connsiteY0" fmla="*/ 0 h 18333"/>
                      <a:gd name="connsiteX1" fmla="*/ 0 w 36697"/>
                      <a:gd name="connsiteY1" fmla="*/ 0 h 18333"/>
                      <a:gd name="connsiteX2" fmla="*/ 0 w 36697"/>
                      <a:gd name="connsiteY2" fmla="*/ 18333 h 18333"/>
                      <a:gd name="connsiteX3" fmla="*/ 36698 w 36697"/>
                      <a:gd name="connsiteY3" fmla="*/ 18333 h 18333"/>
                      <a:gd name="connsiteX4" fmla="*/ 36698 w 36697"/>
                      <a:gd name="connsiteY4" fmla="*/ 0 h 183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6697" h="18333">
                        <a:moveTo>
                          <a:pt x="36698" y="0"/>
                        </a:moveTo>
                        <a:lnTo>
                          <a:pt x="0" y="0"/>
                        </a:lnTo>
                        <a:lnTo>
                          <a:pt x="0" y="18333"/>
                        </a:lnTo>
                        <a:lnTo>
                          <a:pt x="36698" y="18333"/>
                        </a:lnTo>
                        <a:lnTo>
                          <a:pt x="36698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45" name="Freeform: Shape 44">
                    <a:extLst>
                      <a:ext uri="{FF2B5EF4-FFF2-40B4-BE49-F238E27FC236}">
                        <a16:creationId xmlns:a16="http://schemas.microsoft.com/office/drawing/2014/main" id="{182D9632-FDCA-7B06-D5C1-4DE99AD8D49A}"/>
                      </a:ext>
                    </a:extLst>
                  </p:cNvPr>
                  <p:cNvSpPr/>
                  <p:nvPr/>
                </p:nvSpPr>
                <p:spPr>
                  <a:xfrm>
                    <a:off x="1551297" y="3350162"/>
                    <a:ext cx="80730" cy="56224"/>
                  </a:xfrm>
                  <a:custGeom>
                    <a:avLst/>
                    <a:gdLst>
                      <a:gd name="connsiteX0" fmla="*/ 0 w 80730"/>
                      <a:gd name="connsiteY0" fmla="*/ 41562 h 56224"/>
                      <a:gd name="connsiteX1" fmla="*/ 12231 w 80730"/>
                      <a:gd name="connsiteY1" fmla="*/ 53780 h 56224"/>
                      <a:gd name="connsiteX2" fmla="*/ 31802 w 80730"/>
                      <a:gd name="connsiteY2" fmla="*/ 35447 h 56224"/>
                      <a:gd name="connsiteX3" fmla="*/ 31802 w 80730"/>
                      <a:gd name="connsiteY3" fmla="*/ 56225 h 56224"/>
                      <a:gd name="connsiteX4" fmla="*/ 50148 w 80730"/>
                      <a:gd name="connsiteY4" fmla="*/ 56225 h 56224"/>
                      <a:gd name="connsiteX5" fmla="*/ 50148 w 80730"/>
                      <a:gd name="connsiteY5" fmla="*/ 35447 h 56224"/>
                      <a:gd name="connsiteX6" fmla="*/ 68500 w 80730"/>
                      <a:gd name="connsiteY6" fmla="*/ 53780 h 56224"/>
                      <a:gd name="connsiteX7" fmla="*/ 80730 w 80730"/>
                      <a:gd name="connsiteY7" fmla="*/ 41562 h 56224"/>
                      <a:gd name="connsiteX8" fmla="*/ 40362 w 80730"/>
                      <a:gd name="connsiteY8" fmla="*/ 0 h 56224"/>
                      <a:gd name="connsiteX9" fmla="*/ 0 w 80730"/>
                      <a:gd name="connsiteY9" fmla="*/ 41562 h 562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80730" h="56224">
                        <a:moveTo>
                          <a:pt x="0" y="41562"/>
                        </a:moveTo>
                        <a:lnTo>
                          <a:pt x="12231" y="53780"/>
                        </a:lnTo>
                        <a:lnTo>
                          <a:pt x="31802" y="35447"/>
                        </a:lnTo>
                        <a:lnTo>
                          <a:pt x="31802" y="56225"/>
                        </a:lnTo>
                        <a:lnTo>
                          <a:pt x="50148" y="56225"/>
                        </a:lnTo>
                        <a:lnTo>
                          <a:pt x="50148" y="35447"/>
                        </a:lnTo>
                        <a:lnTo>
                          <a:pt x="68500" y="53780"/>
                        </a:lnTo>
                        <a:lnTo>
                          <a:pt x="80730" y="41562"/>
                        </a:lnTo>
                        <a:lnTo>
                          <a:pt x="40362" y="0"/>
                        </a:lnTo>
                        <a:lnTo>
                          <a:pt x="0" y="41562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46" name="Freeform: Shape 45">
                    <a:extLst>
                      <a:ext uri="{FF2B5EF4-FFF2-40B4-BE49-F238E27FC236}">
                        <a16:creationId xmlns:a16="http://schemas.microsoft.com/office/drawing/2014/main" id="{428CC6AE-B1FE-4A82-3078-A69025BB0792}"/>
                      </a:ext>
                    </a:extLst>
                  </p:cNvPr>
                  <p:cNvSpPr/>
                  <p:nvPr/>
                </p:nvSpPr>
                <p:spPr>
                  <a:xfrm>
                    <a:off x="1497316" y="3170398"/>
                    <a:ext cx="45414" cy="91763"/>
                  </a:xfrm>
                  <a:custGeom>
                    <a:avLst/>
                    <a:gdLst>
                      <a:gd name="connsiteX0" fmla="*/ 19728 w 45414"/>
                      <a:gd name="connsiteY0" fmla="*/ 92 h 91763"/>
                      <a:gd name="connsiteX1" fmla="*/ 156 w 45414"/>
                      <a:gd name="connsiteY1" fmla="*/ 19651 h 91763"/>
                      <a:gd name="connsiteX2" fmla="*/ 13613 w 45414"/>
                      <a:gd name="connsiteY2" fmla="*/ 44099 h 91763"/>
                      <a:gd name="connsiteX3" fmla="*/ 17283 w 45414"/>
                      <a:gd name="connsiteY3" fmla="*/ 45318 h 91763"/>
                      <a:gd name="connsiteX4" fmla="*/ 9942 w 45414"/>
                      <a:gd name="connsiteY4" fmla="*/ 91763 h 91763"/>
                      <a:gd name="connsiteX5" fmla="*/ 34403 w 45414"/>
                      <a:gd name="connsiteY5" fmla="*/ 91763 h 91763"/>
                      <a:gd name="connsiteX6" fmla="*/ 28288 w 45414"/>
                      <a:gd name="connsiteY6" fmla="*/ 46537 h 91763"/>
                      <a:gd name="connsiteX7" fmla="*/ 29513 w 45414"/>
                      <a:gd name="connsiteY7" fmla="*/ 46537 h 91763"/>
                      <a:gd name="connsiteX8" fmla="*/ 45414 w 45414"/>
                      <a:gd name="connsiteY8" fmla="*/ 24540 h 91763"/>
                      <a:gd name="connsiteX9" fmla="*/ 19728 w 45414"/>
                      <a:gd name="connsiteY9" fmla="*/ 92 h 9176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45414" h="91763">
                        <a:moveTo>
                          <a:pt x="19728" y="92"/>
                        </a:moveTo>
                        <a:cubicBezTo>
                          <a:pt x="9942" y="1318"/>
                          <a:pt x="1376" y="9872"/>
                          <a:pt x="156" y="19651"/>
                        </a:cubicBezTo>
                        <a:cubicBezTo>
                          <a:pt x="-1069" y="30649"/>
                          <a:pt x="5046" y="39209"/>
                          <a:pt x="13613" y="44099"/>
                        </a:cubicBezTo>
                        <a:lnTo>
                          <a:pt x="17283" y="45318"/>
                        </a:lnTo>
                        <a:lnTo>
                          <a:pt x="9942" y="91763"/>
                        </a:lnTo>
                        <a:lnTo>
                          <a:pt x="34403" y="91763"/>
                        </a:lnTo>
                        <a:lnTo>
                          <a:pt x="28288" y="46537"/>
                        </a:lnTo>
                        <a:lnTo>
                          <a:pt x="29513" y="46537"/>
                        </a:lnTo>
                        <a:cubicBezTo>
                          <a:pt x="38074" y="42874"/>
                          <a:pt x="45414" y="34320"/>
                          <a:pt x="45414" y="24540"/>
                        </a:cubicBezTo>
                        <a:cubicBezTo>
                          <a:pt x="45414" y="9872"/>
                          <a:pt x="33184" y="-1127"/>
                          <a:pt x="19728" y="92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47" name="Freeform: Shape 46">
                    <a:extLst>
                      <a:ext uri="{FF2B5EF4-FFF2-40B4-BE49-F238E27FC236}">
                        <a16:creationId xmlns:a16="http://schemas.microsoft.com/office/drawing/2014/main" id="{BE66313A-1534-ABD0-65D8-DB521D9A8B25}"/>
                      </a:ext>
                    </a:extLst>
                  </p:cNvPr>
                  <p:cNvSpPr/>
                  <p:nvPr/>
                </p:nvSpPr>
                <p:spPr>
                  <a:xfrm>
                    <a:off x="1403279" y="3017712"/>
                    <a:ext cx="234862" cy="359343"/>
                  </a:xfrm>
                  <a:custGeom>
                    <a:avLst/>
                    <a:gdLst>
                      <a:gd name="connsiteX0" fmla="*/ 45264 w 234862"/>
                      <a:gd name="connsiteY0" fmla="*/ 79447 h 359343"/>
                      <a:gd name="connsiteX1" fmla="*/ 0 w 234862"/>
                      <a:gd name="connsiteY1" fmla="*/ 98999 h 359343"/>
                      <a:gd name="connsiteX2" fmla="*/ 0 w 234862"/>
                      <a:gd name="connsiteY2" fmla="*/ 209003 h 359343"/>
                      <a:gd name="connsiteX3" fmla="*/ 113764 w 234862"/>
                      <a:gd name="connsiteY3" fmla="*/ 356898 h 359343"/>
                      <a:gd name="connsiteX4" fmla="*/ 117435 w 234862"/>
                      <a:gd name="connsiteY4" fmla="*/ 359343 h 359343"/>
                      <a:gd name="connsiteX5" fmla="*/ 121105 w 234862"/>
                      <a:gd name="connsiteY5" fmla="*/ 356898 h 359343"/>
                      <a:gd name="connsiteX6" fmla="*/ 234863 w 234862"/>
                      <a:gd name="connsiteY6" fmla="*/ 209003 h 359343"/>
                      <a:gd name="connsiteX7" fmla="*/ 234863 w 234862"/>
                      <a:gd name="connsiteY7" fmla="*/ 98999 h 359343"/>
                      <a:gd name="connsiteX8" fmla="*/ 187160 w 234862"/>
                      <a:gd name="connsiteY8" fmla="*/ 78221 h 359343"/>
                      <a:gd name="connsiteX9" fmla="*/ 187160 w 234862"/>
                      <a:gd name="connsiteY9" fmla="*/ 70887 h 359343"/>
                      <a:gd name="connsiteX10" fmla="*/ 187160 w 234862"/>
                      <a:gd name="connsiteY10" fmla="*/ 62333 h 359343"/>
                      <a:gd name="connsiteX11" fmla="*/ 117435 w 234862"/>
                      <a:gd name="connsiteY11" fmla="*/ 0 h 359343"/>
                      <a:gd name="connsiteX12" fmla="*/ 45264 w 234862"/>
                      <a:gd name="connsiteY12" fmla="*/ 64778 h 359343"/>
                      <a:gd name="connsiteX13" fmla="*/ 45264 w 234862"/>
                      <a:gd name="connsiteY13" fmla="*/ 72113 h 359343"/>
                      <a:gd name="connsiteX14" fmla="*/ 45264 w 234862"/>
                      <a:gd name="connsiteY14" fmla="*/ 79447 h 359343"/>
                      <a:gd name="connsiteX15" fmla="*/ 217743 w 234862"/>
                      <a:gd name="connsiteY15" fmla="*/ 209003 h 359343"/>
                      <a:gd name="connsiteX16" fmla="*/ 117435 w 234862"/>
                      <a:gd name="connsiteY16" fmla="*/ 338565 h 359343"/>
                      <a:gd name="connsiteX17" fmla="*/ 17127 w 234862"/>
                      <a:gd name="connsiteY17" fmla="*/ 209003 h 359343"/>
                      <a:gd name="connsiteX18" fmla="*/ 17127 w 234862"/>
                      <a:gd name="connsiteY18" fmla="*/ 111223 h 359343"/>
                      <a:gd name="connsiteX19" fmla="*/ 117435 w 234862"/>
                      <a:gd name="connsiteY19" fmla="*/ 68442 h 359343"/>
                      <a:gd name="connsiteX20" fmla="*/ 217743 w 234862"/>
                      <a:gd name="connsiteY20" fmla="*/ 111223 h 359343"/>
                      <a:gd name="connsiteX21" fmla="*/ 217743 w 234862"/>
                      <a:gd name="connsiteY21" fmla="*/ 209003 h 359343"/>
                      <a:gd name="connsiteX22" fmla="*/ 117435 w 234862"/>
                      <a:gd name="connsiteY22" fmla="*/ 18333 h 359343"/>
                      <a:gd name="connsiteX23" fmla="*/ 168808 w 234862"/>
                      <a:gd name="connsiteY23" fmla="*/ 54999 h 359343"/>
                      <a:gd name="connsiteX24" fmla="*/ 171259 w 234862"/>
                      <a:gd name="connsiteY24" fmla="*/ 70887 h 359343"/>
                      <a:gd name="connsiteX25" fmla="*/ 117435 w 234862"/>
                      <a:gd name="connsiteY25" fmla="*/ 48890 h 359343"/>
                      <a:gd name="connsiteX26" fmla="*/ 62385 w 234862"/>
                      <a:gd name="connsiteY26" fmla="*/ 72113 h 359343"/>
                      <a:gd name="connsiteX27" fmla="*/ 64836 w 234862"/>
                      <a:gd name="connsiteY27" fmla="*/ 56224 h 359343"/>
                      <a:gd name="connsiteX28" fmla="*/ 117435 w 234862"/>
                      <a:gd name="connsiteY28" fmla="*/ 18333 h 3593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</a:cxnLst>
                    <a:rect l="l" t="t" r="r" b="b"/>
                    <a:pathLst>
                      <a:path w="234862" h="359343">
                        <a:moveTo>
                          <a:pt x="45264" y="79447"/>
                        </a:moveTo>
                        <a:lnTo>
                          <a:pt x="0" y="98999"/>
                        </a:lnTo>
                        <a:lnTo>
                          <a:pt x="0" y="209003"/>
                        </a:lnTo>
                        <a:cubicBezTo>
                          <a:pt x="3670" y="267672"/>
                          <a:pt x="45264" y="321452"/>
                          <a:pt x="113764" y="356898"/>
                        </a:cubicBezTo>
                        <a:lnTo>
                          <a:pt x="117435" y="359343"/>
                        </a:lnTo>
                        <a:lnTo>
                          <a:pt x="121105" y="356898"/>
                        </a:lnTo>
                        <a:cubicBezTo>
                          <a:pt x="190830" y="322671"/>
                          <a:pt x="231199" y="268898"/>
                          <a:pt x="234863" y="209003"/>
                        </a:cubicBezTo>
                        <a:lnTo>
                          <a:pt x="234863" y="98999"/>
                        </a:lnTo>
                        <a:lnTo>
                          <a:pt x="187160" y="78221"/>
                        </a:lnTo>
                        <a:cubicBezTo>
                          <a:pt x="187160" y="75776"/>
                          <a:pt x="187160" y="73332"/>
                          <a:pt x="187160" y="70887"/>
                        </a:cubicBezTo>
                        <a:cubicBezTo>
                          <a:pt x="187160" y="68442"/>
                          <a:pt x="187160" y="65997"/>
                          <a:pt x="187160" y="62333"/>
                        </a:cubicBezTo>
                        <a:cubicBezTo>
                          <a:pt x="184715" y="28112"/>
                          <a:pt x="154133" y="0"/>
                          <a:pt x="117435" y="0"/>
                        </a:cubicBezTo>
                        <a:cubicBezTo>
                          <a:pt x="80737" y="0"/>
                          <a:pt x="48928" y="28112"/>
                          <a:pt x="45264" y="64778"/>
                        </a:cubicBezTo>
                        <a:cubicBezTo>
                          <a:pt x="45264" y="67223"/>
                          <a:pt x="45264" y="69668"/>
                          <a:pt x="45264" y="72113"/>
                        </a:cubicBezTo>
                        <a:cubicBezTo>
                          <a:pt x="45264" y="74557"/>
                          <a:pt x="45264" y="77002"/>
                          <a:pt x="45264" y="79447"/>
                        </a:cubicBezTo>
                        <a:close/>
                        <a:moveTo>
                          <a:pt x="217743" y="209003"/>
                        </a:moveTo>
                        <a:cubicBezTo>
                          <a:pt x="215292" y="260338"/>
                          <a:pt x="178594" y="308008"/>
                          <a:pt x="117435" y="338565"/>
                        </a:cubicBezTo>
                        <a:cubicBezTo>
                          <a:pt x="57495" y="306783"/>
                          <a:pt x="20797" y="260338"/>
                          <a:pt x="17127" y="209003"/>
                        </a:cubicBezTo>
                        <a:lnTo>
                          <a:pt x="17127" y="111223"/>
                        </a:lnTo>
                        <a:lnTo>
                          <a:pt x="117435" y="68442"/>
                        </a:lnTo>
                        <a:lnTo>
                          <a:pt x="217743" y="111223"/>
                        </a:lnTo>
                        <a:lnTo>
                          <a:pt x="217743" y="209003"/>
                        </a:lnTo>
                        <a:close/>
                        <a:moveTo>
                          <a:pt x="117435" y="18333"/>
                        </a:moveTo>
                        <a:cubicBezTo>
                          <a:pt x="140676" y="18333"/>
                          <a:pt x="161473" y="34221"/>
                          <a:pt x="168808" y="54999"/>
                        </a:cubicBezTo>
                        <a:cubicBezTo>
                          <a:pt x="170033" y="59888"/>
                          <a:pt x="171259" y="64778"/>
                          <a:pt x="171259" y="70887"/>
                        </a:cubicBezTo>
                        <a:lnTo>
                          <a:pt x="117435" y="48890"/>
                        </a:lnTo>
                        <a:lnTo>
                          <a:pt x="62385" y="72113"/>
                        </a:lnTo>
                        <a:cubicBezTo>
                          <a:pt x="62385" y="67223"/>
                          <a:pt x="63610" y="61114"/>
                          <a:pt x="64836" y="56224"/>
                        </a:cubicBezTo>
                        <a:cubicBezTo>
                          <a:pt x="72170" y="34221"/>
                          <a:pt x="92967" y="18333"/>
                          <a:pt x="117435" y="18333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</p:grp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9B5152CD-1D9B-8C82-668D-CFECF4B2057B}"/>
                  </a:ext>
                </a:extLst>
              </p:cNvPr>
              <p:cNvSpPr txBox="1"/>
              <p:nvPr/>
            </p:nvSpPr>
            <p:spPr>
              <a:xfrm>
                <a:off x="896253" y="3477483"/>
                <a:ext cx="1030475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Maximum</a:t>
                </a:r>
              </a:p>
              <a:p>
                <a:pPr algn="ctr"/>
                <a:r>
                  <a:rPr lang="en-US" sz="120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Security Zone</a:t>
                </a:r>
                <a:endParaRPr lang="en-US" sz="1200" spc="0" baseline="0" dirty="0">
                  <a:solidFill>
                    <a:srgbClr val="000000"/>
                  </a:solidFill>
                  <a:latin typeface="Oracle Sans"/>
                  <a:cs typeface="Oracle Sans"/>
                  <a:sym typeface="Oracle Sans"/>
                  <a:rtl val="0"/>
                </a:endParaRPr>
              </a:p>
            </p:txBody>
          </p:sp>
        </p:grpSp>
        <p:grpSp>
          <p:nvGrpSpPr>
            <p:cNvPr id="50" name="Graphic 3">
              <a:extLst>
                <a:ext uri="{FF2B5EF4-FFF2-40B4-BE49-F238E27FC236}">
                  <a16:creationId xmlns:a16="http://schemas.microsoft.com/office/drawing/2014/main" id="{EE4F557F-46C3-E990-FD36-B0ABB95C8440}"/>
                </a:ext>
              </a:extLst>
            </p:cNvPr>
            <p:cNvGrpSpPr/>
            <p:nvPr/>
          </p:nvGrpSpPr>
          <p:grpSpPr>
            <a:xfrm>
              <a:off x="7125140" y="1122974"/>
              <a:ext cx="686406" cy="908849"/>
              <a:chOff x="990195" y="3724186"/>
              <a:chExt cx="686406" cy="908849"/>
            </a:xfrm>
          </p:grpSpPr>
          <p:grpSp>
            <p:nvGrpSpPr>
              <p:cNvPr id="51" name="Graphic 3">
                <a:extLst>
                  <a:ext uri="{FF2B5EF4-FFF2-40B4-BE49-F238E27FC236}">
                    <a16:creationId xmlns:a16="http://schemas.microsoft.com/office/drawing/2014/main" id="{FD844822-6A2F-4475-66EA-DFC6FF206710}"/>
                  </a:ext>
                </a:extLst>
              </p:cNvPr>
              <p:cNvGrpSpPr/>
              <p:nvPr/>
            </p:nvGrpSpPr>
            <p:grpSpPr>
              <a:xfrm>
                <a:off x="1142197" y="3724186"/>
                <a:ext cx="513347" cy="487615"/>
                <a:chOff x="1142197" y="3724186"/>
                <a:chExt cx="513347" cy="487615"/>
              </a:xfrm>
            </p:grpSpPr>
            <p:sp>
              <p:nvSpPr>
                <p:cNvPr id="53" name="Freeform: Shape 52">
                  <a:extLst>
                    <a:ext uri="{FF2B5EF4-FFF2-40B4-BE49-F238E27FC236}">
                      <a16:creationId xmlns:a16="http://schemas.microsoft.com/office/drawing/2014/main" id="{6EC15053-EA9D-7FBE-F9CB-4C97E70F0409}"/>
                    </a:ext>
                  </a:extLst>
                </p:cNvPr>
                <p:cNvSpPr/>
                <p:nvPr/>
              </p:nvSpPr>
              <p:spPr>
                <a:xfrm>
                  <a:off x="1410672" y="4082554"/>
                  <a:ext cx="121547" cy="121695"/>
                </a:xfrm>
                <a:custGeom>
                  <a:avLst/>
                  <a:gdLst>
                    <a:gd name="connsiteX0" fmla="*/ 65291 w 121547"/>
                    <a:gd name="connsiteY0" fmla="*/ 108644 h 121695"/>
                    <a:gd name="connsiteX1" fmla="*/ 60286 w 121547"/>
                    <a:gd name="connsiteY1" fmla="*/ 108644 h 121695"/>
                    <a:gd name="connsiteX2" fmla="*/ 54062 w 121547"/>
                    <a:gd name="connsiteY2" fmla="*/ 108644 h 121695"/>
                    <a:gd name="connsiteX3" fmla="*/ 46862 w 121547"/>
                    <a:gd name="connsiteY3" fmla="*/ 121573 h 121695"/>
                    <a:gd name="connsiteX4" fmla="*/ 25629 w 121547"/>
                    <a:gd name="connsiteY4" fmla="*/ 112429 h 121695"/>
                    <a:gd name="connsiteX5" fmla="*/ 30024 w 121547"/>
                    <a:gd name="connsiteY5" fmla="*/ 98280 h 121695"/>
                    <a:gd name="connsiteX6" fmla="*/ 22215 w 121547"/>
                    <a:gd name="connsiteY6" fmla="*/ 90356 h 121695"/>
                    <a:gd name="connsiteX7" fmla="*/ 8060 w 121547"/>
                    <a:gd name="connsiteY7" fmla="*/ 94379 h 121695"/>
                    <a:gd name="connsiteX8" fmla="*/ 0 w 121547"/>
                    <a:gd name="connsiteY8" fmla="*/ 72555 h 121695"/>
                    <a:gd name="connsiteX9" fmla="*/ 12205 w 121547"/>
                    <a:gd name="connsiteY9" fmla="*/ 65728 h 121695"/>
                    <a:gd name="connsiteX10" fmla="*/ 12205 w 121547"/>
                    <a:gd name="connsiteY10" fmla="*/ 54627 h 121695"/>
                    <a:gd name="connsiteX11" fmla="*/ 0 w 121547"/>
                    <a:gd name="connsiteY11" fmla="*/ 47433 h 121695"/>
                    <a:gd name="connsiteX12" fmla="*/ 9157 w 121547"/>
                    <a:gd name="connsiteY12" fmla="*/ 26097 h 121695"/>
                    <a:gd name="connsiteX13" fmla="*/ 23434 w 121547"/>
                    <a:gd name="connsiteY13" fmla="*/ 30608 h 121695"/>
                    <a:gd name="connsiteX14" fmla="*/ 31366 w 121547"/>
                    <a:gd name="connsiteY14" fmla="*/ 22805 h 121695"/>
                    <a:gd name="connsiteX15" fmla="*/ 27214 w 121547"/>
                    <a:gd name="connsiteY15" fmla="*/ 8541 h 121695"/>
                    <a:gd name="connsiteX16" fmla="*/ 48813 w 121547"/>
                    <a:gd name="connsiteY16" fmla="*/ 0 h 121695"/>
                    <a:gd name="connsiteX17" fmla="*/ 55647 w 121547"/>
                    <a:gd name="connsiteY17" fmla="*/ 13052 h 121695"/>
                    <a:gd name="connsiteX18" fmla="*/ 60408 w 121547"/>
                    <a:gd name="connsiteY18" fmla="*/ 13052 h 121695"/>
                    <a:gd name="connsiteX19" fmla="*/ 66754 w 121547"/>
                    <a:gd name="connsiteY19" fmla="*/ 13052 h 121695"/>
                    <a:gd name="connsiteX20" fmla="*/ 74076 w 121547"/>
                    <a:gd name="connsiteY20" fmla="*/ 122 h 121695"/>
                    <a:gd name="connsiteX21" fmla="*/ 95309 w 121547"/>
                    <a:gd name="connsiteY21" fmla="*/ 9272 h 121695"/>
                    <a:gd name="connsiteX22" fmla="*/ 90920 w 121547"/>
                    <a:gd name="connsiteY22" fmla="*/ 23415 h 121695"/>
                    <a:gd name="connsiteX23" fmla="*/ 98608 w 121547"/>
                    <a:gd name="connsiteY23" fmla="*/ 31340 h 121695"/>
                    <a:gd name="connsiteX24" fmla="*/ 112885 w 121547"/>
                    <a:gd name="connsiteY24" fmla="*/ 27316 h 121695"/>
                    <a:gd name="connsiteX25" fmla="*/ 121548 w 121547"/>
                    <a:gd name="connsiteY25" fmla="*/ 48896 h 121695"/>
                    <a:gd name="connsiteX26" fmla="*/ 108124 w 121547"/>
                    <a:gd name="connsiteY26" fmla="*/ 56211 h 121695"/>
                    <a:gd name="connsiteX27" fmla="*/ 108124 w 121547"/>
                    <a:gd name="connsiteY27" fmla="*/ 67313 h 121695"/>
                    <a:gd name="connsiteX28" fmla="*/ 121060 w 121547"/>
                    <a:gd name="connsiteY28" fmla="*/ 74506 h 121695"/>
                    <a:gd name="connsiteX29" fmla="*/ 111910 w 121547"/>
                    <a:gd name="connsiteY29" fmla="*/ 95842 h 121695"/>
                    <a:gd name="connsiteX30" fmla="*/ 97632 w 121547"/>
                    <a:gd name="connsiteY30" fmla="*/ 91087 h 121695"/>
                    <a:gd name="connsiteX31" fmla="*/ 89573 w 121547"/>
                    <a:gd name="connsiteY31" fmla="*/ 98890 h 121695"/>
                    <a:gd name="connsiteX32" fmla="*/ 93724 w 121547"/>
                    <a:gd name="connsiteY32" fmla="*/ 113161 h 121695"/>
                    <a:gd name="connsiteX33" fmla="*/ 72125 w 121547"/>
                    <a:gd name="connsiteY33" fmla="*/ 121695 h 121695"/>
                    <a:gd name="connsiteX34" fmla="*/ 65291 w 121547"/>
                    <a:gd name="connsiteY34" fmla="*/ 108644 h 121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121547" h="121695">
                      <a:moveTo>
                        <a:pt x="65291" y="108644"/>
                      </a:moveTo>
                      <a:lnTo>
                        <a:pt x="60286" y="108644"/>
                      </a:lnTo>
                      <a:cubicBezTo>
                        <a:pt x="58214" y="108830"/>
                        <a:pt x="56135" y="108830"/>
                        <a:pt x="54062" y="108644"/>
                      </a:cubicBezTo>
                      <a:lnTo>
                        <a:pt x="46862" y="121573"/>
                      </a:lnTo>
                      <a:lnTo>
                        <a:pt x="25629" y="112429"/>
                      </a:lnTo>
                      <a:lnTo>
                        <a:pt x="30024" y="98280"/>
                      </a:lnTo>
                      <a:cubicBezTo>
                        <a:pt x="27124" y="95951"/>
                        <a:pt x="24499" y="93294"/>
                        <a:pt x="22215" y="90356"/>
                      </a:cubicBezTo>
                      <a:lnTo>
                        <a:pt x="8060" y="94379"/>
                      </a:lnTo>
                      <a:lnTo>
                        <a:pt x="0" y="72555"/>
                      </a:lnTo>
                      <a:lnTo>
                        <a:pt x="12205" y="65728"/>
                      </a:lnTo>
                      <a:cubicBezTo>
                        <a:pt x="11781" y="62038"/>
                        <a:pt x="11781" y="58316"/>
                        <a:pt x="12205" y="54627"/>
                      </a:cubicBezTo>
                      <a:lnTo>
                        <a:pt x="0" y="47433"/>
                      </a:lnTo>
                      <a:lnTo>
                        <a:pt x="9157" y="26097"/>
                      </a:lnTo>
                      <a:lnTo>
                        <a:pt x="23434" y="30608"/>
                      </a:lnTo>
                      <a:cubicBezTo>
                        <a:pt x="25764" y="27708"/>
                        <a:pt x="28427" y="25090"/>
                        <a:pt x="31366" y="22805"/>
                      </a:cubicBezTo>
                      <a:lnTo>
                        <a:pt x="27214" y="8541"/>
                      </a:lnTo>
                      <a:lnTo>
                        <a:pt x="48813" y="0"/>
                      </a:lnTo>
                      <a:lnTo>
                        <a:pt x="55647" y="13052"/>
                      </a:lnTo>
                      <a:lnTo>
                        <a:pt x="60408" y="13052"/>
                      </a:lnTo>
                      <a:cubicBezTo>
                        <a:pt x="62519" y="12866"/>
                        <a:pt x="64643" y="12866"/>
                        <a:pt x="66754" y="13052"/>
                      </a:cubicBezTo>
                      <a:lnTo>
                        <a:pt x="74076" y="122"/>
                      </a:lnTo>
                      <a:lnTo>
                        <a:pt x="95309" y="9272"/>
                      </a:lnTo>
                      <a:lnTo>
                        <a:pt x="90920" y="23415"/>
                      </a:lnTo>
                      <a:cubicBezTo>
                        <a:pt x="93814" y="25712"/>
                        <a:pt x="96394" y="28375"/>
                        <a:pt x="98608" y="31340"/>
                      </a:cubicBezTo>
                      <a:lnTo>
                        <a:pt x="112885" y="27316"/>
                      </a:lnTo>
                      <a:lnTo>
                        <a:pt x="121548" y="48896"/>
                      </a:lnTo>
                      <a:lnTo>
                        <a:pt x="108124" y="56211"/>
                      </a:lnTo>
                      <a:cubicBezTo>
                        <a:pt x="108547" y="59901"/>
                        <a:pt x="108547" y="63623"/>
                        <a:pt x="108124" y="67313"/>
                      </a:cubicBezTo>
                      <a:lnTo>
                        <a:pt x="121060" y="74506"/>
                      </a:lnTo>
                      <a:lnTo>
                        <a:pt x="111910" y="95842"/>
                      </a:lnTo>
                      <a:lnTo>
                        <a:pt x="97632" y="91087"/>
                      </a:lnTo>
                      <a:cubicBezTo>
                        <a:pt x="95252" y="93988"/>
                        <a:pt x="92550" y="96606"/>
                        <a:pt x="89573" y="98890"/>
                      </a:cubicBezTo>
                      <a:lnTo>
                        <a:pt x="93724" y="113161"/>
                      </a:lnTo>
                      <a:lnTo>
                        <a:pt x="72125" y="121695"/>
                      </a:lnTo>
                      <a:lnTo>
                        <a:pt x="65291" y="10864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54" name="Freeform: Shape 53">
                  <a:extLst>
                    <a:ext uri="{FF2B5EF4-FFF2-40B4-BE49-F238E27FC236}">
                      <a16:creationId xmlns:a16="http://schemas.microsoft.com/office/drawing/2014/main" id="{0D6D4170-3D2C-39E8-6D4E-F34516D27F7D}"/>
                    </a:ext>
                  </a:extLst>
                </p:cNvPr>
                <p:cNvSpPr/>
                <p:nvPr/>
              </p:nvSpPr>
              <p:spPr>
                <a:xfrm>
                  <a:off x="1402856" y="4074867"/>
                  <a:ext cx="136434" cy="136935"/>
                </a:xfrm>
                <a:custGeom>
                  <a:avLst/>
                  <a:gdLst>
                    <a:gd name="connsiteX0" fmla="*/ 53574 w 136434"/>
                    <a:gd name="connsiteY0" fmla="*/ 15124 h 136935"/>
                    <a:gd name="connsiteX1" fmla="*/ 55897 w 136434"/>
                    <a:gd name="connsiteY1" fmla="*/ 19514 h 136935"/>
                    <a:gd name="connsiteX2" fmla="*/ 59920 w 136434"/>
                    <a:gd name="connsiteY2" fmla="*/ 27195 h 136935"/>
                    <a:gd name="connsiteX3" fmla="*/ 62365 w 136434"/>
                    <a:gd name="connsiteY3" fmla="*/ 27195 h 136935"/>
                    <a:gd name="connsiteX4" fmla="*/ 67974 w 136434"/>
                    <a:gd name="connsiteY4" fmla="*/ 27195 h 136935"/>
                    <a:gd name="connsiteX5" fmla="*/ 77618 w 136434"/>
                    <a:gd name="connsiteY5" fmla="*/ 28292 h 136935"/>
                    <a:gd name="connsiteX6" fmla="*/ 84208 w 136434"/>
                    <a:gd name="connsiteY6" fmla="*/ 16100 h 136935"/>
                    <a:gd name="connsiteX7" fmla="*/ 95431 w 136434"/>
                    <a:gd name="connsiteY7" fmla="*/ 20977 h 136935"/>
                    <a:gd name="connsiteX8" fmla="*/ 91286 w 136434"/>
                    <a:gd name="connsiteY8" fmla="*/ 34022 h 136935"/>
                    <a:gd name="connsiteX9" fmla="*/ 103491 w 136434"/>
                    <a:gd name="connsiteY9" fmla="*/ 46214 h 136935"/>
                    <a:gd name="connsiteX10" fmla="*/ 116671 w 136434"/>
                    <a:gd name="connsiteY10" fmla="*/ 42435 h 136935"/>
                    <a:gd name="connsiteX11" fmla="*/ 121182 w 136434"/>
                    <a:gd name="connsiteY11" fmla="*/ 53773 h 136935"/>
                    <a:gd name="connsiteX12" fmla="*/ 108977 w 136434"/>
                    <a:gd name="connsiteY12" fmla="*/ 60119 h 136935"/>
                    <a:gd name="connsiteX13" fmla="*/ 108977 w 136434"/>
                    <a:gd name="connsiteY13" fmla="*/ 62680 h 136935"/>
                    <a:gd name="connsiteX14" fmla="*/ 108246 w 136434"/>
                    <a:gd name="connsiteY14" fmla="*/ 77798 h 136935"/>
                    <a:gd name="connsiteX15" fmla="*/ 120451 w 136434"/>
                    <a:gd name="connsiteY15" fmla="*/ 84503 h 136935"/>
                    <a:gd name="connsiteX16" fmla="*/ 115689 w 136434"/>
                    <a:gd name="connsiteY16" fmla="*/ 95720 h 136935"/>
                    <a:gd name="connsiteX17" fmla="*/ 102509 w 136434"/>
                    <a:gd name="connsiteY17" fmla="*/ 91575 h 136935"/>
                    <a:gd name="connsiteX18" fmla="*/ 101168 w 136434"/>
                    <a:gd name="connsiteY18" fmla="*/ 93647 h 136935"/>
                    <a:gd name="connsiteX19" fmla="*/ 89945 w 136434"/>
                    <a:gd name="connsiteY19" fmla="*/ 103889 h 136935"/>
                    <a:gd name="connsiteX20" fmla="*/ 93602 w 136434"/>
                    <a:gd name="connsiteY20" fmla="*/ 117062 h 136935"/>
                    <a:gd name="connsiteX21" fmla="*/ 82258 w 136434"/>
                    <a:gd name="connsiteY21" fmla="*/ 121573 h 136935"/>
                    <a:gd name="connsiteX22" fmla="*/ 75911 w 136434"/>
                    <a:gd name="connsiteY22" fmla="*/ 109375 h 136935"/>
                    <a:gd name="connsiteX23" fmla="*/ 73466 w 136434"/>
                    <a:gd name="connsiteY23" fmla="*/ 109375 h 136935"/>
                    <a:gd name="connsiteX24" fmla="*/ 67608 w 136434"/>
                    <a:gd name="connsiteY24" fmla="*/ 109375 h 136935"/>
                    <a:gd name="connsiteX25" fmla="*/ 58214 w 136434"/>
                    <a:gd name="connsiteY25" fmla="*/ 108278 h 136935"/>
                    <a:gd name="connsiteX26" fmla="*/ 51623 w 136434"/>
                    <a:gd name="connsiteY26" fmla="*/ 120476 h 136935"/>
                    <a:gd name="connsiteX27" fmla="*/ 40394 w 136434"/>
                    <a:gd name="connsiteY27" fmla="*/ 115721 h 136935"/>
                    <a:gd name="connsiteX28" fmla="*/ 44424 w 136434"/>
                    <a:gd name="connsiteY28" fmla="*/ 103401 h 136935"/>
                    <a:gd name="connsiteX29" fmla="*/ 42351 w 136434"/>
                    <a:gd name="connsiteY29" fmla="*/ 101938 h 136935"/>
                    <a:gd name="connsiteX30" fmla="*/ 32219 w 136434"/>
                    <a:gd name="connsiteY30" fmla="*/ 90721 h 136935"/>
                    <a:gd name="connsiteX31" fmla="*/ 20014 w 136434"/>
                    <a:gd name="connsiteY31" fmla="*/ 94379 h 136935"/>
                    <a:gd name="connsiteX32" fmla="*/ 15503 w 136434"/>
                    <a:gd name="connsiteY32" fmla="*/ 83162 h 136935"/>
                    <a:gd name="connsiteX33" fmla="*/ 27708 w 136434"/>
                    <a:gd name="connsiteY33" fmla="*/ 76822 h 136935"/>
                    <a:gd name="connsiteX34" fmla="*/ 27708 w 136434"/>
                    <a:gd name="connsiteY34" fmla="*/ 74262 h 136935"/>
                    <a:gd name="connsiteX35" fmla="*/ 28439 w 136434"/>
                    <a:gd name="connsiteY35" fmla="*/ 59138 h 136935"/>
                    <a:gd name="connsiteX36" fmla="*/ 16235 w 136434"/>
                    <a:gd name="connsiteY36" fmla="*/ 52432 h 136935"/>
                    <a:gd name="connsiteX37" fmla="*/ 20996 w 136434"/>
                    <a:gd name="connsiteY37" fmla="*/ 41215 h 136935"/>
                    <a:gd name="connsiteX38" fmla="*/ 34170 w 136434"/>
                    <a:gd name="connsiteY38" fmla="*/ 45361 h 136935"/>
                    <a:gd name="connsiteX39" fmla="*/ 46375 w 136434"/>
                    <a:gd name="connsiteY39" fmla="*/ 33169 h 136935"/>
                    <a:gd name="connsiteX40" fmla="*/ 44424 w 136434"/>
                    <a:gd name="connsiteY40" fmla="*/ 25853 h 136935"/>
                    <a:gd name="connsiteX41" fmla="*/ 42717 w 136434"/>
                    <a:gd name="connsiteY41" fmla="*/ 19879 h 136935"/>
                    <a:gd name="connsiteX42" fmla="*/ 45155 w 136434"/>
                    <a:gd name="connsiteY42" fmla="*/ 18904 h 136935"/>
                    <a:gd name="connsiteX43" fmla="*/ 51867 w 136434"/>
                    <a:gd name="connsiteY43" fmla="*/ 16222 h 136935"/>
                    <a:gd name="connsiteX44" fmla="*/ 54062 w 136434"/>
                    <a:gd name="connsiteY44" fmla="*/ 15368 h 136935"/>
                    <a:gd name="connsiteX45" fmla="*/ 53574 w 136434"/>
                    <a:gd name="connsiteY45" fmla="*/ 15124 h 136935"/>
                    <a:gd name="connsiteX46" fmla="*/ 59799 w 136434"/>
                    <a:gd name="connsiteY46" fmla="*/ 0 h 136935"/>
                    <a:gd name="connsiteX47" fmla="*/ 49551 w 136434"/>
                    <a:gd name="connsiteY47" fmla="*/ 4023 h 136935"/>
                    <a:gd name="connsiteX48" fmla="*/ 47350 w 136434"/>
                    <a:gd name="connsiteY48" fmla="*/ 4877 h 136935"/>
                    <a:gd name="connsiteX49" fmla="*/ 40638 w 136434"/>
                    <a:gd name="connsiteY49" fmla="*/ 7559 h 136935"/>
                    <a:gd name="connsiteX50" fmla="*/ 38199 w 136434"/>
                    <a:gd name="connsiteY50" fmla="*/ 8541 h 136935"/>
                    <a:gd name="connsiteX51" fmla="*/ 27952 w 136434"/>
                    <a:gd name="connsiteY51" fmla="*/ 12564 h 136935"/>
                    <a:gd name="connsiteX52" fmla="*/ 31000 w 136434"/>
                    <a:gd name="connsiteY52" fmla="*/ 23171 h 136935"/>
                    <a:gd name="connsiteX53" fmla="*/ 32463 w 136434"/>
                    <a:gd name="connsiteY53" fmla="*/ 28292 h 136935"/>
                    <a:gd name="connsiteX54" fmla="*/ 29537 w 136434"/>
                    <a:gd name="connsiteY54" fmla="*/ 31218 h 136935"/>
                    <a:gd name="connsiteX55" fmla="*/ 24288 w 136434"/>
                    <a:gd name="connsiteY55" fmla="*/ 29633 h 136935"/>
                    <a:gd name="connsiteX56" fmla="*/ 13790 w 136434"/>
                    <a:gd name="connsiteY56" fmla="*/ 26341 h 136935"/>
                    <a:gd name="connsiteX57" fmla="*/ 9523 w 136434"/>
                    <a:gd name="connsiteY57" fmla="*/ 36461 h 136935"/>
                    <a:gd name="connsiteX58" fmla="*/ 4639 w 136434"/>
                    <a:gd name="connsiteY58" fmla="*/ 47555 h 136935"/>
                    <a:gd name="connsiteX59" fmla="*/ 244 w 136434"/>
                    <a:gd name="connsiteY59" fmla="*/ 57675 h 136935"/>
                    <a:gd name="connsiteX60" fmla="*/ 9888 w 136434"/>
                    <a:gd name="connsiteY60" fmla="*/ 63045 h 136935"/>
                    <a:gd name="connsiteX61" fmla="*/ 14528 w 136434"/>
                    <a:gd name="connsiteY61" fmla="*/ 65728 h 136935"/>
                    <a:gd name="connsiteX62" fmla="*/ 14528 w 136434"/>
                    <a:gd name="connsiteY62" fmla="*/ 69873 h 136935"/>
                    <a:gd name="connsiteX63" fmla="*/ 9766 w 136434"/>
                    <a:gd name="connsiteY63" fmla="*/ 72311 h 136935"/>
                    <a:gd name="connsiteX64" fmla="*/ 0 w 136434"/>
                    <a:gd name="connsiteY64" fmla="*/ 77432 h 136935"/>
                    <a:gd name="connsiteX65" fmla="*/ 4152 w 136434"/>
                    <a:gd name="connsiteY65" fmla="*/ 87673 h 136935"/>
                    <a:gd name="connsiteX66" fmla="*/ 8547 w 136434"/>
                    <a:gd name="connsiteY66" fmla="*/ 99012 h 136935"/>
                    <a:gd name="connsiteX67" fmla="*/ 12692 w 136434"/>
                    <a:gd name="connsiteY67" fmla="*/ 109131 h 136935"/>
                    <a:gd name="connsiteX68" fmla="*/ 23312 w 136434"/>
                    <a:gd name="connsiteY68" fmla="*/ 106205 h 136935"/>
                    <a:gd name="connsiteX69" fmla="*/ 28439 w 136434"/>
                    <a:gd name="connsiteY69" fmla="*/ 104742 h 136935"/>
                    <a:gd name="connsiteX70" fmla="*/ 31366 w 136434"/>
                    <a:gd name="connsiteY70" fmla="*/ 107668 h 136935"/>
                    <a:gd name="connsiteX71" fmla="*/ 29659 w 136434"/>
                    <a:gd name="connsiteY71" fmla="*/ 112795 h 136935"/>
                    <a:gd name="connsiteX72" fmla="*/ 26360 w 136434"/>
                    <a:gd name="connsiteY72" fmla="*/ 123280 h 136935"/>
                    <a:gd name="connsiteX73" fmla="*/ 36493 w 136434"/>
                    <a:gd name="connsiteY73" fmla="*/ 127669 h 136935"/>
                    <a:gd name="connsiteX74" fmla="*/ 47716 w 136434"/>
                    <a:gd name="connsiteY74" fmla="*/ 132424 h 136935"/>
                    <a:gd name="connsiteX75" fmla="*/ 57848 w 136434"/>
                    <a:gd name="connsiteY75" fmla="*/ 136813 h 136935"/>
                    <a:gd name="connsiteX76" fmla="*/ 63219 w 136434"/>
                    <a:gd name="connsiteY76" fmla="*/ 127182 h 136935"/>
                    <a:gd name="connsiteX77" fmla="*/ 65779 w 136434"/>
                    <a:gd name="connsiteY77" fmla="*/ 122549 h 136935"/>
                    <a:gd name="connsiteX78" fmla="*/ 69931 w 136434"/>
                    <a:gd name="connsiteY78" fmla="*/ 122549 h 136935"/>
                    <a:gd name="connsiteX79" fmla="*/ 72491 w 136434"/>
                    <a:gd name="connsiteY79" fmla="*/ 127182 h 136935"/>
                    <a:gd name="connsiteX80" fmla="*/ 77496 w 136434"/>
                    <a:gd name="connsiteY80" fmla="*/ 136935 h 136935"/>
                    <a:gd name="connsiteX81" fmla="*/ 87744 w 136434"/>
                    <a:gd name="connsiteY81" fmla="*/ 132912 h 136935"/>
                    <a:gd name="connsiteX82" fmla="*/ 99095 w 136434"/>
                    <a:gd name="connsiteY82" fmla="*/ 128401 h 136935"/>
                    <a:gd name="connsiteX83" fmla="*/ 109343 w 136434"/>
                    <a:gd name="connsiteY83" fmla="*/ 124378 h 136935"/>
                    <a:gd name="connsiteX84" fmla="*/ 105441 w 136434"/>
                    <a:gd name="connsiteY84" fmla="*/ 113892 h 136935"/>
                    <a:gd name="connsiteX85" fmla="*/ 103978 w 136434"/>
                    <a:gd name="connsiteY85" fmla="*/ 108765 h 136935"/>
                    <a:gd name="connsiteX86" fmla="*/ 107027 w 136434"/>
                    <a:gd name="connsiteY86" fmla="*/ 105839 h 136935"/>
                    <a:gd name="connsiteX87" fmla="*/ 112154 w 136434"/>
                    <a:gd name="connsiteY87" fmla="*/ 107424 h 136935"/>
                    <a:gd name="connsiteX88" fmla="*/ 122645 w 136434"/>
                    <a:gd name="connsiteY88" fmla="*/ 110716 h 136935"/>
                    <a:gd name="connsiteX89" fmla="*/ 126919 w 136434"/>
                    <a:gd name="connsiteY89" fmla="*/ 100597 h 136935"/>
                    <a:gd name="connsiteX90" fmla="*/ 131802 w 136434"/>
                    <a:gd name="connsiteY90" fmla="*/ 89380 h 136935"/>
                    <a:gd name="connsiteX91" fmla="*/ 136191 w 136434"/>
                    <a:gd name="connsiteY91" fmla="*/ 79383 h 136935"/>
                    <a:gd name="connsiteX92" fmla="*/ 126553 w 136434"/>
                    <a:gd name="connsiteY92" fmla="*/ 74018 h 136935"/>
                    <a:gd name="connsiteX93" fmla="*/ 121914 w 136434"/>
                    <a:gd name="connsiteY93" fmla="*/ 71336 h 136935"/>
                    <a:gd name="connsiteX94" fmla="*/ 121914 w 136434"/>
                    <a:gd name="connsiteY94" fmla="*/ 67191 h 136935"/>
                    <a:gd name="connsiteX95" fmla="*/ 126675 w 136434"/>
                    <a:gd name="connsiteY95" fmla="*/ 64752 h 136935"/>
                    <a:gd name="connsiteX96" fmla="*/ 136435 w 136434"/>
                    <a:gd name="connsiteY96" fmla="*/ 59632 h 136935"/>
                    <a:gd name="connsiteX97" fmla="*/ 132290 w 136434"/>
                    <a:gd name="connsiteY97" fmla="*/ 49384 h 136935"/>
                    <a:gd name="connsiteX98" fmla="*/ 127894 w 136434"/>
                    <a:gd name="connsiteY98" fmla="*/ 38045 h 136935"/>
                    <a:gd name="connsiteX99" fmla="*/ 124115 w 136434"/>
                    <a:gd name="connsiteY99" fmla="*/ 27316 h 136935"/>
                    <a:gd name="connsiteX100" fmla="*/ 113495 w 136434"/>
                    <a:gd name="connsiteY100" fmla="*/ 30364 h 136935"/>
                    <a:gd name="connsiteX101" fmla="*/ 108368 w 136434"/>
                    <a:gd name="connsiteY101" fmla="*/ 31827 h 136935"/>
                    <a:gd name="connsiteX102" fmla="*/ 105441 w 136434"/>
                    <a:gd name="connsiteY102" fmla="*/ 29389 h 136935"/>
                    <a:gd name="connsiteX103" fmla="*/ 107148 w 136434"/>
                    <a:gd name="connsiteY103" fmla="*/ 24268 h 136935"/>
                    <a:gd name="connsiteX104" fmla="*/ 110447 w 136434"/>
                    <a:gd name="connsiteY104" fmla="*/ 13783 h 136935"/>
                    <a:gd name="connsiteX105" fmla="*/ 100314 w 136434"/>
                    <a:gd name="connsiteY105" fmla="*/ 9394 h 136935"/>
                    <a:gd name="connsiteX106" fmla="*/ 89091 w 136434"/>
                    <a:gd name="connsiteY106" fmla="*/ 4633 h 136935"/>
                    <a:gd name="connsiteX107" fmla="*/ 78959 w 136434"/>
                    <a:gd name="connsiteY107" fmla="*/ 244 h 136935"/>
                    <a:gd name="connsiteX108" fmla="*/ 73588 w 136434"/>
                    <a:gd name="connsiteY108" fmla="*/ 9882 h 136935"/>
                    <a:gd name="connsiteX109" fmla="*/ 71028 w 136434"/>
                    <a:gd name="connsiteY109" fmla="*/ 14515 h 136935"/>
                    <a:gd name="connsiteX110" fmla="*/ 66876 w 136434"/>
                    <a:gd name="connsiteY110" fmla="*/ 14515 h 136935"/>
                    <a:gd name="connsiteX111" fmla="*/ 64560 w 136434"/>
                    <a:gd name="connsiteY111" fmla="*/ 10126 h 136935"/>
                    <a:gd name="connsiteX112" fmla="*/ 59555 w 136434"/>
                    <a:gd name="connsiteY112" fmla="*/ 366 h 136935"/>
                    <a:gd name="connsiteX113" fmla="*/ 59799 w 136434"/>
                    <a:gd name="connsiteY113" fmla="*/ 0 h 1369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</a:cxnLst>
                  <a:rect l="l" t="t" r="r" b="b"/>
                  <a:pathLst>
                    <a:path w="136434" h="136935">
                      <a:moveTo>
                        <a:pt x="53574" y="15124"/>
                      </a:moveTo>
                      <a:lnTo>
                        <a:pt x="55897" y="19514"/>
                      </a:lnTo>
                      <a:lnTo>
                        <a:pt x="59920" y="27195"/>
                      </a:lnTo>
                      <a:lnTo>
                        <a:pt x="62365" y="27195"/>
                      </a:lnTo>
                      <a:lnTo>
                        <a:pt x="67974" y="27195"/>
                      </a:lnTo>
                      <a:cubicBezTo>
                        <a:pt x="71221" y="27188"/>
                        <a:pt x="74455" y="27560"/>
                        <a:pt x="77618" y="28292"/>
                      </a:cubicBezTo>
                      <a:lnTo>
                        <a:pt x="84208" y="16100"/>
                      </a:lnTo>
                      <a:lnTo>
                        <a:pt x="95431" y="20977"/>
                      </a:lnTo>
                      <a:lnTo>
                        <a:pt x="91286" y="34022"/>
                      </a:lnTo>
                      <a:cubicBezTo>
                        <a:pt x="96169" y="37179"/>
                        <a:pt x="100327" y="41337"/>
                        <a:pt x="103491" y="46214"/>
                      </a:cubicBezTo>
                      <a:lnTo>
                        <a:pt x="116671" y="42435"/>
                      </a:lnTo>
                      <a:lnTo>
                        <a:pt x="121182" y="53773"/>
                      </a:lnTo>
                      <a:lnTo>
                        <a:pt x="108977" y="60119"/>
                      </a:lnTo>
                      <a:cubicBezTo>
                        <a:pt x="108977" y="60973"/>
                        <a:pt x="108977" y="61826"/>
                        <a:pt x="108977" y="62680"/>
                      </a:cubicBezTo>
                      <a:cubicBezTo>
                        <a:pt x="109715" y="67717"/>
                        <a:pt x="109465" y="72850"/>
                        <a:pt x="108246" y="77798"/>
                      </a:cubicBezTo>
                      <a:lnTo>
                        <a:pt x="120451" y="84503"/>
                      </a:lnTo>
                      <a:lnTo>
                        <a:pt x="115689" y="95720"/>
                      </a:lnTo>
                      <a:lnTo>
                        <a:pt x="102509" y="91575"/>
                      </a:lnTo>
                      <a:cubicBezTo>
                        <a:pt x="102137" y="92313"/>
                        <a:pt x="101688" y="93006"/>
                        <a:pt x="101168" y="93647"/>
                      </a:cubicBezTo>
                      <a:cubicBezTo>
                        <a:pt x="98075" y="97709"/>
                        <a:pt x="94270" y="101174"/>
                        <a:pt x="89945" y="103889"/>
                      </a:cubicBezTo>
                      <a:lnTo>
                        <a:pt x="93602" y="117062"/>
                      </a:lnTo>
                      <a:lnTo>
                        <a:pt x="82258" y="121573"/>
                      </a:lnTo>
                      <a:lnTo>
                        <a:pt x="75911" y="109375"/>
                      </a:lnTo>
                      <a:lnTo>
                        <a:pt x="73466" y="109375"/>
                      </a:lnTo>
                      <a:cubicBezTo>
                        <a:pt x="71522" y="109561"/>
                        <a:pt x="69559" y="109561"/>
                        <a:pt x="67608" y="109375"/>
                      </a:cubicBezTo>
                      <a:cubicBezTo>
                        <a:pt x="64444" y="109381"/>
                        <a:pt x="61294" y="109016"/>
                        <a:pt x="58214" y="108278"/>
                      </a:cubicBezTo>
                      <a:lnTo>
                        <a:pt x="51623" y="120476"/>
                      </a:lnTo>
                      <a:lnTo>
                        <a:pt x="40394" y="115721"/>
                      </a:lnTo>
                      <a:lnTo>
                        <a:pt x="44424" y="103401"/>
                      </a:lnTo>
                      <a:lnTo>
                        <a:pt x="42351" y="101938"/>
                      </a:lnTo>
                      <a:cubicBezTo>
                        <a:pt x="38328" y="98832"/>
                        <a:pt x="34901" y="95033"/>
                        <a:pt x="32219" y="90721"/>
                      </a:cubicBezTo>
                      <a:lnTo>
                        <a:pt x="20014" y="94379"/>
                      </a:lnTo>
                      <a:lnTo>
                        <a:pt x="15503" y="83162"/>
                      </a:lnTo>
                      <a:lnTo>
                        <a:pt x="27708" y="76822"/>
                      </a:lnTo>
                      <a:cubicBezTo>
                        <a:pt x="27708" y="75969"/>
                        <a:pt x="27708" y="75116"/>
                        <a:pt x="27708" y="74262"/>
                      </a:cubicBezTo>
                      <a:cubicBezTo>
                        <a:pt x="27021" y="69218"/>
                        <a:pt x="27272" y="64091"/>
                        <a:pt x="28439" y="59138"/>
                      </a:cubicBezTo>
                      <a:lnTo>
                        <a:pt x="16235" y="52432"/>
                      </a:lnTo>
                      <a:lnTo>
                        <a:pt x="20996" y="41215"/>
                      </a:lnTo>
                      <a:lnTo>
                        <a:pt x="34170" y="45361"/>
                      </a:lnTo>
                      <a:cubicBezTo>
                        <a:pt x="37346" y="40490"/>
                        <a:pt x="41504" y="36339"/>
                        <a:pt x="46375" y="33169"/>
                      </a:cubicBezTo>
                      <a:lnTo>
                        <a:pt x="44424" y="25853"/>
                      </a:lnTo>
                      <a:lnTo>
                        <a:pt x="42717" y="19879"/>
                      </a:lnTo>
                      <a:lnTo>
                        <a:pt x="45155" y="18904"/>
                      </a:lnTo>
                      <a:lnTo>
                        <a:pt x="51867" y="16222"/>
                      </a:lnTo>
                      <a:lnTo>
                        <a:pt x="54062" y="15368"/>
                      </a:lnTo>
                      <a:lnTo>
                        <a:pt x="53574" y="15124"/>
                      </a:lnTo>
                      <a:close/>
                      <a:moveTo>
                        <a:pt x="59799" y="0"/>
                      </a:moveTo>
                      <a:lnTo>
                        <a:pt x="49551" y="4023"/>
                      </a:lnTo>
                      <a:lnTo>
                        <a:pt x="47350" y="4877"/>
                      </a:lnTo>
                      <a:lnTo>
                        <a:pt x="40638" y="7559"/>
                      </a:lnTo>
                      <a:lnTo>
                        <a:pt x="38199" y="8541"/>
                      </a:lnTo>
                      <a:lnTo>
                        <a:pt x="27952" y="12564"/>
                      </a:lnTo>
                      <a:lnTo>
                        <a:pt x="31000" y="23171"/>
                      </a:lnTo>
                      <a:lnTo>
                        <a:pt x="32463" y="28292"/>
                      </a:lnTo>
                      <a:cubicBezTo>
                        <a:pt x="31430" y="29203"/>
                        <a:pt x="30448" y="30185"/>
                        <a:pt x="29537" y="31218"/>
                      </a:cubicBezTo>
                      <a:lnTo>
                        <a:pt x="24288" y="29633"/>
                      </a:lnTo>
                      <a:lnTo>
                        <a:pt x="13790" y="26341"/>
                      </a:lnTo>
                      <a:lnTo>
                        <a:pt x="9523" y="36461"/>
                      </a:lnTo>
                      <a:lnTo>
                        <a:pt x="4639" y="47555"/>
                      </a:lnTo>
                      <a:lnTo>
                        <a:pt x="244" y="57675"/>
                      </a:lnTo>
                      <a:lnTo>
                        <a:pt x="9888" y="63045"/>
                      </a:lnTo>
                      <a:lnTo>
                        <a:pt x="14528" y="65728"/>
                      </a:lnTo>
                      <a:lnTo>
                        <a:pt x="14528" y="69873"/>
                      </a:lnTo>
                      <a:lnTo>
                        <a:pt x="9766" y="72311"/>
                      </a:lnTo>
                      <a:lnTo>
                        <a:pt x="0" y="77432"/>
                      </a:lnTo>
                      <a:lnTo>
                        <a:pt x="4152" y="87673"/>
                      </a:lnTo>
                      <a:lnTo>
                        <a:pt x="8547" y="99012"/>
                      </a:lnTo>
                      <a:lnTo>
                        <a:pt x="12692" y="109131"/>
                      </a:lnTo>
                      <a:lnTo>
                        <a:pt x="23312" y="106205"/>
                      </a:lnTo>
                      <a:lnTo>
                        <a:pt x="28439" y="104742"/>
                      </a:lnTo>
                      <a:lnTo>
                        <a:pt x="31366" y="107668"/>
                      </a:lnTo>
                      <a:lnTo>
                        <a:pt x="29659" y="112795"/>
                      </a:lnTo>
                      <a:lnTo>
                        <a:pt x="26360" y="123280"/>
                      </a:lnTo>
                      <a:lnTo>
                        <a:pt x="36493" y="127669"/>
                      </a:lnTo>
                      <a:lnTo>
                        <a:pt x="47716" y="132424"/>
                      </a:lnTo>
                      <a:lnTo>
                        <a:pt x="57848" y="136813"/>
                      </a:lnTo>
                      <a:lnTo>
                        <a:pt x="63219" y="127182"/>
                      </a:lnTo>
                      <a:lnTo>
                        <a:pt x="65779" y="122549"/>
                      </a:lnTo>
                      <a:lnTo>
                        <a:pt x="69931" y="122549"/>
                      </a:lnTo>
                      <a:lnTo>
                        <a:pt x="72491" y="127182"/>
                      </a:lnTo>
                      <a:lnTo>
                        <a:pt x="77496" y="136935"/>
                      </a:lnTo>
                      <a:lnTo>
                        <a:pt x="87744" y="132912"/>
                      </a:lnTo>
                      <a:lnTo>
                        <a:pt x="99095" y="128401"/>
                      </a:lnTo>
                      <a:lnTo>
                        <a:pt x="109343" y="124378"/>
                      </a:lnTo>
                      <a:lnTo>
                        <a:pt x="105441" y="113892"/>
                      </a:lnTo>
                      <a:lnTo>
                        <a:pt x="103978" y="108765"/>
                      </a:lnTo>
                      <a:lnTo>
                        <a:pt x="107027" y="105839"/>
                      </a:lnTo>
                      <a:lnTo>
                        <a:pt x="112154" y="107424"/>
                      </a:lnTo>
                      <a:lnTo>
                        <a:pt x="122645" y="110716"/>
                      </a:lnTo>
                      <a:lnTo>
                        <a:pt x="126919" y="100597"/>
                      </a:lnTo>
                      <a:lnTo>
                        <a:pt x="131802" y="89380"/>
                      </a:lnTo>
                      <a:lnTo>
                        <a:pt x="136191" y="79383"/>
                      </a:lnTo>
                      <a:lnTo>
                        <a:pt x="126553" y="74018"/>
                      </a:lnTo>
                      <a:lnTo>
                        <a:pt x="121914" y="71336"/>
                      </a:lnTo>
                      <a:lnTo>
                        <a:pt x="121914" y="67191"/>
                      </a:lnTo>
                      <a:lnTo>
                        <a:pt x="126675" y="64752"/>
                      </a:lnTo>
                      <a:lnTo>
                        <a:pt x="136435" y="59632"/>
                      </a:lnTo>
                      <a:lnTo>
                        <a:pt x="132290" y="49384"/>
                      </a:lnTo>
                      <a:lnTo>
                        <a:pt x="127894" y="38045"/>
                      </a:lnTo>
                      <a:lnTo>
                        <a:pt x="124115" y="27316"/>
                      </a:lnTo>
                      <a:lnTo>
                        <a:pt x="113495" y="30364"/>
                      </a:lnTo>
                      <a:lnTo>
                        <a:pt x="108368" y="31827"/>
                      </a:lnTo>
                      <a:lnTo>
                        <a:pt x="105441" y="29389"/>
                      </a:lnTo>
                      <a:lnTo>
                        <a:pt x="107148" y="24268"/>
                      </a:lnTo>
                      <a:lnTo>
                        <a:pt x="110447" y="13783"/>
                      </a:lnTo>
                      <a:lnTo>
                        <a:pt x="100314" y="9394"/>
                      </a:lnTo>
                      <a:lnTo>
                        <a:pt x="89091" y="4633"/>
                      </a:lnTo>
                      <a:lnTo>
                        <a:pt x="78959" y="244"/>
                      </a:lnTo>
                      <a:lnTo>
                        <a:pt x="73588" y="9882"/>
                      </a:lnTo>
                      <a:lnTo>
                        <a:pt x="71028" y="14515"/>
                      </a:lnTo>
                      <a:lnTo>
                        <a:pt x="66876" y="14515"/>
                      </a:lnTo>
                      <a:lnTo>
                        <a:pt x="64560" y="10126"/>
                      </a:lnTo>
                      <a:lnTo>
                        <a:pt x="59555" y="366"/>
                      </a:lnTo>
                      <a:lnTo>
                        <a:pt x="59799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55" name="Freeform: Shape 54">
                  <a:extLst>
                    <a:ext uri="{FF2B5EF4-FFF2-40B4-BE49-F238E27FC236}">
                      <a16:creationId xmlns:a16="http://schemas.microsoft.com/office/drawing/2014/main" id="{7E22459A-354A-188E-19CB-677F7BBC1332}"/>
                    </a:ext>
                  </a:extLst>
                </p:cNvPr>
                <p:cNvSpPr/>
                <p:nvPr/>
              </p:nvSpPr>
              <p:spPr>
                <a:xfrm>
                  <a:off x="1148781" y="3729435"/>
                  <a:ext cx="500698" cy="420434"/>
                </a:xfrm>
                <a:custGeom>
                  <a:avLst/>
                  <a:gdLst>
                    <a:gd name="connsiteX0" fmla="*/ 98973 w 500698"/>
                    <a:gd name="connsiteY0" fmla="*/ 420432 h 420434"/>
                    <a:gd name="connsiteX1" fmla="*/ 88103 w 500698"/>
                    <a:gd name="connsiteY1" fmla="*/ 418411 h 420434"/>
                    <a:gd name="connsiteX2" fmla="*/ 78837 w 500698"/>
                    <a:gd name="connsiteY2" fmla="*/ 412385 h 420434"/>
                    <a:gd name="connsiteX3" fmla="*/ 70463 w 500698"/>
                    <a:gd name="connsiteY3" fmla="*/ 391903 h 420434"/>
                    <a:gd name="connsiteX4" fmla="*/ 78837 w 500698"/>
                    <a:gd name="connsiteY4" fmla="*/ 371414 h 420434"/>
                    <a:gd name="connsiteX5" fmla="*/ 88244 w 500698"/>
                    <a:gd name="connsiteY5" fmla="*/ 364901 h 420434"/>
                    <a:gd name="connsiteX6" fmla="*/ 99461 w 500698"/>
                    <a:gd name="connsiteY6" fmla="*/ 362636 h 420434"/>
                    <a:gd name="connsiteX7" fmla="*/ 102021 w 500698"/>
                    <a:gd name="connsiteY7" fmla="*/ 362636 h 420434"/>
                    <a:gd name="connsiteX8" fmla="*/ 108368 w 500698"/>
                    <a:gd name="connsiteY8" fmla="*/ 356174 h 420434"/>
                    <a:gd name="connsiteX9" fmla="*/ 166337 w 500698"/>
                    <a:gd name="connsiteY9" fmla="*/ 296914 h 420434"/>
                    <a:gd name="connsiteX10" fmla="*/ 160357 w 500698"/>
                    <a:gd name="connsiteY10" fmla="*/ 285942 h 420434"/>
                    <a:gd name="connsiteX11" fmla="*/ 158284 w 500698"/>
                    <a:gd name="connsiteY11" fmla="*/ 281302 h 420434"/>
                    <a:gd name="connsiteX12" fmla="*/ 127650 w 500698"/>
                    <a:gd name="connsiteY12" fmla="*/ 278010 h 420434"/>
                    <a:gd name="connsiteX13" fmla="*/ 127650 w 500698"/>
                    <a:gd name="connsiteY13" fmla="*/ 256674 h 420434"/>
                    <a:gd name="connsiteX14" fmla="*/ 0 w 500698"/>
                    <a:gd name="connsiteY14" fmla="*/ 256674 h 420434"/>
                    <a:gd name="connsiteX15" fmla="*/ 1347 w 500698"/>
                    <a:gd name="connsiteY15" fmla="*/ 238630 h 420434"/>
                    <a:gd name="connsiteX16" fmla="*/ 21285 w 500698"/>
                    <a:gd name="connsiteY16" fmla="*/ 181366 h 420434"/>
                    <a:gd name="connsiteX17" fmla="*/ 66633 w 500698"/>
                    <a:gd name="connsiteY17" fmla="*/ 141081 h 420434"/>
                    <a:gd name="connsiteX18" fmla="*/ 76405 w 500698"/>
                    <a:gd name="connsiteY18" fmla="*/ 132297 h 420434"/>
                    <a:gd name="connsiteX19" fmla="*/ 81276 w 500698"/>
                    <a:gd name="connsiteY19" fmla="*/ 120105 h 420434"/>
                    <a:gd name="connsiteX20" fmla="*/ 113366 w 500698"/>
                    <a:gd name="connsiteY20" fmla="*/ 66402 h 420434"/>
                    <a:gd name="connsiteX21" fmla="*/ 172318 w 500698"/>
                    <a:gd name="connsiteY21" fmla="*/ 45361 h 420434"/>
                    <a:gd name="connsiteX22" fmla="*/ 180859 w 500698"/>
                    <a:gd name="connsiteY22" fmla="*/ 45361 h 420434"/>
                    <a:gd name="connsiteX23" fmla="*/ 183785 w 500698"/>
                    <a:gd name="connsiteY23" fmla="*/ 45361 h 420434"/>
                    <a:gd name="connsiteX24" fmla="*/ 194963 w 500698"/>
                    <a:gd name="connsiteY24" fmla="*/ 43135 h 420434"/>
                    <a:gd name="connsiteX25" fmla="*/ 204287 w 500698"/>
                    <a:gd name="connsiteY25" fmla="*/ 36583 h 420434"/>
                    <a:gd name="connsiteX26" fmla="*/ 242165 w 500698"/>
                    <a:gd name="connsiteY26" fmla="*/ 9645 h 420434"/>
                    <a:gd name="connsiteX27" fmla="*/ 287641 w 500698"/>
                    <a:gd name="connsiteY27" fmla="*/ 1 h 420434"/>
                    <a:gd name="connsiteX28" fmla="*/ 347453 w 500698"/>
                    <a:gd name="connsiteY28" fmla="*/ 16870 h 420434"/>
                    <a:gd name="connsiteX29" fmla="*/ 389291 w 500698"/>
                    <a:gd name="connsiteY29" fmla="*/ 62796 h 420434"/>
                    <a:gd name="connsiteX30" fmla="*/ 397459 w 500698"/>
                    <a:gd name="connsiteY30" fmla="*/ 73916 h 420434"/>
                    <a:gd name="connsiteX31" fmla="*/ 409792 w 500698"/>
                    <a:gd name="connsiteY31" fmla="*/ 80108 h 420434"/>
                    <a:gd name="connsiteX32" fmla="*/ 457604 w 500698"/>
                    <a:gd name="connsiteY32" fmla="*/ 103292 h 420434"/>
                    <a:gd name="connsiteX33" fmla="*/ 490138 w 500698"/>
                    <a:gd name="connsiteY33" fmla="*/ 145278 h 420434"/>
                    <a:gd name="connsiteX34" fmla="*/ 500642 w 500698"/>
                    <a:gd name="connsiteY34" fmla="*/ 197331 h 420434"/>
                    <a:gd name="connsiteX35" fmla="*/ 486923 w 500698"/>
                    <a:gd name="connsiteY35" fmla="*/ 248628 h 420434"/>
                    <a:gd name="connsiteX36" fmla="*/ 482283 w 500698"/>
                    <a:gd name="connsiteY36" fmla="*/ 257284 h 420434"/>
                    <a:gd name="connsiteX37" fmla="*/ 375257 w 500698"/>
                    <a:gd name="connsiteY37" fmla="*/ 257284 h 420434"/>
                    <a:gd name="connsiteX38" fmla="*/ 375257 w 500698"/>
                    <a:gd name="connsiteY38" fmla="*/ 278620 h 420434"/>
                    <a:gd name="connsiteX39" fmla="*/ 349634 w 500698"/>
                    <a:gd name="connsiteY39" fmla="*/ 281546 h 420434"/>
                    <a:gd name="connsiteX40" fmla="*/ 365741 w 500698"/>
                    <a:gd name="connsiteY40" fmla="*/ 301669 h 420434"/>
                    <a:gd name="connsiteX41" fmla="*/ 312167 w 500698"/>
                    <a:gd name="connsiteY41" fmla="*/ 355320 h 420434"/>
                    <a:gd name="connsiteX42" fmla="*/ 291909 w 500698"/>
                    <a:gd name="connsiteY42" fmla="*/ 339105 h 420434"/>
                    <a:gd name="connsiteX43" fmla="*/ 289104 w 500698"/>
                    <a:gd name="connsiteY43" fmla="*/ 364830 h 420434"/>
                    <a:gd name="connsiteX44" fmla="*/ 213078 w 500698"/>
                    <a:gd name="connsiteY44" fmla="*/ 364830 h 420434"/>
                    <a:gd name="connsiteX45" fmla="*/ 209658 w 500698"/>
                    <a:gd name="connsiteY45" fmla="*/ 334222 h 420434"/>
                    <a:gd name="connsiteX46" fmla="*/ 203921 w 500698"/>
                    <a:gd name="connsiteY46" fmla="*/ 331418 h 420434"/>
                    <a:gd name="connsiteX47" fmla="*/ 200873 w 500698"/>
                    <a:gd name="connsiteY47" fmla="*/ 329223 h 420434"/>
                    <a:gd name="connsiteX48" fmla="*/ 190984 w 500698"/>
                    <a:gd name="connsiteY48" fmla="*/ 323249 h 420434"/>
                    <a:gd name="connsiteX49" fmla="*/ 133753 w 500698"/>
                    <a:gd name="connsiteY49" fmla="*/ 381655 h 420434"/>
                    <a:gd name="connsiteX50" fmla="*/ 127163 w 500698"/>
                    <a:gd name="connsiteY50" fmla="*/ 388361 h 420434"/>
                    <a:gd name="connsiteX51" fmla="*/ 125847 w 500698"/>
                    <a:gd name="connsiteY51" fmla="*/ 400873 h 420434"/>
                    <a:gd name="connsiteX52" fmla="*/ 119353 w 500698"/>
                    <a:gd name="connsiteY52" fmla="*/ 411654 h 420434"/>
                    <a:gd name="connsiteX53" fmla="*/ 110062 w 500698"/>
                    <a:gd name="connsiteY53" fmla="*/ 418122 h 420434"/>
                    <a:gd name="connsiteX54" fmla="*/ 98973 w 500698"/>
                    <a:gd name="connsiteY54" fmla="*/ 420432 h 4204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</a:cxnLst>
                  <a:rect l="l" t="t" r="r" b="b"/>
                  <a:pathLst>
                    <a:path w="500698" h="420434">
                      <a:moveTo>
                        <a:pt x="98973" y="420432"/>
                      </a:moveTo>
                      <a:cubicBezTo>
                        <a:pt x="95252" y="420477"/>
                        <a:pt x="91556" y="419790"/>
                        <a:pt x="88103" y="418411"/>
                      </a:cubicBezTo>
                      <a:cubicBezTo>
                        <a:pt x="84651" y="417031"/>
                        <a:pt x="81500" y="414984"/>
                        <a:pt x="78837" y="412385"/>
                      </a:cubicBezTo>
                      <a:cubicBezTo>
                        <a:pt x="73473" y="406912"/>
                        <a:pt x="70463" y="399558"/>
                        <a:pt x="70463" y="391903"/>
                      </a:cubicBezTo>
                      <a:cubicBezTo>
                        <a:pt x="70463" y="384241"/>
                        <a:pt x="73473" y="376887"/>
                        <a:pt x="78837" y="371414"/>
                      </a:cubicBezTo>
                      <a:cubicBezTo>
                        <a:pt x="81494" y="368629"/>
                        <a:pt x="84696" y="366409"/>
                        <a:pt x="88244" y="364901"/>
                      </a:cubicBezTo>
                      <a:cubicBezTo>
                        <a:pt x="91787" y="363386"/>
                        <a:pt x="95605" y="362616"/>
                        <a:pt x="99461" y="362636"/>
                      </a:cubicBezTo>
                      <a:lnTo>
                        <a:pt x="102021" y="362636"/>
                      </a:lnTo>
                      <a:lnTo>
                        <a:pt x="108368" y="356174"/>
                      </a:lnTo>
                      <a:cubicBezTo>
                        <a:pt x="121304" y="343006"/>
                        <a:pt x="147542" y="316543"/>
                        <a:pt x="166337" y="296914"/>
                      </a:cubicBezTo>
                      <a:cubicBezTo>
                        <a:pt x="163893" y="292769"/>
                        <a:pt x="161454" y="288380"/>
                        <a:pt x="160357" y="285942"/>
                      </a:cubicBezTo>
                      <a:cubicBezTo>
                        <a:pt x="159260" y="283497"/>
                        <a:pt x="158894" y="282887"/>
                        <a:pt x="158284" y="281302"/>
                      </a:cubicBezTo>
                      <a:lnTo>
                        <a:pt x="127650" y="278010"/>
                      </a:lnTo>
                      <a:lnTo>
                        <a:pt x="127650" y="256674"/>
                      </a:lnTo>
                      <a:lnTo>
                        <a:pt x="0" y="256674"/>
                      </a:lnTo>
                      <a:lnTo>
                        <a:pt x="1347" y="238630"/>
                      </a:lnTo>
                      <a:cubicBezTo>
                        <a:pt x="2990" y="218154"/>
                        <a:pt x="9856" y="198441"/>
                        <a:pt x="21285" y="181366"/>
                      </a:cubicBezTo>
                      <a:cubicBezTo>
                        <a:pt x="32713" y="164291"/>
                        <a:pt x="48325" y="150418"/>
                        <a:pt x="66633" y="141081"/>
                      </a:cubicBezTo>
                      <a:cubicBezTo>
                        <a:pt x="70521" y="138938"/>
                        <a:pt x="73864" y="135935"/>
                        <a:pt x="76405" y="132297"/>
                      </a:cubicBezTo>
                      <a:cubicBezTo>
                        <a:pt x="78946" y="128665"/>
                        <a:pt x="80608" y="124487"/>
                        <a:pt x="81276" y="120105"/>
                      </a:cubicBezTo>
                      <a:cubicBezTo>
                        <a:pt x="85415" y="99025"/>
                        <a:pt x="96760" y="80044"/>
                        <a:pt x="113366" y="66402"/>
                      </a:cubicBezTo>
                      <a:cubicBezTo>
                        <a:pt x="129980" y="52766"/>
                        <a:pt x="150815" y="45329"/>
                        <a:pt x="172318" y="45361"/>
                      </a:cubicBezTo>
                      <a:cubicBezTo>
                        <a:pt x="175161" y="45175"/>
                        <a:pt x="178016" y="45175"/>
                        <a:pt x="180859" y="45361"/>
                      </a:cubicBezTo>
                      <a:lnTo>
                        <a:pt x="183785" y="45361"/>
                      </a:lnTo>
                      <a:cubicBezTo>
                        <a:pt x="187629" y="45406"/>
                        <a:pt x="191434" y="44643"/>
                        <a:pt x="194963" y="43135"/>
                      </a:cubicBezTo>
                      <a:cubicBezTo>
                        <a:pt x="198499" y="41620"/>
                        <a:pt x="201675" y="39387"/>
                        <a:pt x="204287" y="36583"/>
                      </a:cubicBezTo>
                      <a:cubicBezTo>
                        <a:pt x="214932" y="25103"/>
                        <a:pt x="227824" y="15940"/>
                        <a:pt x="242165" y="9645"/>
                      </a:cubicBezTo>
                      <a:cubicBezTo>
                        <a:pt x="256500" y="3350"/>
                        <a:pt x="271978" y="71"/>
                        <a:pt x="287641" y="1"/>
                      </a:cubicBezTo>
                      <a:cubicBezTo>
                        <a:pt x="308766" y="-70"/>
                        <a:pt x="329486" y="5769"/>
                        <a:pt x="347453" y="16870"/>
                      </a:cubicBezTo>
                      <a:cubicBezTo>
                        <a:pt x="365420" y="27972"/>
                        <a:pt x="379916" y="43879"/>
                        <a:pt x="389291" y="62796"/>
                      </a:cubicBezTo>
                      <a:cubicBezTo>
                        <a:pt x="391100" y="67095"/>
                        <a:pt x="393898" y="70907"/>
                        <a:pt x="397459" y="73916"/>
                      </a:cubicBezTo>
                      <a:cubicBezTo>
                        <a:pt x="401027" y="76926"/>
                        <a:pt x="405249" y="79050"/>
                        <a:pt x="409792" y="80108"/>
                      </a:cubicBezTo>
                      <a:cubicBezTo>
                        <a:pt x="427304" y="84055"/>
                        <a:pt x="443667" y="91992"/>
                        <a:pt x="457604" y="103292"/>
                      </a:cubicBezTo>
                      <a:cubicBezTo>
                        <a:pt x="471542" y="114599"/>
                        <a:pt x="482675" y="128966"/>
                        <a:pt x="490138" y="145278"/>
                      </a:cubicBezTo>
                      <a:cubicBezTo>
                        <a:pt x="497607" y="161590"/>
                        <a:pt x="501200" y="179403"/>
                        <a:pt x="500642" y="197331"/>
                      </a:cubicBezTo>
                      <a:cubicBezTo>
                        <a:pt x="500084" y="215253"/>
                        <a:pt x="495387" y="232810"/>
                        <a:pt x="486923" y="248628"/>
                      </a:cubicBezTo>
                      <a:lnTo>
                        <a:pt x="482283" y="257284"/>
                      </a:lnTo>
                      <a:lnTo>
                        <a:pt x="375257" y="257284"/>
                      </a:lnTo>
                      <a:lnTo>
                        <a:pt x="375257" y="278620"/>
                      </a:lnTo>
                      <a:lnTo>
                        <a:pt x="349634" y="281546"/>
                      </a:lnTo>
                      <a:lnTo>
                        <a:pt x="365741" y="301669"/>
                      </a:lnTo>
                      <a:lnTo>
                        <a:pt x="312167" y="355320"/>
                      </a:lnTo>
                      <a:lnTo>
                        <a:pt x="291909" y="339105"/>
                      </a:lnTo>
                      <a:lnTo>
                        <a:pt x="289104" y="364830"/>
                      </a:lnTo>
                      <a:lnTo>
                        <a:pt x="213078" y="364830"/>
                      </a:lnTo>
                      <a:lnTo>
                        <a:pt x="209658" y="334222"/>
                      </a:lnTo>
                      <a:lnTo>
                        <a:pt x="203921" y="331418"/>
                      </a:lnTo>
                      <a:lnTo>
                        <a:pt x="200873" y="329223"/>
                      </a:lnTo>
                      <a:cubicBezTo>
                        <a:pt x="197453" y="327452"/>
                        <a:pt x="194148" y="325456"/>
                        <a:pt x="190984" y="323249"/>
                      </a:cubicBezTo>
                      <a:cubicBezTo>
                        <a:pt x="172318" y="342763"/>
                        <a:pt x="145958" y="369341"/>
                        <a:pt x="133753" y="381655"/>
                      </a:cubicBezTo>
                      <a:lnTo>
                        <a:pt x="127163" y="388361"/>
                      </a:lnTo>
                      <a:cubicBezTo>
                        <a:pt x="127644" y="392583"/>
                        <a:pt x="127195" y="396850"/>
                        <a:pt x="125847" y="400873"/>
                      </a:cubicBezTo>
                      <a:cubicBezTo>
                        <a:pt x="124493" y="404897"/>
                        <a:pt x="122279" y="408580"/>
                        <a:pt x="119353" y="411654"/>
                      </a:cubicBezTo>
                      <a:cubicBezTo>
                        <a:pt x="116722" y="414413"/>
                        <a:pt x="113559" y="416614"/>
                        <a:pt x="110062" y="418122"/>
                      </a:cubicBezTo>
                      <a:cubicBezTo>
                        <a:pt x="106558" y="419630"/>
                        <a:pt x="102785" y="420419"/>
                        <a:pt x="98973" y="420432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56" name="Freeform: Shape 55">
                  <a:extLst>
                    <a:ext uri="{FF2B5EF4-FFF2-40B4-BE49-F238E27FC236}">
                      <a16:creationId xmlns:a16="http://schemas.microsoft.com/office/drawing/2014/main" id="{380BE474-2610-97F2-2FC7-23A63EA822E9}"/>
                    </a:ext>
                  </a:extLst>
                </p:cNvPr>
                <p:cNvSpPr/>
                <p:nvPr/>
              </p:nvSpPr>
              <p:spPr>
                <a:xfrm>
                  <a:off x="1142197" y="3724186"/>
                  <a:ext cx="513347" cy="431771"/>
                </a:xfrm>
                <a:custGeom>
                  <a:avLst/>
                  <a:gdLst>
                    <a:gd name="connsiteX0" fmla="*/ 294225 w 513347"/>
                    <a:gd name="connsiteY0" fmla="*/ 12192 h 431771"/>
                    <a:gd name="connsiteX1" fmla="*/ 350899 w 513347"/>
                    <a:gd name="connsiteY1" fmla="*/ 28164 h 431771"/>
                    <a:gd name="connsiteX2" fmla="*/ 390510 w 513347"/>
                    <a:gd name="connsiteY2" fmla="*/ 71695 h 431771"/>
                    <a:gd name="connsiteX3" fmla="*/ 400559 w 513347"/>
                    <a:gd name="connsiteY3" fmla="*/ 83971 h 431771"/>
                    <a:gd name="connsiteX4" fmla="*/ 414919 w 513347"/>
                    <a:gd name="connsiteY4" fmla="*/ 90715 h 431771"/>
                    <a:gd name="connsiteX5" fmla="*/ 449821 w 513347"/>
                    <a:gd name="connsiteY5" fmla="*/ 105108 h 431771"/>
                    <a:gd name="connsiteX6" fmla="*/ 497735 w 513347"/>
                    <a:gd name="connsiteY6" fmla="*/ 170143 h 431771"/>
                    <a:gd name="connsiteX7" fmla="*/ 488142 w 513347"/>
                    <a:gd name="connsiteY7" fmla="*/ 250334 h 431771"/>
                    <a:gd name="connsiteX8" fmla="*/ 485210 w 513347"/>
                    <a:gd name="connsiteY8" fmla="*/ 255820 h 431771"/>
                    <a:gd name="connsiteX9" fmla="*/ 375379 w 513347"/>
                    <a:gd name="connsiteY9" fmla="*/ 255820 h 431771"/>
                    <a:gd name="connsiteX10" fmla="*/ 375379 w 513347"/>
                    <a:gd name="connsiteY10" fmla="*/ 277888 h 431771"/>
                    <a:gd name="connsiteX11" fmla="*/ 346702 w 513347"/>
                    <a:gd name="connsiteY11" fmla="*/ 281058 h 431771"/>
                    <a:gd name="connsiteX12" fmla="*/ 345727 w 513347"/>
                    <a:gd name="connsiteY12" fmla="*/ 283252 h 431771"/>
                    <a:gd name="connsiteX13" fmla="*/ 363784 w 513347"/>
                    <a:gd name="connsiteY13" fmla="*/ 305936 h 431771"/>
                    <a:gd name="connsiteX14" fmla="*/ 317903 w 513347"/>
                    <a:gd name="connsiteY14" fmla="*/ 351784 h 431771"/>
                    <a:gd name="connsiteX15" fmla="*/ 295322 w 513347"/>
                    <a:gd name="connsiteY15" fmla="*/ 333612 h 431771"/>
                    <a:gd name="connsiteX16" fmla="*/ 293006 w 513347"/>
                    <a:gd name="connsiteY16" fmla="*/ 334587 h 431771"/>
                    <a:gd name="connsiteX17" fmla="*/ 289830 w 513347"/>
                    <a:gd name="connsiteY17" fmla="*/ 363367 h 431771"/>
                    <a:gd name="connsiteX18" fmla="*/ 225276 w 513347"/>
                    <a:gd name="connsiteY18" fmla="*/ 363367 h 431771"/>
                    <a:gd name="connsiteX19" fmla="*/ 222106 w 513347"/>
                    <a:gd name="connsiteY19" fmla="*/ 334587 h 431771"/>
                    <a:gd name="connsiteX20" fmla="*/ 213559 w 513347"/>
                    <a:gd name="connsiteY20" fmla="*/ 330686 h 431771"/>
                    <a:gd name="connsiteX21" fmla="*/ 210511 w 513347"/>
                    <a:gd name="connsiteY21" fmla="*/ 329223 h 431771"/>
                    <a:gd name="connsiteX22" fmla="*/ 197087 w 513347"/>
                    <a:gd name="connsiteY22" fmla="*/ 320566 h 431771"/>
                    <a:gd name="connsiteX23" fmla="*/ 136069 w 513347"/>
                    <a:gd name="connsiteY23" fmla="*/ 383240 h 431771"/>
                    <a:gd name="connsiteX24" fmla="*/ 129235 w 513347"/>
                    <a:gd name="connsiteY24" fmla="*/ 390189 h 431771"/>
                    <a:gd name="connsiteX25" fmla="*/ 127894 w 513347"/>
                    <a:gd name="connsiteY25" fmla="*/ 391652 h 431771"/>
                    <a:gd name="connsiteX26" fmla="*/ 127894 w 513347"/>
                    <a:gd name="connsiteY26" fmla="*/ 393481 h 431771"/>
                    <a:gd name="connsiteX27" fmla="*/ 127195 w 513347"/>
                    <a:gd name="connsiteY27" fmla="*/ 403735 h 431771"/>
                    <a:gd name="connsiteX28" fmla="*/ 122036 w 513347"/>
                    <a:gd name="connsiteY28" fmla="*/ 412629 h 431771"/>
                    <a:gd name="connsiteX29" fmla="*/ 114733 w 513347"/>
                    <a:gd name="connsiteY29" fmla="*/ 417525 h 431771"/>
                    <a:gd name="connsiteX30" fmla="*/ 106109 w 513347"/>
                    <a:gd name="connsiteY30" fmla="*/ 419244 h 431771"/>
                    <a:gd name="connsiteX31" fmla="*/ 97485 w 513347"/>
                    <a:gd name="connsiteY31" fmla="*/ 417525 h 431771"/>
                    <a:gd name="connsiteX32" fmla="*/ 90182 w 513347"/>
                    <a:gd name="connsiteY32" fmla="*/ 412629 h 431771"/>
                    <a:gd name="connsiteX33" fmla="*/ 83618 w 513347"/>
                    <a:gd name="connsiteY33" fmla="*/ 396471 h 431771"/>
                    <a:gd name="connsiteX34" fmla="*/ 90182 w 513347"/>
                    <a:gd name="connsiteY34" fmla="*/ 380313 h 431771"/>
                    <a:gd name="connsiteX35" fmla="*/ 97574 w 513347"/>
                    <a:gd name="connsiteY35" fmla="*/ 375148 h 431771"/>
                    <a:gd name="connsiteX36" fmla="*/ 106417 w 513347"/>
                    <a:gd name="connsiteY36" fmla="*/ 373364 h 431771"/>
                    <a:gd name="connsiteX37" fmla="*/ 109221 w 513347"/>
                    <a:gd name="connsiteY37" fmla="*/ 373364 h 431771"/>
                    <a:gd name="connsiteX38" fmla="*/ 111172 w 513347"/>
                    <a:gd name="connsiteY38" fmla="*/ 373364 h 431771"/>
                    <a:gd name="connsiteX39" fmla="*/ 112635 w 513347"/>
                    <a:gd name="connsiteY39" fmla="*/ 372023 h 431771"/>
                    <a:gd name="connsiteX40" fmla="*/ 118737 w 513347"/>
                    <a:gd name="connsiteY40" fmla="*/ 365805 h 431771"/>
                    <a:gd name="connsiteX41" fmla="*/ 179755 w 513347"/>
                    <a:gd name="connsiteY41" fmla="*/ 303132 h 431771"/>
                    <a:gd name="connsiteX42" fmla="*/ 171702 w 513347"/>
                    <a:gd name="connsiteY42" fmla="*/ 288739 h 431771"/>
                    <a:gd name="connsiteX43" fmla="*/ 168166 w 513347"/>
                    <a:gd name="connsiteY43" fmla="*/ 281058 h 431771"/>
                    <a:gd name="connsiteX44" fmla="*/ 139361 w 513347"/>
                    <a:gd name="connsiteY44" fmla="*/ 277888 h 431771"/>
                    <a:gd name="connsiteX45" fmla="*/ 139361 w 513347"/>
                    <a:gd name="connsiteY45" fmla="*/ 256064 h 431771"/>
                    <a:gd name="connsiteX46" fmla="*/ 13180 w 513347"/>
                    <a:gd name="connsiteY46" fmla="*/ 256064 h 431771"/>
                    <a:gd name="connsiteX47" fmla="*/ 14034 w 513347"/>
                    <a:gd name="connsiteY47" fmla="*/ 244847 h 431771"/>
                    <a:gd name="connsiteX48" fmla="*/ 32379 w 513347"/>
                    <a:gd name="connsiteY48" fmla="*/ 190157 h 431771"/>
                    <a:gd name="connsiteX49" fmla="*/ 75051 w 513347"/>
                    <a:gd name="connsiteY49" fmla="*/ 151322 h 431771"/>
                    <a:gd name="connsiteX50" fmla="*/ 87096 w 513347"/>
                    <a:gd name="connsiteY50" fmla="*/ 141228 h 431771"/>
                    <a:gd name="connsiteX51" fmla="*/ 93603 w 513347"/>
                    <a:gd name="connsiteY51" fmla="*/ 126932 h 431771"/>
                    <a:gd name="connsiteX52" fmla="*/ 110934 w 513347"/>
                    <a:gd name="connsiteY52" fmla="*/ 89521 h 431771"/>
                    <a:gd name="connsiteX53" fmla="*/ 143635 w 513347"/>
                    <a:gd name="connsiteY53" fmla="*/ 64380 h 431771"/>
                    <a:gd name="connsiteX54" fmla="*/ 178536 w 513347"/>
                    <a:gd name="connsiteY54" fmla="*/ 57065 h 431771"/>
                    <a:gd name="connsiteX55" fmla="*/ 186589 w 513347"/>
                    <a:gd name="connsiteY55" fmla="*/ 57065 h 431771"/>
                    <a:gd name="connsiteX56" fmla="*/ 190131 w 513347"/>
                    <a:gd name="connsiteY56" fmla="*/ 57065 h 431771"/>
                    <a:gd name="connsiteX57" fmla="*/ 203427 w 513347"/>
                    <a:gd name="connsiteY57" fmla="*/ 54178 h 431771"/>
                    <a:gd name="connsiteX58" fmla="*/ 214534 w 513347"/>
                    <a:gd name="connsiteY58" fmla="*/ 46336 h 431771"/>
                    <a:gd name="connsiteX59" fmla="*/ 250802 w 513347"/>
                    <a:gd name="connsiteY59" fmla="*/ 20919 h 431771"/>
                    <a:gd name="connsiteX60" fmla="*/ 294225 w 513347"/>
                    <a:gd name="connsiteY60" fmla="*/ 12192 h 431771"/>
                    <a:gd name="connsiteX61" fmla="*/ 294225 w 513347"/>
                    <a:gd name="connsiteY61" fmla="*/ 0 h 431771"/>
                    <a:gd name="connsiteX62" fmla="*/ 246362 w 513347"/>
                    <a:gd name="connsiteY62" fmla="*/ 10004 h 431771"/>
                    <a:gd name="connsiteX63" fmla="*/ 206481 w 513347"/>
                    <a:gd name="connsiteY63" fmla="*/ 38283 h 431771"/>
                    <a:gd name="connsiteX64" fmla="*/ 199204 w 513347"/>
                    <a:gd name="connsiteY64" fmla="*/ 43365 h 431771"/>
                    <a:gd name="connsiteX65" fmla="*/ 190497 w 513347"/>
                    <a:gd name="connsiteY65" fmla="*/ 45117 h 431771"/>
                    <a:gd name="connsiteX66" fmla="*/ 188058 w 513347"/>
                    <a:gd name="connsiteY66" fmla="*/ 45117 h 431771"/>
                    <a:gd name="connsiteX67" fmla="*/ 178902 w 513347"/>
                    <a:gd name="connsiteY67" fmla="*/ 45117 h 431771"/>
                    <a:gd name="connsiteX68" fmla="*/ 116132 w 513347"/>
                    <a:gd name="connsiteY68" fmla="*/ 67659 h 431771"/>
                    <a:gd name="connsiteX69" fmla="*/ 81885 w 513347"/>
                    <a:gd name="connsiteY69" fmla="*/ 124859 h 431771"/>
                    <a:gd name="connsiteX70" fmla="*/ 77618 w 513347"/>
                    <a:gd name="connsiteY70" fmla="*/ 134298 h 431771"/>
                    <a:gd name="connsiteX71" fmla="*/ 69680 w 513347"/>
                    <a:gd name="connsiteY71" fmla="*/ 140952 h 431771"/>
                    <a:gd name="connsiteX72" fmla="*/ 22401 w 513347"/>
                    <a:gd name="connsiteY72" fmla="*/ 183625 h 431771"/>
                    <a:gd name="connsiteX73" fmla="*/ 1829 w 513347"/>
                    <a:gd name="connsiteY73" fmla="*/ 243866 h 431771"/>
                    <a:gd name="connsiteX74" fmla="*/ 975 w 513347"/>
                    <a:gd name="connsiteY74" fmla="*/ 255211 h 431771"/>
                    <a:gd name="connsiteX75" fmla="*/ 0 w 513347"/>
                    <a:gd name="connsiteY75" fmla="*/ 268256 h 431771"/>
                    <a:gd name="connsiteX76" fmla="*/ 127528 w 513347"/>
                    <a:gd name="connsiteY76" fmla="*/ 268256 h 431771"/>
                    <a:gd name="connsiteX77" fmla="*/ 127528 w 513347"/>
                    <a:gd name="connsiteY77" fmla="*/ 288982 h 431771"/>
                    <a:gd name="connsiteX78" fmla="*/ 138386 w 513347"/>
                    <a:gd name="connsiteY78" fmla="*/ 290202 h 431771"/>
                    <a:gd name="connsiteX79" fmla="*/ 160229 w 513347"/>
                    <a:gd name="connsiteY79" fmla="*/ 292640 h 431771"/>
                    <a:gd name="connsiteX80" fmla="*/ 161210 w 513347"/>
                    <a:gd name="connsiteY80" fmla="*/ 294469 h 431771"/>
                    <a:gd name="connsiteX81" fmla="*/ 164868 w 513347"/>
                    <a:gd name="connsiteY81" fmla="*/ 301669 h 431771"/>
                    <a:gd name="connsiteX82" fmla="*/ 109831 w 513347"/>
                    <a:gd name="connsiteY82" fmla="*/ 357270 h 431771"/>
                    <a:gd name="connsiteX83" fmla="*/ 105435 w 513347"/>
                    <a:gd name="connsiteY83" fmla="*/ 361782 h 431771"/>
                    <a:gd name="connsiteX84" fmla="*/ 91812 w 513347"/>
                    <a:gd name="connsiteY84" fmla="*/ 364547 h 431771"/>
                    <a:gd name="connsiteX85" fmla="*/ 80422 w 513347"/>
                    <a:gd name="connsiteY85" fmla="*/ 372510 h 431771"/>
                    <a:gd name="connsiteX86" fmla="*/ 70726 w 513347"/>
                    <a:gd name="connsiteY86" fmla="*/ 397440 h 431771"/>
                    <a:gd name="connsiteX87" fmla="*/ 81276 w 513347"/>
                    <a:gd name="connsiteY87" fmla="*/ 422017 h 431771"/>
                    <a:gd name="connsiteX88" fmla="*/ 105679 w 513347"/>
                    <a:gd name="connsiteY88" fmla="*/ 431770 h 431771"/>
                    <a:gd name="connsiteX89" fmla="*/ 119212 w 513347"/>
                    <a:gd name="connsiteY89" fmla="*/ 428992 h 431771"/>
                    <a:gd name="connsiteX90" fmla="*/ 130589 w 513347"/>
                    <a:gd name="connsiteY90" fmla="*/ 421163 h 431771"/>
                    <a:gd name="connsiteX91" fmla="*/ 138026 w 513347"/>
                    <a:gd name="connsiteY91" fmla="*/ 409529 h 431771"/>
                    <a:gd name="connsiteX92" fmla="*/ 140343 w 513347"/>
                    <a:gd name="connsiteY92" fmla="*/ 395919 h 431771"/>
                    <a:gd name="connsiteX93" fmla="*/ 144488 w 513347"/>
                    <a:gd name="connsiteY93" fmla="*/ 391774 h 431771"/>
                    <a:gd name="connsiteX94" fmla="*/ 198794 w 513347"/>
                    <a:gd name="connsiteY94" fmla="*/ 336294 h 431771"/>
                    <a:gd name="connsiteX95" fmla="*/ 205018 w 513347"/>
                    <a:gd name="connsiteY95" fmla="*/ 339952 h 431771"/>
                    <a:gd name="connsiteX96" fmla="*/ 207457 w 513347"/>
                    <a:gd name="connsiteY96" fmla="*/ 341415 h 431771"/>
                    <a:gd name="connsiteX97" fmla="*/ 210267 w 513347"/>
                    <a:gd name="connsiteY97" fmla="*/ 342756 h 431771"/>
                    <a:gd name="connsiteX98" fmla="*/ 212705 w 513347"/>
                    <a:gd name="connsiteY98" fmla="*/ 364586 h 431771"/>
                    <a:gd name="connsiteX99" fmla="*/ 213925 w 513347"/>
                    <a:gd name="connsiteY99" fmla="*/ 375437 h 431771"/>
                    <a:gd name="connsiteX100" fmla="*/ 300693 w 513347"/>
                    <a:gd name="connsiteY100" fmla="*/ 375437 h 431771"/>
                    <a:gd name="connsiteX101" fmla="*/ 301912 w 513347"/>
                    <a:gd name="connsiteY101" fmla="*/ 364586 h 431771"/>
                    <a:gd name="connsiteX102" fmla="*/ 302888 w 513347"/>
                    <a:gd name="connsiteY102" fmla="*/ 355320 h 431771"/>
                    <a:gd name="connsiteX103" fmla="*/ 310209 w 513347"/>
                    <a:gd name="connsiteY103" fmla="*/ 361172 h 431771"/>
                    <a:gd name="connsiteX104" fmla="*/ 318635 w 513347"/>
                    <a:gd name="connsiteY104" fmla="*/ 368000 h 431771"/>
                    <a:gd name="connsiteX105" fmla="*/ 326444 w 513347"/>
                    <a:gd name="connsiteY105" fmla="*/ 360197 h 431771"/>
                    <a:gd name="connsiteX106" fmla="*/ 372331 w 513347"/>
                    <a:gd name="connsiteY106" fmla="*/ 314348 h 431771"/>
                    <a:gd name="connsiteX107" fmla="*/ 380018 w 513347"/>
                    <a:gd name="connsiteY107" fmla="*/ 306667 h 431771"/>
                    <a:gd name="connsiteX108" fmla="*/ 373184 w 513347"/>
                    <a:gd name="connsiteY108" fmla="*/ 298133 h 431771"/>
                    <a:gd name="connsiteX109" fmla="*/ 367326 w 513347"/>
                    <a:gd name="connsiteY109" fmla="*/ 290933 h 431771"/>
                    <a:gd name="connsiteX110" fmla="*/ 376598 w 513347"/>
                    <a:gd name="connsiteY110" fmla="*/ 289836 h 431771"/>
                    <a:gd name="connsiteX111" fmla="*/ 387462 w 513347"/>
                    <a:gd name="connsiteY111" fmla="*/ 288617 h 431771"/>
                    <a:gd name="connsiteX112" fmla="*/ 387462 w 513347"/>
                    <a:gd name="connsiteY112" fmla="*/ 268256 h 431771"/>
                    <a:gd name="connsiteX113" fmla="*/ 492043 w 513347"/>
                    <a:gd name="connsiteY113" fmla="*/ 268256 h 431771"/>
                    <a:gd name="connsiteX114" fmla="*/ 495464 w 513347"/>
                    <a:gd name="connsiteY114" fmla="*/ 261916 h 431771"/>
                    <a:gd name="connsiteX115" fmla="*/ 498390 w 513347"/>
                    <a:gd name="connsiteY115" fmla="*/ 256430 h 431771"/>
                    <a:gd name="connsiteX116" fmla="*/ 513264 w 513347"/>
                    <a:gd name="connsiteY116" fmla="*/ 202458 h 431771"/>
                    <a:gd name="connsiteX117" fmla="*/ 502432 w 513347"/>
                    <a:gd name="connsiteY117" fmla="*/ 147530 h 431771"/>
                    <a:gd name="connsiteX118" fmla="*/ 468179 w 513347"/>
                    <a:gd name="connsiteY118" fmla="*/ 103228 h 431771"/>
                    <a:gd name="connsiteX119" fmla="*/ 417724 w 513347"/>
                    <a:gd name="connsiteY119" fmla="*/ 78889 h 431771"/>
                    <a:gd name="connsiteX120" fmla="*/ 408143 w 513347"/>
                    <a:gd name="connsiteY120" fmla="*/ 74609 h 431771"/>
                    <a:gd name="connsiteX121" fmla="*/ 401252 w 513347"/>
                    <a:gd name="connsiteY121" fmla="*/ 66697 h 431771"/>
                    <a:gd name="connsiteX122" fmla="*/ 357322 w 513347"/>
                    <a:gd name="connsiteY122" fmla="*/ 17993 h 431771"/>
                    <a:gd name="connsiteX123" fmla="*/ 294225 w 513347"/>
                    <a:gd name="connsiteY123" fmla="*/ 0 h 4317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</a:cxnLst>
                  <a:rect l="l" t="t" r="r" b="b"/>
                  <a:pathLst>
                    <a:path w="513347" h="431771">
                      <a:moveTo>
                        <a:pt x="294225" y="12192"/>
                      </a:moveTo>
                      <a:cubicBezTo>
                        <a:pt x="314239" y="12109"/>
                        <a:pt x="333875" y="17640"/>
                        <a:pt x="350899" y="28164"/>
                      </a:cubicBezTo>
                      <a:cubicBezTo>
                        <a:pt x="367923" y="38681"/>
                        <a:pt x="381648" y="53767"/>
                        <a:pt x="390510" y="71695"/>
                      </a:cubicBezTo>
                      <a:cubicBezTo>
                        <a:pt x="392903" y="76489"/>
                        <a:pt x="396330" y="80679"/>
                        <a:pt x="400559" y="83971"/>
                      </a:cubicBezTo>
                      <a:cubicBezTo>
                        <a:pt x="404781" y="87263"/>
                        <a:pt x="409690" y="89566"/>
                        <a:pt x="414919" y="90715"/>
                      </a:cubicBezTo>
                      <a:cubicBezTo>
                        <a:pt x="427285" y="93500"/>
                        <a:pt x="439085" y="98370"/>
                        <a:pt x="449821" y="105108"/>
                      </a:cubicBezTo>
                      <a:cubicBezTo>
                        <a:pt x="473486" y="119912"/>
                        <a:pt x="490619" y="143166"/>
                        <a:pt x="497735" y="170143"/>
                      </a:cubicBezTo>
                      <a:cubicBezTo>
                        <a:pt x="504851" y="197119"/>
                        <a:pt x="501425" y="225796"/>
                        <a:pt x="488142" y="250334"/>
                      </a:cubicBezTo>
                      <a:lnTo>
                        <a:pt x="485210" y="255820"/>
                      </a:lnTo>
                      <a:lnTo>
                        <a:pt x="375379" y="255820"/>
                      </a:lnTo>
                      <a:lnTo>
                        <a:pt x="375379" y="277888"/>
                      </a:lnTo>
                      <a:lnTo>
                        <a:pt x="346702" y="281058"/>
                      </a:lnTo>
                      <a:lnTo>
                        <a:pt x="345727" y="283252"/>
                      </a:lnTo>
                      <a:lnTo>
                        <a:pt x="363784" y="305936"/>
                      </a:lnTo>
                      <a:lnTo>
                        <a:pt x="317903" y="351784"/>
                      </a:lnTo>
                      <a:lnTo>
                        <a:pt x="295322" y="333612"/>
                      </a:lnTo>
                      <a:lnTo>
                        <a:pt x="293006" y="334587"/>
                      </a:lnTo>
                      <a:lnTo>
                        <a:pt x="289830" y="363367"/>
                      </a:lnTo>
                      <a:lnTo>
                        <a:pt x="225276" y="363367"/>
                      </a:lnTo>
                      <a:lnTo>
                        <a:pt x="222106" y="334587"/>
                      </a:lnTo>
                      <a:cubicBezTo>
                        <a:pt x="219180" y="333464"/>
                        <a:pt x="216325" y="332161"/>
                        <a:pt x="213559" y="330686"/>
                      </a:cubicBezTo>
                      <a:lnTo>
                        <a:pt x="210511" y="329223"/>
                      </a:lnTo>
                      <a:cubicBezTo>
                        <a:pt x="205820" y="326681"/>
                        <a:pt x="201335" y="323787"/>
                        <a:pt x="197087" y="320566"/>
                      </a:cubicBezTo>
                      <a:cubicBezTo>
                        <a:pt x="178048" y="340439"/>
                        <a:pt x="148274" y="370438"/>
                        <a:pt x="136069" y="383240"/>
                      </a:cubicBezTo>
                      <a:lnTo>
                        <a:pt x="129235" y="390189"/>
                      </a:lnTo>
                      <a:lnTo>
                        <a:pt x="127894" y="391652"/>
                      </a:lnTo>
                      <a:lnTo>
                        <a:pt x="127894" y="393481"/>
                      </a:lnTo>
                      <a:cubicBezTo>
                        <a:pt x="128446" y="396907"/>
                        <a:pt x="128208" y="400418"/>
                        <a:pt x="127195" y="403735"/>
                      </a:cubicBezTo>
                      <a:cubicBezTo>
                        <a:pt x="126174" y="407053"/>
                        <a:pt x="124410" y="410094"/>
                        <a:pt x="122036" y="412629"/>
                      </a:cubicBezTo>
                      <a:cubicBezTo>
                        <a:pt x="119950" y="414727"/>
                        <a:pt x="117467" y="416389"/>
                        <a:pt x="114733" y="417525"/>
                      </a:cubicBezTo>
                      <a:cubicBezTo>
                        <a:pt x="112000" y="418661"/>
                        <a:pt x="109067" y="419244"/>
                        <a:pt x="106109" y="419244"/>
                      </a:cubicBezTo>
                      <a:cubicBezTo>
                        <a:pt x="103151" y="419244"/>
                        <a:pt x="100218" y="418661"/>
                        <a:pt x="97485" y="417525"/>
                      </a:cubicBezTo>
                      <a:cubicBezTo>
                        <a:pt x="94751" y="416389"/>
                        <a:pt x="92268" y="414727"/>
                        <a:pt x="90182" y="412629"/>
                      </a:cubicBezTo>
                      <a:cubicBezTo>
                        <a:pt x="85973" y="408304"/>
                        <a:pt x="83618" y="402503"/>
                        <a:pt x="83618" y="396471"/>
                      </a:cubicBezTo>
                      <a:cubicBezTo>
                        <a:pt x="83618" y="390433"/>
                        <a:pt x="85973" y="384638"/>
                        <a:pt x="90182" y="380313"/>
                      </a:cubicBezTo>
                      <a:cubicBezTo>
                        <a:pt x="92268" y="378100"/>
                        <a:pt x="94783" y="376341"/>
                        <a:pt x="97574" y="375148"/>
                      </a:cubicBezTo>
                      <a:cubicBezTo>
                        <a:pt x="100366" y="373954"/>
                        <a:pt x="103375" y="373345"/>
                        <a:pt x="106417" y="373364"/>
                      </a:cubicBezTo>
                      <a:lnTo>
                        <a:pt x="109221" y="373364"/>
                      </a:lnTo>
                      <a:lnTo>
                        <a:pt x="111172" y="373364"/>
                      </a:lnTo>
                      <a:lnTo>
                        <a:pt x="112635" y="372023"/>
                      </a:lnTo>
                      <a:lnTo>
                        <a:pt x="118737" y="365805"/>
                      </a:lnTo>
                      <a:cubicBezTo>
                        <a:pt x="132527" y="351906"/>
                        <a:pt x="161088" y="323127"/>
                        <a:pt x="179755" y="303132"/>
                      </a:cubicBezTo>
                      <a:cubicBezTo>
                        <a:pt x="176707" y="298011"/>
                        <a:pt x="172921" y="291665"/>
                        <a:pt x="171702" y="288739"/>
                      </a:cubicBezTo>
                      <a:cubicBezTo>
                        <a:pt x="170483" y="285813"/>
                        <a:pt x="169264" y="283618"/>
                        <a:pt x="168166" y="281058"/>
                      </a:cubicBezTo>
                      <a:lnTo>
                        <a:pt x="139361" y="277888"/>
                      </a:lnTo>
                      <a:lnTo>
                        <a:pt x="139361" y="256064"/>
                      </a:lnTo>
                      <a:lnTo>
                        <a:pt x="13180" y="256064"/>
                      </a:lnTo>
                      <a:lnTo>
                        <a:pt x="14034" y="244847"/>
                      </a:lnTo>
                      <a:cubicBezTo>
                        <a:pt x="15381" y="225353"/>
                        <a:pt x="21695" y="206526"/>
                        <a:pt x="32379" y="190157"/>
                      </a:cubicBezTo>
                      <a:cubicBezTo>
                        <a:pt x="43057" y="173787"/>
                        <a:pt x="57745" y="160421"/>
                        <a:pt x="75051" y="151322"/>
                      </a:cubicBezTo>
                      <a:cubicBezTo>
                        <a:pt x="79768" y="148896"/>
                        <a:pt x="83887" y="145451"/>
                        <a:pt x="87096" y="141228"/>
                      </a:cubicBezTo>
                      <a:cubicBezTo>
                        <a:pt x="90304" y="137006"/>
                        <a:pt x="92531" y="132123"/>
                        <a:pt x="93603" y="126932"/>
                      </a:cubicBezTo>
                      <a:cubicBezTo>
                        <a:pt x="96272" y="113244"/>
                        <a:pt x="102220" y="100411"/>
                        <a:pt x="110934" y="89521"/>
                      </a:cubicBezTo>
                      <a:cubicBezTo>
                        <a:pt x="119642" y="78626"/>
                        <a:pt x="130865" y="70001"/>
                        <a:pt x="143635" y="64380"/>
                      </a:cubicBezTo>
                      <a:cubicBezTo>
                        <a:pt x="154646" y="59587"/>
                        <a:pt x="166524" y="57097"/>
                        <a:pt x="178536" y="57065"/>
                      </a:cubicBezTo>
                      <a:lnTo>
                        <a:pt x="186589" y="57065"/>
                      </a:lnTo>
                      <a:lnTo>
                        <a:pt x="190131" y="57065"/>
                      </a:lnTo>
                      <a:cubicBezTo>
                        <a:pt x="194713" y="57001"/>
                        <a:pt x="199230" y="56019"/>
                        <a:pt x="203427" y="54178"/>
                      </a:cubicBezTo>
                      <a:cubicBezTo>
                        <a:pt x="207617" y="52330"/>
                        <a:pt x="211396" y="49666"/>
                        <a:pt x="214534" y="46336"/>
                      </a:cubicBezTo>
                      <a:cubicBezTo>
                        <a:pt x="224737" y="35453"/>
                        <a:pt x="237083" y="26797"/>
                        <a:pt x="250802" y="20919"/>
                      </a:cubicBezTo>
                      <a:cubicBezTo>
                        <a:pt x="264515" y="15047"/>
                        <a:pt x="279306" y="12070"/>
                        <a:pt x="294225" y="12192"/>
                      </a:cubicBezTo>
                      <a:close/>
                      <a:moveTo>
                        <a:pt x="294225" y="0"/>
                      </a:moveTo>
                      <a:cubicBezTo>
                        <a:pt x="277753" y="13"/>
                        <a:pt x="261461" y="3420"/>
                        <a:pt x="246362" y="10004"/>
                      </a:cubicBezTo>
                      <a:cubicBezTo>
                        <a:pt x="231263" y="16594"/>
                        <a:pt x="217691" y="26219"/>
                        <a:pt x="206481" y="38283"/>
                      </a:cubicBezTo>
                      <a:cubicBezTo>
                        <a:pt x="204434" y="40465"/>
                        <a:pt x="201951" y="42191"/>
                        <a:pt x="199204" y="43365"/>
                      </a:cubicBezTo>
                      <a:cubicBezTo>
                        <a:pt x="196452" y="44546"/>
                        <a:pt x="193487" y="45136"/>
                        <a:pt x="190497" y="45117"/>
                      </a:cubicBezTo>
                      <a:lnTo>
                        <a:pt x="188058" y="45117"/>
                      </a:lnTo>
                      <a:cubicBezTo>
                        <a:pt x="185010" y="44931"/>
                        <a:pt x="181950" y="44931"/>
                        <a:pt x="178902" y="45117"/>
                      </a:cubicBezTo>
                      <a:cubicBezTo>
                        <a:pt x="156000" y="45155"/>
                        <a:pt x="133817" y="53125"/>
                        <a:pt x="116132" y="67659"/>
                      </a:cubicBezTo>
                      <a:cubicBezTo>
                        <a:pt x="98441" y="82200"/>
                        <a:pt x="86339" y="102413"/>
                        <a:pt x="81885" y="124859"/>
                      </a:cubicBezTo>
                      <a:cubicBezTo>
                        <a:pt x="81192" y="128286"/>
                        <a:pt x="79736" y="131513"/>
                        <a:pt x="77618" y="134298"/>
                      </a:cubicBezTo>
                      <a:cubicBezTo>
                        <a:pt x="75507" y="137083"/>
                        <a:pt x="72793" y="139361"/>
                        <a:pt x="69680" y="140952"/>
                      </a:cubicBezTo>
                      <a:cubicBezTo>
                        <a:pt x="50545" y="150931"/>
                        <a:pt x="34279" y="165612"/>
                        <a:pt x="22401" y="183625"/>
                      </a:cubicBezTo>
                      <a:cubicBezTo>
                        <a:pt x="10530" y="201630"/>
                        <a:pt x="3452" y="222363"/>
                        <a:pt x="1829" y="243866"/>
                      </a:cubicBezTo>
                      <a:lnTo>
                        <a:pt x="975" y="255211"/>
                      </a:lnTo>
                      <a:lnTo>
                        <a:pt x="0" y="268256"/>
                      </a:lnTo>
                      <a:lnTo>
                        <a:pt x="127528" y="268256"/>
                      </a:lnTo>
                      <a:lnTo>
                        <a:pt x="127528" y="288982"/>
                      </a:lnTo>
                      <a:lnTo>
                        <a:pt x="138386" y="290202"/>
                      </a:lnTo>
                      <a:lnTo>
                        <a:pt x="160229" y="292640"/>
                      </a:lnTo>
                      <a:lnTo>
                        <a:pt x="161210" y="294469"/>
                      </a:lnTo>
                      <a:cubicBezTo>
                        <a:pt x="161942" y="296304"/>
                        <a:pt x="163405" y="298986"/>
                        <a:pt x="164868" y="301669"/>
                      </a:cubicBezTo>
                      <a:cubicBezTo>
                        <a:pt x="146439" y="320932"/>
                        <a:pt x="121304" y="345926"/>
                        <a:pt x="109831" y="357270"/>
                      </a:cubicBezTo>
                      <a:lnTo>
                        <a:pt x="105435" y="361782"/>
                      </a:lnTo>
                      <a:cubicBezTo>
                        <a:pt x="100757" y="361762"/>
                        <a:pt x="96118" y="362706"/>
                        <a:pt x="91812" y="364547"/>
                      </a:cubicBezTo>
                      <a:cubicBezTo>
                        <a:pt x="87513" y="366395"/>
                        <a:pt x="83631" y="369103"/>
                        <a:pt x="80422" y="372510"/>
                      </a:cubicBezTo>
                      <a:cubicBezTo>
                        <a:pt x="74050" y="379229"/>
                        <a:pt x="70572" y="388181"/>
                        <a:pt x="70726" y="397440"/>
                      </a:cubicBezTo>
                      <a:cubicBezTo>
                        <a:pt x="70887" y="406693"/>
                        <a:pt x="74673" y="415516"/>
                        <a:pt x="81276" y="422017"/>
                      </a:cubicBezTo>
                      <a:cubicBezTo>
                        <a:pt x="87808" y="428356"/>
                        <a:pt x="96580" y="431860"/>
                        <a:pt x="105679" y="431770"/>
                      </a:cubicBezTo>
                      <a:cubicBezTo>
                        <a:pt x="110331" y="431757"/>
                        <a:pt x="114932" y="430814"/>
                        <a:pt x="119212" y="428992"/>
                      </a:cubicBezTo>
                      <a:cubicBezTo>
                        <a:pt x="123492" y="427169"/>
                        <a:pt x="127362" y="424506"/>
                        <a:pt x="130589" y="421163"/>
                      </a:cubicBezTo>
                      <a:cubicBezTo>
                        <a:pt x="133823" y="417820"/>
                        <a:pt x="136351" y="413867"/>
                        <a:pt x="138026" y="409529"/>
                      </a:cubicBezTo>
                      <a:cubicBezTo>
                        <a:pt x="139701" y="405192"/>
                        <a:pt x="140484" y="400565"/>
                        <a:pt x="140343" y="395919"/>
                      </a:cubicBezTo>
                      <a:lnTo>
                        <a:pt x="144488" y="391774"/>
                      </a:lnTo>
                      <a:cubicBezTo>
                        <a:pt x="155839" y="380313"/>
                        <a:pt x="180121" y="355198"/>
                        <a:pt x="198794" y="336294"/>
                      </a:cubicBezTo>
                      <a:cubicBezTo>
                        <a:pt x="200828" y="337680"/>
                        <a:pt x="202901" y="338899"/>
                        <a:pt x="205018" y="339952"/>
                      </a:cubicBezTo>
                      <a:lnTo>
                        <a:pt x="207457" y="341415"/>
                      </a:lnTo>
                      <a:lnTo>
                        <a:pt x="210267" y="342756"/>
                      </a:lnTo>
                      <a:lnTo>
                        <a:pt x="212705" y="364586"/>
                      </a:lnTo>
                      <a:lnTo>
                        <a:pt x="213925" y="375437"/>
                      </a:lnTo>
                      <a:lnTo>
                        <a:pt x="300693" y="375437"/>
                      </a:lnTo>
                      <a:lnTo>
                        <a:pt x="301912" y="364586"/>
                      </a:lnTo>
                      <a:lnTo>
                        <a:pt x="302888" y="355320"/>
                      </a:lnTo>
                      <a:lnTo>
                        <a:pt x="310209" y="361172"/>
                      </a:lnTo>
                      <a:lnTo>
                        <a:pt x="318635" y="368000"/>
                      </a:lnTo>
                      <a:lnTo>
                        <a:pt x="326444" y="360197"/>
                      </a:lnTo>
                      <a:lnTo>
                        <a:pt x="372331" y="314348"/>
                      </a:lnTo>
                      <a:lnTo>
                        <a:pt x="380018" y="306667"/>
                      </a:lnTo>
                      <a:lnTo>
                        <a:pt x="373184" y="298133"/>
                      </a:lnTo>
                      <a:lnTo>
                        <a:pt x="367326" y="290933"/>
                      </a:lnTo>
                      <a:lnTo>
                        <a:pt x="376598" y="289836"/>
                      </a:lnTo>
                      <a:lnTo>
                        <a:pt x="387462" y="288617"/>
                      </a:lnTo>
                      <a:lnTo>
                        <a:pt x="387462" y="268256"/>
                      </a:lnTo>
                      <a:lnTo>
                        <a:pt x="492043" y="268256"/>
                      </a:lnTo>
                      <a:lnTo>
                        <a:pt x="495464" y="261916"/>
                      </a:lnTo>
                      <a:lnTo>
                        <a:pt x="498390" y="256430"/>
                      </a:lnTo>
                      <a:cubicBezTo>
                        <a:pt x="507470" y="239836"/>
                        <a:pt x="512564" y="221355"/>
                        <a:pt x="513264" y="202458"/>
                      </a:cubicBezTo>
                      <a:cubicBezTo>
                        <a:pt x="513963" y="183554"/>
                        <a:pt x="510255" y="164753"/>
                        <a:pt x="502432" y="147530"/>
                      </a:cubicBezTo>
                      <a:cubicBezTo>
                        <a:pt x="494610" y="130307"/>
                        <a:pt x="482880" y="115144"/>
                        <a:pt x="468179" y="103228"/>
                      </a:cubicBezTo>
                      <a:cubicBezTo>
                        <a:pt x="453478" y="91318"/>
                        <a:pt x="436204" y="82983"/>
                        <a:pt x="417724" y="78889"/>
                      </a:cubicBezTo>
                      <a:cubicBezTo>
                        <a:pt x="414258" y="78176"/>
                        <a:pt x="410986" y="76713"/>
                        <a:pt x="408143" y="74609"/>
                      </a:cubicBezTo>
                      <a:cubicBezTo>
                        <a:pt x="405301" y="72497"/>
                        <a:pt x="402946" y="69803"/>
                        <a:pt x="401252" y="66697"/>
                      </a:cubicBezTo>
                      <a:cubicBezTo>
                        <a:pt x="391472" y="46663"/>
                        <a:pt x="376252" y="29787"/>
                        <a:pt x="357322" y="17993"/>
                      </a:cubicBezTo>
                      <a:cubicBezTo>
                        <a:pt x="338399" y="6199"/>
                        <a:pt x="316530" y="-38"/>
                        <a:pt x="294225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57" name="Freeform: Shape 56">
                  <a:extLst>
                    <a:ext uri="{FF2B5EF4-FFF2-40B4-BE49-F238E27FC236}">
                      <a16:creationId xmlns:a16="http://schemas.microsoft.com/office/drawing/2014/main" id="{FA0A5859-1E76-E962-BF91-2A37E08EB23F}"/>
                    </a:ext>
                  </a:extLst>
                </p:cNvPr>
                <p:cNvSpPr/>
                <p:nvPr/>
              </p:nvSpPr>
              <p:spPr>
                <a:xfrm>
                  <a:off x="1281931" y="3851728"/>
                  <a:ext cx="235530" cy="235947"/>
                </a:xfrm>
                <a:custGeom>
                  <a:avLst/>
                  <a:gdLst>
                    <a:gd name="connsiteX0" fmla="*/ 206359 w 235530"/>
                    <a:gd name="connsiteY0" fmla="*/ 79742 h 235947"/>
                    <a:gd name="connsiteX1" fmla="*/ 224423 w 235530"/>
                    <a:gd name="connsiteY1" fmla="*/ 57187 h 235947"/>
                    <a:gd name="connsiteX2" fmla="*/ 178536 w 235530"/>
                    <a:gd name="connsiteY2" fmla="*/ 11339 h 235947"/>
                    <a:gd name="connsiteX3" fmla="*/ 155961 w 235530"/>
                    <a:gd name="connsiteY3" fmla="*/ 29389 h 235947"/>
                    <a:gd name="connsiteX4" fmla="*/ 153157 w 235530"/>
                    <a:gd name="connsiteY4" fmla="*/ 28773 h 235947"/>
                    <a:gd name="connsiteX5" fmla="*/ 149981 w 235530"/>
                    <a:gd name="connsiteY5" fmla="*/ 0 h 235947"/>
                    <a:gd name="connsiteX6" fmla="*/ 85549 w 235530"/>
                    <a:gd name="connsiteY6" fmla="*/ 0 h 235947"/>
                    <a:gd name="connsiteX7" fmla="*/ 82373 w 235530"/>
                    <a:gd name="connsiteY7" fmla="*/ 28773 h 235947"/>
                    <a:gd name="connsiteX8" fmla="*/ 80178 w 235530"/>
                    <a:gd name="connsiteY8" fmla="*/ 29633 h 235947"/>
                    <a:gd name="connsiteX9" fmla="*/ 57604 w 235530"/>
                    <a:gd name="connsiteY9" fmla="*/ 11583 h 235947"/>
                    <a:gd name="connsiteX10" fmla="*/ 11717 w 235530"/>
                    <a:gd name="connsiteY10" fmla="*/ 57431 h 235947"/>
                    <a:gd name="connsiteX11" fmla="*/ 29774 w 235530"/>
                    <a:gd name="connsiteY11" fmla="*/ 79742 h 235947"/>
                    <a:gd name="connsiteX12" fmla="*/ 28799 w 235530"/>
                    <a:gd name="connsiteY12" fmla="*/ 82065 h 235947"/>
                    <a:gd name="connsiteX13" fmla="*/ 0 w 235530"/>
                    <a:gd name="connsiteY13" fmla="*/ 85235 h 235947"/>
                    <a:gd name="connsiteX14" fmla="*/ 0 w 235530"/>
                    <a:gd name="connsiteY14" fmla="*/ 150103 h 235947"/>
                    <a:gd name="connsiteX15" fmla="*/ 28799 w 235530"/>
                    <a:gd name="connsiteY15" fmla="*/ 153273 h 235947"/>
                    <a:gd name="connsiteX16" fmla="*/ 32341 w 235530"/>
                    <a:gd name="connsiteY16" fmla="*/ 160954 h 235947"/>
                    <a:gd name="connsiteX17" fmla="*/ 37224 w 235530"/>
                    <a:gd name="connsiteY17" fmla="*/ 155833 h 235947"/>
                    <a:gd name="connsiteX18" fmla="*/ 45399 w 235530"/>
                    <a:gd name="connsiteY18" fmla="*/ 137057 h 235947"/>
                    <a:gd name="connsiteX19" fmla="*/ 44424 w 235530"/>
                    <a:gd name="connsiteY19" fmla="*/ 133888 h 235947"/>
                    <a:gd name="connsiteX20" fmla="*/ 20989 w 235530"/>
                    <a:gd name="connsiteY20" fmla="*/ 131321 h 235947"/>
                    <a:gd name="connsiteX21" fmla="*/ 20989 w 235530"/>
                    <a:gd name="connsiteY21" fmla="*/ 104132 h 235947"/>
                    <a:gd name="connsiteX22" fmla="*/ 44424 w 235530"/>
                    <a:gd name="connsiteY22" fmla="*/ 101572 h 235947"/>
                    <a:gd name="connsiteX23" fmla="*/ 46496 w 235530"/>
                    <a:gd name="connsiteY23" fmla="*/ 94989 h 235947"/>
                    <a:gd name="connsiteX24" fmla="*/ 51380 w 235530"/>
                    <a:gd name="connsiteY24" fmla="*/ 82797 h 235947"/>
                    <a:gd name="connsiteX25" fmla="*/ 54428 w 235530"/>
                    <a:gd name="connsiteY25" fmla="*/ 76694 h 235947"/>
                    <a:gd name="connsiteX26" fmla="*/ 39784 w 235530"/>
                    <a:gd name="connsiteY26" fmla="*/ 58406 h 235947"/>
                    <a:gd name="connsiteX27" fmla="*/ 59067 w 235530"/>
                    <a:gd name="connsiteY27" fmla="*/ 39143 h 235947"/>
                    <a:gd name="connsiteX28" fmla="*/ 77490 w 235530"/>
                    <a:gd name="connsiteY28" fmla="*/ 53773 h 235947"/>
                    <a:gd name="connsiteX29" fmla="*/ 83592 w 235530"/>
                    <a:gd name="connsiteY29" fmla="*/ 50603 h 235947"/>
                    <a:gd name="connsiteX30" fmla="*/ 95797 w 235530"/>
                    <a:gd name="connsiteY30" fmla="*/ 45726 h 235947"/>
                    <a:gd name="connsiteX31" fmla="*/ 102265 w 235530"/>
                    <a:gd name="connsiteY31" fmla="*/ 43654 h 235947"/>
                    <a:gd name="connsiteX32" fmla="*/ 104338 w 235530"/>
                    <a:gd name="connsiteY32" fmla="*/ 20970 h 235947"/>
                    <a:gd name="connsiteX33" fmla="*/ 131674 w 235530"/>
                    <a:gd name="connsiteY33" fmla="*/ 20970 h 235947"/>
                    <a:gd name="connsiteX34" fmla="*/ 134362 w 235530"/>
                    <a:gd name="connsiteY34" fmla="*/ 44263 h 235947"/>
                    <a:gd name="connsiteX35" fmla="*/ 140830 w 235530"/>
                    <a:gd name="connsiteY35" fmla="*/ 46336 h 235947"/>
                    <a:gd name="connsiteX36" fmla="*/ 153029 w 235530"/>
                    <a:gd name="connsiteY36" fmla="*/ 51213 h 235947"/>
                    <a:gd name="connsiteX37" fmla="*/ 159131 w 235530"/>
                    <a:gd name="connsiteY37" fmla="*/ 54383 h 235947"/>
                    <a:gd name="connsiteX38" fmla="*/ 177438 w 235530"/>
                    <a:gd name="connsiteY38" fmla="*/ 39752 h 235947"/>
                    <a:gd name="connsiteX39" fmla="*/ 196843 w 235530"/>
                    <a:gd name="connsiteY39" fmla="*/ 59016 h 235947"/>
                    <a:gd name="connsiteX40" fmla="*/ 182078 w 235530"/>
                    <a:gd name="connsiteY40" fmla="*/ 77304 h 235947"/>
                    <a:gd name="connsiteX41" fmla="*/ 185248 w 235530"/>
                    <a:gd name="connsiteY41" fmla="*/ 83406 h 235947"/>
                    <a:gd name="connsiteX42" fmla="*/ 190131 w 235530"/>
                    <a:gd name="connsiteY42" fmla="*/ 95598 h 235947"/>
                    <a:gd name="connsiteX43" fmla="*/ 192204 w 235530"/>
                    <a:gd name="connsiteY43" fmla="*/ 102182 h 235947"/>
                    <a:gd name="connsiteX44" fmla="*/ 215516 w 235530"/>
                    <a:gd name="connsiteY44" fmla="*/ 104742 h 235947"/>
                    <a:gd name="connsiteX45" fmla="*/ 215516 w 235530"/>
                    <a:gd name="connsiteY45" fmla="*/ 132059 h 235947"/>
                    <a:gd name="connsiteX46" fmla="*/ 192204 w 235530"/>
                    <a:gd name="connsiteY46" fmla="*/ 134619 h 235947"/>
                    <a:gd name="connsiteX47" fmla="*/ 189765 w 235530"/>
                    <a:gd name="connsiteY47" fmla="*/ 140715 h 235947"/>
                    <a:gd name="connsiteX48" fmla="*/ 184882 w 235530"/>
                    <a:gd name="connsiteY48" fmla="*/ 152907 h 235947"/>
                    <a:gd name="connsiteX49" fmla="*/ 181712 w 235530"/>
                    <a:gd name="connsiteY49" fmla="*/ 158881 h 235947"/>
                    <a:gd name="connsiteX50" fmla="*/ 196355 w 235530"/>
                    <a:gd name="connsiteY50" fmla="*/ 177291 h 235947"/>
                    <a:gd name="connsiteX51" fmla="*/ 177560 w 235530"/>
                    <a:gd name="connsiteY51" fmla="*/ 196073 h 235947"/>
                    <a:gd name="connsiteX52" fmla="*/ 159253 w 235530"/>
                    <a:gd name="connsiteY52" fmla="*/ 181436 h 235947"/>
                    <a:gd name="connsiteX53" fmla="*/ 153157 w 235530"/>
                    <a:gd name="connsiteY53" fmla="*/ 184491 h 235947"/>
                    <a:gd name="connsiteX54" fmla="*/ 140952 w 235530"/>
                    <a:gd name="connsiteY54" fmla="*/ 189368 h 235947"/>
                    <a:gd name="connsiteX55" fmla="*/ 134484 w 235530"/>
                    <a:gd name="connsiteY55" fmla="*/ 191440 h 235947"/>
                    <a:gd name="connsiteX56" fmla="*/ 131796 w 235530"/>
                    <a:gd name="connsiteY56" fmla="*/ 214849 h 235947"/>
                    <a:gd name="connsiteX57" fmla="*/ 104338 w 235530"/>
                    <a:gd name="connsiteY57" fmla="*/ 214849 h 235947"/>
                    <a:gd name="connsiteX58" fmla="*/ 101777 w 235530"/>
                    <a:gd name="connsiteY58" fmla="*/ 191440 h 235947"/>
                    <a:gd name="connsiteX59" fmla="*/ 95309 w 235530"/>
                    <a:gd name="connsiteY59" fmla="*/ 189489 h 235947"/>
                    <a:gd name="connsiteX60" fmla="*/ 91158 w 235530"/>
                    <a:gd name="connsiteY60" fmla="*/ 188026 h 235947"/>
                    <a:gd name="connsiteX61" fmla="*/ 76027 w 235530"/>
                    <a:gd name="connsiteY61" fmla="*/ 196195 h 235947"/>
                    <a:gd name="connsiteX62" fmla="*/ 70778 w 235530"/>
                    <a:gd name="connsiteY62" fmla="*/ 201681 h 235947"/>
                    <a:gd name="connsiteX63" fmla="*/ 73832 w 235530"/>
                    <a:gd name="connsiteY63" fmla="*/ 203266 h 235947"/>
                    <a:gd name="connsiteX64" fmla="*/ 82373 w 235530"/>
                    <a:gd name="connsiteY64" fmla="*/ 207168 h 235947"/>
                    <a:gd name="connsiteX65" fmla="*/ 85549 w 235530"/>
                    <a:gd name="connsiteY65" fmla="*/ 235947 h 235947"/>
                    <a:gd name="connsiteX66" fmla="*/ 150469 w 235530"/>
                    <a:gd name="connsiteY66" fmla="*/ 235947 h 235947"/>
                    <a:gd name="connsiteX67" fmla="*/ 153157 w 235530"/>
                    <a:gd name="connsiteY67" fmla="*/ 207046 h 235947"/>
                    <a:gd name="connsiteX68" fmla="*/ 155474 w 235530"/>
                    <a:gd name="connsiteY68" fmla="*/ 206071 h 235947"/>
                    <a:gd name="connsiteX69" fmla="*/ 178048 w 235530"/>
                    <a:gd name="connsiteY69" fmla="*/ 224237 h 235947"/>
                    <a:gd name="connsiteX70" fmla="*/ 223935 w 235530"/>
                    <a:gd name="connsiteY70" fmla="*/ 178388 h 235947"/>
                    <a:gd name="connsiteX71" fmla="*/ 205872 w 235530"/>
                    <a:gd name="connsiteY71" fmla="*/ 155711 h 235947"/>
                    <a:gd name="connsiteX72" fmla="*/ 206847 w 235530"/>
                    <a:gd name="connsiteY72" fmla="*/ 153517 h 235947"/>
                    <a:gd name="connsiteX73" fmla="*/ 235530 w 235530"/>
                    <a:gd name="connsiteY73" fmla="*/ 150347 h 235947"/>
                    <a:gd name="connsiteX74" fmla="*/ 235530 w 235530"/>
                    <a:gd name="connsiteY74" fmla="*/ 85479 h 235947"/>
                    <a:gd name="connsiteX75" fmla="*/ 206847 w 235530"/>
                    <a:gd name="connsiteY75" fmla="*/ 82309 h 235947"/>
                    <a:gd name="connsiteX76" fmla="*/ 206359 w 235530"/>
                    <a:gd name="connsiteY76" fmla="*/ 79742 h 235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</a:cxnLst>
                  <a:rect l="l" t="t" r="r" b="b"/>
                  <a:pathLst>
                    <a:path w="235530" h="235947">
                      <a:moveTo>
                        <a:pt x="206359" y="79742"/>
                      </a:moveTo>
                      <a:lnTo>
                        <a:pt x="224423" y="57187"/>
                      </a:lnTo>
                      <a:lnTo>
                        <a:pt x="178536" y="11339"/>
                      </a:lnTo>
                      <a:lnTo>
                        <a:pt x="155961" y="29389"/>
                      </a:lnTo>
                      <a:lnTo>
                        <a:pt x="153157" y="28773"/>
                      </a:lnTo>
                      <a:lnTo>
                        <a:pt x="149981" y="0"/>
                      </a:lnTo>
                      <a:lnTo>
                        <a:pt x="85549" y="0"/>
                      </a:lnTo>
                      <a:lnTo>
                        <a:pt x="82373" y="28773"/>
                      </a:lnTo>
                      <a:lnTo>
                        <a:pt x="80178" y="29633"/>
                      </a:lnTo>
                      <a:lnTo>
                        <a:pt x="57604" y="11583"/>
                      </a:lnTo>
                      <a:lnTo>
                        <a:pt x="11717" y="57431"/>
                      </a:lnTo>
                      <a:lnTo>
                        <a:pt x="29774" y="79742"/>
                      </a:lnTo>
                      <a:cubicBezTo>
                        <a:pt x="29774" y="80474"/>
                        <a:pt x="29165" y="81334"/>
                        <a:pt x="28799" y="82065"/>
                      </a:cubicBezTo>
                      <a:lnTo>
                        <a:pt x="0" y="85235"/>
                      </a:lnTo>
                      <a:lnTo>
                        <a:pt x="0" y="150103"/>
                      </a:lnTo>
                      <a:lnTo>
                        <a:pt x="28799" y="153273"/>
                      </a:lnTo>
                      <a:cubicBezTo>
                        <a:pt x="29896" y="155833"/>
                        <a:pt x="31000" y="158515"/>
                        <a:pt x="32341" y="160954"/>
                      </a:cubicBezTo>
                      <a:lnTo>
                        <a:pt x="37224" y="155833"/>
                      </a:lnTo>
                      <a:cubicBezTo>
                        <a:pt x="41164" y="150180"/>
                        <a:pt x="43949" y="143795"/>
                        <a:pt x="45399" y="137057"/>
                      </a:cubicBezTo>
                      <a:lnTo>
                        <a:pt x="44424" y="133888"/>
                      </a:lnTo>
                      <a:lnTo>
                        <a:pt x="20989" y="131321"/>
                      </a:lnTo>
                      <a:lnTo>
                        <a:pt x="20989" y="104132"/>
                      </a:lnTo>
                      <a:lnTo>
                        <a:pt x="44424" y="101572"/>
                      </a:lnTo>
                      <a:lnTo>
                        <a:pt x="46496" y="94989"/>
                      </a:lnTo>
                      <a:cubicBezTo>
                        <a:pt x="47735" y="90779"/>
                        <a:pt x="49371" y="86698"/>
                        <a:pt x="51380" y="82797"/>
                      </a:cubicBezTo>
                      <a:lnTo>
                        <a:pt x="54428" y="76694"/>
                      </a:lnTo>
                      <a:lnTo>
                        <a:pt x="39784" y="58406"/>
                      </a:lnTo>
                      <a:lnTo>
                        <a:pt x="59067" y="39143"/>
                      </a:lnTo>
                      <a:lnTo>
                        <a:pt x="77490" y="53773"/>
                      </a:lnTo>
                      <a:lnTo>
                        <a:pt x="83592" y="50603"/>
                      </a:lnTo>
                      <a:cubicBezTo>
                        <a:pt x="87513" y="48627"/>
                        <a:pt x="91594" y="46997"/>
                        <a:pt x="95797" y="45726"/>
                      </a:cubicBezTo>
                      <a:lnTo>
                        <a:pt x="102265" y="43654"/>
                      </a:lnTo>
                      <a:lnTo>
                        <a:pt x="104338" y="20970"/>
                      </a:lnTo>
                      <a:lnTo>
                        <a:pt x="131674" y="20970"/>
                      </a:lnTo>
                      <a:lnTo>
                        <a:pt x="134362" y="44263"/>
                      </a:lnTo>
                      <a:lnTo>
                        <a:pt x="140830" y="46336"/>
                      </a:lnTo>
                      <a:cubicBezTo>
                        <a:pt x="145021" y="47632"/>
                        <a:pt x="149102" y="49262"/>
                        <a:pt x="153029" y="51213"/>
                      </a:cubicBezTo>
                      <a:lnTo>
                        <a:pt x="159131" y="54383"/>
                      </a:lnTo>
                      <a:lnTo>
                        <a:pt x="177438" y="39752"/>
                      </a:lnTo>
                      <a:lnTo>
                        <a:pt x="196843" y="59016"/>
                      </a:lnTo>
                      <a:lnTo>
                        <a:pt x="182078" y="77304"/>
                      </a:lnTo>
                      <a:lnTo>
                        <a:pt x="185248" y="83406"/>
                      </a:lnTo>
                      <a:cubicBezTo>
                        <a:pt x="187199" y="87333"/>
                        <a:pt x="188835" y="91408"/>
                        <a:pt x="190131" y="95598"/>
                      </a:cubicBezTo>
                      <a:lnTo>
                        <a:pt x="192204" y="102182"/>
                      </a:lnTo>
                      <a:lnTo>
                        <a:pt x="215516" y="104742"/>
                      </a:lnTo>
                      <a:lnTo>
                        <a:pt x="215516" y="132059"/>
                      </a:lnTo>
                      <a:lnTo>
                        <a:pt x="192204" y="134619"/>
                      </a:lnTo>
                      <a:lnTo>
                        <a:pt x="189765" y="140715"/>
                      </a:lnTo>
                      <a:cubicBezTo>
                        <a:pt x="188463" y="144899"/>
                        <a:pt x="186826" y="148980"/>
                        <a:pt x="184882" y="152907"/>
                      </a:cubicBezTo>
                      <a:lnTo>
                        <a:pt x="181712" y="158881"/>
                      </a:lnTo>
                      <a:lnTo>
                        <a:pt x="196355" y="177291"/>
                      </a:lnTo>
                      <a:lnTo>
                        <a:pt x="177560" y="196073"/>
                      </a:lnTo>
                      <a:lnTo>
                        <a:pt x="159253" y="181436"/>
                      </a:lnTo>
                      <a:lnTo>
                        <a:pt x="153157" y="184491"/>
                      </a:lnTo>
                      <a:cubicBezTo>
                        <a:pt x="149249" y="186493"/>
                        <a:pt x="145162" y="188123"/>
                        <a:pt x="140952" y="189368"/>
                      </a:cubicBezTo>
                      <a:lnTo>
                        <a:pt x="134484" y="191440"/>
                      </a:lnTo>
                      <a:lnTo>
                        <a:pt x="131796" y="214849"/>
                      </a:lnTo>
                      <a:lnTo>
                        <a:pt x="104338" y="214849"/>
                      </a:lnTo>
                      <a:lnTo>
                        <a:pt x="101777" y="191440"/>
                      </a:lnTo>
                      <a:lnTo>
                        <a:pt x="95309" y="189489"/>
                      </a:lnTo>
                      <a:cubicBezTo>
                        <a:pt x="93904" y="189072"/>
                        <a:pt x="92518" y="188585"/>
                        <a:pt x="91158" y="188026"/>
                      </a:cubicBezTo>
                      <a:cubicBezTo>
                        <a:pt x="85504" y="189412"/>
                        <a:pt x="80294" y="192223"/>
                        <a:pt x="76027" y="196195"/>
                      </a:cubicBezTo>
                      <a:lnTo>
                        <a:pt x="70778" y="201681"/>
                      </a:lnTo>
                      <a:lnTo>
                        <a:pt x="73832" y="203266"/>
                      </a:lnTo>
                      <a:cubicBezTo>
                        <a:pt x="76598" y="204742"/>
                        <a:pt x="79447" y="206045"/>
                        <a:pt x="82373" y="207168"/>
                      </a:cubicBezTo>
                      <a:lnTo>
                        <a:pt x="85549" y="235947"/>
                      </a:lnTo>
                      <a:lnTo>
                        <a:pt x="150469" y="235947"/>
                      </a:lnTo>
                      <a:lnTo>
                        <a:pt x="153157" y="207046"/>
                      </a:lnTo>
                      <a:lnTo>
                        <a:pt x="155474" y="206071"/>
                      </a:lnTo>
                      <a:lnTo>
                        <a:pt x="178048" y="224237"/>
                      </a:lnTo>
                      <a:lnTo>
                        <a:pt x="223935" y="178388"/>
                      </a:lnTo>
                      <a:lnTo>
                        <a:pt x="205872" y="155711"/>
                      </a:lnTo>
                      <a:lnTo>
                        <a:pt x="206847" y="153517"/>
                      </a:lnTo>
                      <a:lnTo>
                        <a:pt x="235530" y="150347"/>
                      </a:lnTo>
                      <a:lnTo>
                        <a:pt x="235530" y="85479"/>
                      </a:lnTo>
                      <a:lnTo>
                        <a:pt x="206847" y="82309"/>
                      </a:lnTo>
                      <a:cubicBezTo>
                        <a:pt x="206969" y="81577"/>
                        <a:pt x="206725" y="80724"/>
                        <a:pt x="206359" y="79742"/>
                      </a:cubicBez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58" name="Freeform: Shape 57">
                  <a:extLst>
                    <a:ext uri="{FF2B5EF4-FFF2-40B4-BE49-F238E27FC236}">
                      <a16:creationId xmlns:a16="http://schemas.microsoft.com/office/drawing/2014/main" id="{5C96EB0D-68EA-C105-7F65-2679D1A80B7A}"/>
                    </a:ext>
                  </a:extLst>
                </p:cNvPr>
                <p:cNvSpPr/>
                <p:nvPr/>
              </p:nvSpPr>
              <p:spPr>
                <a:xfrm>
                  <a:off x="1224955" y="3939848"/>
                  <a:ext cx="201578" cy="204564"/>
                </a:xfrm>
                <a:custGeom>
                  <a:avLst/>
                  <a:gdLst>
                    <a:gd name="connsiteX0" fmla="*/ 114938 w 201578"/>
                    <a:gd name="connsiteY0" fmla="*/ 104057 h 204564"/>
                    <a:gd name="connsiteX1" fmla="*/ 121529 w 201578"/>
                    <a:gd name="connsiteY1" fmla="*/ 97230 h 204564"/>
                    <a:gd name="connsiteX2" fmla="*/ 164971 w 201578"/>
                    <a:gd name="connsiteY2" fmla="*/ 81618 h 204564"/>
                    <a:gd name="connsiteX3" fmla="*/ 189611 w 201578"/>
                    <a:gd name="connsiteY3" fmla="*/ 70067 h 204564"/>
                    <a:gd name="connsiteX4" fmla="*/ 201579 w 201578"/>
                    <a:gd name="connsiteY4" fmla="*/ 45651 h 204564"/>
                    <a:gd name="connsiteX5" fmla="*/ 177175 w 201578"/>
                    <a:gd name="connsiteY5" fmla="*/ 62111 h 204564"/>
                    <a:gd name="connsiteX6" fmla="*/ 169122 w 201578"/>
                    <a:gd name="connsiteY6" fmla="*/ 64549 h 204564"/>
                    <a:gd name="connsiteX7" fmla="*/ 163508 w 201578"/>
                    <a:gd name="connsiteY7" fmla="*/ 63330 h 204564"/>
                    <a:gd name="connsiteX8" fmla="*/ 149596 w 201578"/>
                    <a:gd name="connsiteY8" fmla="*/ 48212 h 204564"/>
                    <a:gd name="connsiteX9" fmla="*/ 142640 w 201578"/>
                    <a:gd name="connsiteY9" fmla="*/ 31624 h 204564"/>
                    <a:gd name="connsiteX10" fmla="*/ 144411 w 201578"/>
                    <a:gd name="connsiteY10" fmla="*/ 24707 h 204564"/>
                    <a:gd name="connsiteX11" fmla="*/ 149230 w 201578"/>
                    <a:gd name="connsiteY11" fmla="*/ 19432 h 204564"/>
                    <a:gd name="connsiteX12" fmla="*/ 175347 w 201578"/>
                    <a:gd name="connsiteY12" fmla="*/ 1998 h 204564"/>
                    <a:gd name="connsiteX13" fmla="*/ 162410 w 201578"/>
                    <a:gd name="connsiteY13" fmla="*/ 47 h 204564"/>
                    <a:gd name="connsiteX14" fmla="*/ 132508 w 201578"/>
                    <a:gd name="connsiteY14" fmla="*/ 10166 h 204564"/>
                    <a:gd name="connsiteX15" fmla="*/ 120303 w 201578"/>
                    <a:gd name="connsiteY15" fmla="*/ 40409 h 204564"/>
                    <a:gd name="connsiteX16" fmla="*/ 105904 w 201578"/>
                    <a:gd name="connsiteY16" fmla="*/ 79423 h 204564"/>
                    <a:gd name="connsiteX17" fmla="*/ 100051 w 201578"/>
                    <a:gd name="connsiteY17" fmla="*/ 85641 h 204564"/>
                    <a:gd name="connsiteX18" fmla="*/ 98460 w 201578"/>
                    <a:gd name="connsiteY18" fmla="*/ 87354 h 204564"/>
                    <a:gd name="connsiteX19" fmla="*/ 36345 w 201578"/>
                    <a:gd name="connsiteY19" fmla="*/ 150759 h 204564"/>
                    <a:gd name="connsiteX20" fmla="*/ 29389 w 201578"/>
                    <a:gd name="connsiteY20" fmla="*/ 157953 h 204564"/>
                    <a:gd name="connsiteX21" fmla="*/ 27073 w 201578"/>
                    <a:gd name="connsiteY21" fmla="*/ 158684 h 204564"/>
                    <a:gd name="connsiteX22" fmla="*/ 25122 w 201578"/>
                    <a:gd name="connsiteY22" fmla="*/ 158684 h 204564"/>
                    <a:gd name="connsiteX23" fmla="*/ 22799 w 201578"/>
                    <a:gd name="connsiteY23" fmla="*/ 158684 h 204564"/>
                    <a:gd name="connsiteX24" fmla="*/ 13957 w 201578"/>
                    <a:gd name="connsiteY24" fmla="*/ 160468 h 204564"/>
                    <a:gd name="connsiteX25" fmla="*/ 6571 w 201578"/>
                    <a:gd name="connsiteY25" fmla="*/ 165634 h 204564"/>
                    <a:gd name="connsiteX26" fmla="*/ 0 w 201578"/>
                    <a:gd name="connsiteY26" fmla="*/ 181791 h 204564"/>
                    <a:gd name="connsiteX27" fmla="*/ 6571 w 201578"/>
                    <a:gd name="connsiteY27" fmla="*/ 197949 h 204564"/>
                    <a:gd name="connsiteX28" fmla="*/ 13873 w 201578"/>
                    <a:gd name="connsiteY28" fmla="*/ 202845 h 204564"/>
                    <a:gd name="connsiteX29" fmla="*/ 22497 w 201578"/>
                    <a:gd name="connsiteY29" fmla="*/ 204564 h 204564"/>
                    <a:gd name="connsiteX30" fmla="*/ 31122 w 201578"/>
                    <a:gd name="connsiteY30" fmla="*/ 202845 h 204564"/>
                    <a:gd name="connsiteX31" fmla="*/ 38418 w 201578"/>
                    <a:gd name="connsiteY31" fmla="*/ 197949 h 204564"/>
                    <a:gd name="connsiteX32" fmla="*/ 43673 w 201578"/>
                    <a:gd name="connsiteY32" fmla="*/ 189016 h 204564"/>
                    <a:gd name="connsiteX33" fmla="*/ 44398 w 201578"/>
                    <a:gd name="connsiteY33" fmla="*/ 178679 h 204564"/>
                    <a:gd name="connsiteX34" fmla="*/ 44398 w 201578"/>
                    <a:gd name="connsiteY34" fmla="*/ 176850 h 204564"/>
                    <a:gd name="connsiteX35" fmla="*/ 45746 w 201578"/>
                    <a:gd name="connsiteY35" fmla="*/ 175387 h 204564"/>
                    <a:gd name="connsiteX36" fmla="*/ 52580 w 201578"/>
                    <a:gd name="connsiteY36" fmla="*/ 168438 h 204564"/>
                    <a:gd name="connsiteX37" fmla="*/ 114938 w 201578"/>
                    <a:gd name="connsiteY37" fmla="*/ 104057 h 204564"/>
                    <a:gd name="connsiteX38" fmla="*/ 31584 w 201578"/>
                    <a:gd name="connsiteY38" fmla="*/ 187945 h 204564"/>
                    <a:gd name="connsiteX39" fmla="*/ 21946 w 201578"/>
                    <a:gd name="connsiteY39" fmla="*/ 191975 h 204564"/>
                    <a:gd name="connsiteX40" fmla="*/ 13527 w 201578"/>
                    <a:gd name="connsiteY40" fmla="*/ 185628 h 204564"/>
                    <a:gd name="connsiteX41" fmla="*/ 14868 w 201578"/>
                    <a:gd name="connsiteY41" fmla="*/ 175265 h 204564"/>
                    <a:gd name="connsiteX42" fmla="*/ 24628 w 201578"/>
                    <a:gd name="connsiteY42" fmla="*/ 171120 h 204564"/>
                    <a:gd name="connsiteX43" fmla="*/ 32931 w 201578"/>
                    <a:gd name="connsiteY43" fmla="*/ 177582 h 204564"/>
                    <a:gd name="connsiteX44" fmla="*/ 31584 w 201578"/>
                    <a:gd name="connsiteY44" fmla="*/ 187945 h 2045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</a:cxnLst>
                  <a:rect l="l" t="t" r="r" b="b"/>
                  <a:pathLst>
                    <a:path w="201578" h="204564">
                      <a:moveTo>
                        <a:pt x="114938" y="104057"/>
                      </a:moveTo>
                      <a:lnTo>
                        <a:pt x="121529" y="97230"/>
                      </a:lnTo>
                      <a:cubicBezTo>
                        <a:pt x="133631" y="86931"/>
                        <a:pt x="149076" y="81387"/>
                        <a:pt x="164971" y="81618"/>
                      </a:cubicBezTo>
                      <a:cubicBezTo>
                        <a:pt x="174262" y="80687"/>
                        <a:pt x="182951" y="76613"/>
                        <a:pt x="189611" y="70067"/>
                      </a:cubicBezTo>
                      <a:cubicBezTo>
                        <a:pt x="196266" y="63529"/>
                        <a:pt x="200488" y="54911"/>
                        <a:pt x="201579" y="45651"/>
                      </a:cubicBezTo>
                      <a:lnTo>
                        <a:pt x="177175" y="62111"/>
                      </a:lnTo>
                      <a:cubicBezTo>
                        <a:pt x="174808" y="63734"/>
                        <a:pt x="171991" y="64587"/>
                        <a:pt x="169122" y="64549"/>
                      </a:cubicBezTo>
                      <a:cubicBezTo>
                        <a:pt x="167184" y="64523"/>
                        <a:pt x="165279" y="64106"/>
                        <a:pt x="163508" y="63330"/>
                      </a:cubicBezTo>
                      <a:cubicBezTo>
                        <a:pt x="157476" y="59768"/>
                        <a:pt x="152637" y="54513"/>
                        <a:pt x="149596" y="48212"/>
                      </a:cubicBezTo>
                      <a:cubicBezTo>
                        <a:pt x="146022" y="43296"/>
                        <a:pt x="143635" y="37617"/>
                        <a:pt x="142640" y="31624"/>
                      </a:cubicBezTo>
                      <a:cubicBezTo>
                        <a:pt x="142653" y="29211"/>
                        <a:pt x="143262" y="26837"/>
                        <a:pt x="144411" y="24707"/>
                      </a:cubicBezTo>
                      <a:cubicBezTo>
                        <a:pt x="145560" y="22583"/>
                        <a:pt x="147215" y="20773"/>
                        <a:pt x="149230" y="19432"/>
                      </a:cubicBezTo>
                      <a:lnTo>
                        <a:pt x="175347" y="1998"/>
                      </a:lnTo>
                      <a:cubicBezTo>
                        <a:pt x="171169" y="624"/>
                        <a:pt x="166799" y="-36"/>
                        <a:pt x="162410" y="47"/>
                      </a:cubicBezTo>
                      <a:cubicBezTo>
                        <a:pt x="151521" y="-460"/>
                        <a:pt x="140850" y="3153"/>
                        <a:pt x="132508" y="10166"/>
                      </a:cubicBezTo>
                      <a:cubicBezTo>
                        <a:pt x="125173" y="18598"/>
                        <a:pt x="120880" y="29250"/>
                        <a:pt x="120303" y="40409"/>
                      </a:cubicBezTo>
                      <a:cubicBezTo>
                        <a:pt x="119385" y="54532"/>
                        <a:pt x="114380" y="68085"/>
                        <a:pt x="105904" y="79423"/>
                      </a:cubicBezTo>
                      <a:lnTo>
                        <a:pt x="100051" y="85641"/>
                      </a:lnTo>
                      <a:lnTo>
                        <a:pt x="98460" y="87354"/>
                      </a:lnTo>
                      <a:cubicBezTo>
                        <a:pt x="79421" y="107349"/>
                        <a:pt x="49647" y="136732"/>
                        <a:pt x="36345" y="150759"/>
                      </a:cubicBezTo>
                      <a:lnTo>
                        <a:pt x="29389" y="157953"/>
                      </a:lnTo>
                      <a:lnTo>
                        <a:pt x="27073" y="158684"/>
                      </a:lnTo>
                      <a:lnTo>
                        <a:pt x="25122" y="158684"/>
                      </a:lnTo>
                      <a:lnTo>
                        <a:pt x="22799" y="158684"/>
                      </a:lnTo>
                      <a:cubicBezTo>
                        <a:pt x="19764" y="158665"/>
                        <a:pt x="16754" y="159274"/>
                        <a:pt x="13957" y="160468"/>
                      </a:cubicBezTo>
                      <a:cubicBezTo>
                        <a:pt x="11165" y="161661"/>
                        <a:pt x="8650" y="163420"/>
                        <a:pt x="6571" y="165634"/>
                      </a:cubicBezTo>
                      <a:cubicBezTo>
                        <a:pt x="2355" y="169958"/>
                        <a:pt x="0" y="175753"/>
                        <a:pt x="0" y="181791"/>
                      </a:cubicBezTo>
                      <a:cubicBezTo>
                        <a:pt x="0" y="187823"/>
                        <a:pt x="2355" y="193624"/>
                        <a:pt x="6571" y="197949"/>
                      </a:cubicBezTo>
                      <a:cubicBezTo>
                        <a:pt x="8656" y="200047"/>
                        <a:pt x="11140" y="201709"/>
                        <a:pt x="13873" y="202845"/>
                      </a:cubicBezTo>
                      <a:cubicBezTo>
                        <a:pt x="16607" y="203980"/>
                        <a:pt x="19533" y="204564"/>
                        <a:pt x="22497" y="204564"/>
                      </a:cubicBezTo>
                      <a:cubicBezTo>
                        <a:pt x="25456" y="204564"/>
                        <a:pt x="28388" y="203980"/>
                        <a:pt x="31122" y="202845"/>
                      </a:cubicBezTo>
                      <a:cubicBezTo>
                        <a:pt x="33855" y="201709"/>
                        <a:pt x="36332" y="200047"/>
                        <a:pt x="38418" y="197949"/>
                      </a:cubicBezTo>
                      <a:cubicBezTo>
                        <a:pt x="40837" y="195414"/>
                        <a:pt x="42633" y="192360"/>
                        <a:pt x="43673" y="189016"/>
                      </a:cubicBezTo>
                      <a:cubicBezTo>
                        <a:pt x="44713" y="185673"/>
                        <a:pt x="44956" y="182138"/>
                        <a:pt x="44398" y="178679"/>
                      </a:cubicBezTo>
                      <a:lnTo>
                        <a:pt x="44398" y="176850"/>
                      </a:lnTo>
                      <a:lnTo>
                        <a:pt x="45746" y="175387"/>
                      </a:lnTo>
                      <a:lnTo>
                        <a:pt x="52580" y="168438"/>
                      </a:lnTo>
                      <a:cubicBezTo>
                        <a:pt x="65882" y="154417"/>
                        <a:pt x="96022" y="123931"/>
                        <a:pt x="114938" y="104057"/>
                      </a:cubicBezTo>
                      <a:close/>
                      <a:moveTo>
                        <a:pt x="31584" y="187945"/>
                      </a:moveTo>
                      <a:lnTo>
                        <a:pt x="21946" y="191975"/>
                      </a:lnTo>
                      <a:lnTo>
                        <a:pt x="13527" y="185628"/>
                      </a:lnTo>
                      <a:lnTo>
                        <a:pt x="14868" y="175265"/>
                      </a:lnTo>
                      <a:lnTo>
                        <a:pt x="24628" y="171120"/>
                      </a:lnTo>
                      <a:lnTo>
                        <a:pt x="32931" y="177582"/>
                      </a:lnTo>
                      <a:lnTo>
                        <a:pt x="31584" y="187945"/>
                      </a:ln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59" name="Freeform: Shape 58">
                  <a:extLst>
                    <a:ext uri="{FF2B5EF4-FFF2-40B4-BE49-F238E27FC236}">
                      <a16:creationId xmlns:a16="http://schemas.microsoft.com/office/drawing/2014/main" id="{C1AC90E7-386E-3AAD-C00E-749546B765D1}"/>
                    </a:ext>
                  </a:extLst>
                </p:cNvPr>
                <p:cNvSpPr/>
                <p:nvPr/>
              </p:nvSpPr>
              <p:spPr>
                <a:xfrm>
                  <a:off x="1386878" y="3957323"/>
                  <a:ext cx="26232" cy="30242"/>
                </a:xfrm>
                <a:custGeom>
                  <a:avLst/>
                  <a:gdLst>
                    <a:gd name="connsiteX0" fmla="*/ 15984 w 26232"/>
                    <a:gd name="connsiteY0" fmla="*/ 1585 h 30242"/>
                    <a:gd name="connsiteX1" fmla="*/ 13180 w 26232"/>
                    <a:gd name="connsiteY1" fmla="*/ 0 h 30242"/>
                    <a:gd name="connsiteX2" fmla="*/ 0 w 26232"/>
                    <a:gd name="connsiteY2" fmla="*/ 7437 h 30242"/>
                    <a:gd name="connsiteX3" fmla="*/ 0 w 26232"/>
                    <a:gd name="connsiteY3" fmla="*/ 12314 h 30242"/>
                    <a:gd name="connsiteX4" fmla="*/ 0 w 26232"/>
                    <a:gd name="connsiteY4" fmla="*/ 19392 h 30242"/>
                    <a:gd name="connsiteX5" fmla="*/ 0 w 26232"/>
                    <a:gd name="connsiteY5" fmla="*/ 22562 h 30242"/>
                    <a:gd name="connsiteX6" fmla="*/ 2811 w 26232"/>
                    <a:gd name="connsiteY6" fmla="*/ 24268 h 30242"/>
                    <a:gd name="connsiteX7" fmla="*/ 10614 w 26232"/>
                    <a:gd name="connsiteY7" fmla="*/ 28779 h 30242"/>
                    <a:gd name="connsiteX8" fmla="*/ 13058 w 26232"/>
                    <a:gd name="connsiteY8" fmla="*/ 30242 h 30242"/>
                    <a:gd name="connsiteX9" fmla="*/ 26110 w 26232"/>
                    <a:gd name="connsiteY9" fmla="*/ 22683 h 30242"/>
                    <a:gd name="connsiteX10" fmla="*/ 26232 w 26232"/>
                    <a:gd name="connsiteY10" fmla="*/ 18294 h 30242"/>
                    <a:gd name="connsiteX11" fmla="*/ 26232 w 26232"/>
                    <a:gd name="connsiteY11" fmla="*/ 7559 h 30242"/>
                    <a:gd name="connsiteX12" fmla="*/ 15984 w 26232"/>
                    <a:gd name="connsiteY12" fmla="*/ 1585 h 302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26232" h="30242">
                      <a:moveTo>
                        <a:pt x="15984" y="1585"/>
                      </a:moveTo>
                      <a:lnTo>
                        <a:pt x="13180" y="0"/>
                      </a:lnTo>
                      <a:lnTo>
                        <a:pt x="0" y="7437"/>
                      </a:lnTo>
                      <a:lnTo>
                        <a:pt x="0" y="12314"/>
                      </a:lnTo>
                      <a:lnTo>
                        <a:pt x="0" y="19392"/>
                      </a:lnTo>
                      <a:lnTo>
                        <a:pt x="0" y="22562"/>
                      </a:lnTo>
                      <a:lnTo>
                        <a:pt x="2811" y="24268"/>
                      </a:lnTo>
                      <a:lnTo>
                        <a:pt x="10614" y="28779"/>
                      </a:lnTo>
                      <a:lnTo>
                        <a:pt x="13058" y="30242"/>
                      </a:lnTo>
                      <a:lnTo>
                        <a:pt x="26110" y="22683"/>
                      </a:lnTo>
                      <a:lnTo>
                        <a:pt x="26232" y="18294"/>
                      </a:lnTo>
                      <a:lnTo>
                        <a:pt x="26232" y="7559"/>
                      </a:lnTo>
                      <a:lnTo>
                        <a:pt x="15984" y="1585"/>
                      </a:ln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60" name="Freeform: Shape 59">
                  <a:extLst>
                    <a:ext uri="{FF2B5EF4-FFF2-40B4-BE49-F238E27FC236}">
                      <a16:creationId xmlns:a16="http://schemas.microsoft.com/office/drawing/2014/main" id="{9CB4687C-5B37-595D-CEAF-9F0EBF01D32B}"/>
                    </a:ext>
                  </a:extLst>
                </p:cNvPr>
                <p:cNvSpPr/>
                <p:nvPr/>
              </p:nvSpPr>
              <p:spPr>
                <a:xfrm>
                  <a:off x="1417390" y="4089991"/>
                  <a:ext cx="106776" cy="107180"/>
                </a:xfrm>
                <a:custGeom>
                  <a:avLst/>
                  <a:gdLst>
                    <a:gd name="connsiteX0" fmla="*/ 36852 w 106776"/>
                    <a:gd name="connsiteY0" fmla="*/ 1097 h 107180"/>
                    <a:gd name="connsiteX1" fmla="*/ 30140 w 106776"/>
                    <a:gd name="connsiteY1" fmla="*/ 3779 h 107180"/>
                    <a:gd name="connsiteX2" fmla="*/ 27702 w 106776"/>
                    <a:gd name="connsiteY2" fmla="*/ 4755 h 107180"/>
                    <a:gd name="connsiteX3" fmla="*/ 29408 w 106776"/>
                    <a:gd name="connsiteY3" fmla="*/ 10729 h 107180"/>
                    <a:gd name="connsiteX4" fmla="*/ 31359 w 106776"/>
                    <a:gd name="connsiteY4" fmla="*/ 17922 h 107180"/>
                    <a:gd name="connsiteX5" fmla="*/ 19154 w 106776"/>
                    <a:gd name="connsiteY5" fmla="*/ 30121 h 107180"/>
                    <a:gd name="connsiteX6" fmla="*/ 5486 w 106776"/>
                    <a:gd name="connsiteY6" fmla="*/ 26097 h 107180"/>
                    <a:gd name="connsiteX7" fmla="*/ 732 w 106776"/>
                    <a:gd name="connsiteY7" fmla="*/ 37314 h 107180"/>
                    <a:gd name="connsiteX8" fmla="*/ 12936 w 106776"/>
                    <a:gd name="connsiteY8" fmla="*/ 44019 h 107180"/>
                    <a:gd name="connsiteX9" fmla="*/ 12198 w 106776"/>
                    <a:gd name="connsiteY9" fmla="*/ 59138 h 107180"/>
                    <a:gd name="connsiteX10" fmla="*/ 12198 w 106776"/>
                    <a:gd name="connsiteY10" fmla="*/ 61698 h 107180"/>
                    <a:gd name="connsiteX11" fmla="*/ 0 w 106776"/>
                    <a:gd name="connsiteY11" fmla="*/ 68038 h 107180"/>
                    <a:gd name="connsiteX12" fmla="*/ 4511 w 106776"/>
                    <a:gd name="connsiteY12" fmla="*/ 79383 h 107180"/>
                    <a:gd name="connsiteX13" fmla="*/ 17691 w 106776"/>
                    <a:gd name="connsiteY13" fmla="*/ 75603 h 107180"/>
                    <a:gd name="connsiteX14" fmla="*/ 27945 w 106776"/>
                    <a:gd name="connsiteY14" fmla="*/ 86820 h 107180"/>
                    <a:gd name="connsiteX15" fmla="*/ 30018 w 106776"/>
                    <a:gd name="connsiteY15" fmla="*/ 88283 h 107180"/>
                    <a:gd name="connsiteX16" fmla="*/ 25988 w 106776"/>
                    <a:gd name="connsiteY16" fmla="*/ 101328 h 107180"/>
                    <a:gd name="connsiteX17" fmla="*/ 37218 w 106776"/>
                    <a:gd name="connsiteY17" fmla="*/ 106083 h 107180"/>
                    <a:gd name="connsiteX18" fmla="*/ 43808 w 106776"/>
                    <a:gd name="connsiteY18" fmla="*/ 93891 h 107180"/>
                    <a:gd name="connsiteX19" fmla="*/ 53202 w 106776"/>
                    <a:gd name="connsiteY19" fmla="*/ 94989 h 107180"/>
                    <a:gd name="connsiteX20" fmla="*/ 59061 w 106776"/>
                    <a:gd name="connsiteY20" fmla="*/ 94989 h 107180"/>
                    <a:gd name="connsiteX21" fmla="*/ 61505 w 106776"/>
                    <a:gd name="connsiteY21" fmla="*/ 94989 h 107180"/>
                    <a:gd name="connsiteX22" fmla="*/ 67852 w 106776"/>
                    <a:gd name="connsiteY22" fmla="*/ 107181 h 107180"/>
                    <a:gd name="connsiteX23" fmla="*/ 79197 w 106776"/>
                    <a:gd name="connsiteY23" fmla="*/ 102669 h 107180"/>
                    <a:gd name="connsiteX24" fmla="*/ 75539 w 106776"/>
                    <a:gd name="connsiteY24" fmla="*/ 89502 h 107180"/>
                    <a:gd name="connsiteX25" fmla="*/ 86762 w 106776"/>
                    <a:gd name="connsiteY25" fmla="*/ 79261 h 107180"/>
                    <a:gd name="connsiteX26" fmla="*/ 88110 w 106776"/>
                    <a:gd name="connsiteY26" fmla="*/ 77188 h 107180"/>
                    <a:gd name="connsiteX27" fmla="*/ 101290 w 106776"/>
                    <a:gd name="connsiteY27" fmla="*/ 81333 h 107180"/>
                    <a:gd name="connsiteX28" fmla="*/ 106045 w 106776"/>
                    <a:gd name="connsiteY28" fmla="*/ 70110 h 107180"/>
                    <a:gd name="connsiteX29" fmla="*/ 93840 w 106776"/>
                    <a:gd name="connsiteY29" fmla="*/ 63405 h 107180"/>
                    <a:gd name="connsiteX30" fmla="*/ 94578 w 106776"/>
                    <a:gd name="connsiteY30" fmla="*/ 48287 h 107180"/>
                    <a:gd name="connsiteX31" fmla="*/ 94578 w 106776"/>
                    <a:gd name="connsiteY31" fmla="*/ 45726 h 107180"/>
                    <a:gd name="connsiteX32" fmla="*/ 106776 w 106776"/>
                    <a:gd name="connsiteY32" fmla="*/ 39387 h 107180"/>
                    <a:gd name="connsiteX33" fmla="*/ 102265 w 106776"/>
                    <a:gd name="connsiteY33" fmla="*/ 28048 h 107180"/>
                    <a:gd name="connsiteX34" fmla="*/ 89085 w 106776"/>
                    <a:gd name="connsiteY34" fmla="*/ 31827 h 107180"/>
                    <a:gd name="connsiteX35" fmla="*/ 76880 w 106776"/>
                    <a:gd name="connsiteY35" fmla="*/ 19629 h 107180"/>
                    <a:gd name="connsiteX36" fmla="*/ 81032 w 106776"/>
                    <a:gd name="connsiteY36" fmla="*/ 6584 h 107180"/>
                    <a:gd name="connsiteX37" fmla="*/ 69802 w 106776"/>
                    <a:gd name="connsiteY37" fmla="*/ 1707 h 107180"/>
                    <a:gd name="connsiteX38" fmla="*/ 63212 w 106776"/>
                    <a:gd name="connsiteY38" fmla="*/ 13899 h 107180"/>
                    <a:gd name="connsiteX39" fmla="*/ 47838 w 106776"/>
                    <a:gd name="connsiteY39" fmla="*/ 12192 h 107180"/>
                    <a:gd name="connsiteX40" fmla="*/ 45393 w 106776"/>
                    <a:gd name="connsiteY40" fmla="*/ 12192 h 107180"/>
                    <a:gd name="connsiteX41" fmla="*/ 41369 w 106776"/>
                    <a:gd name="connsiteY41" fmla="*/ 4511 h 107180"/>
                    <a:gd name="connsiteX42" fmla="*/ 39046 w 106776"/>
                    <a:gd name="connsiteY42" fmla="*/ 0 h 107180"/>
                    <a:gd name="connsiteX43" fmla="*/ 36852 w 106776"/>
                    <a:gd name="connsiteY43" fmla="*/ 1097 h 107180"/>
                    <a:gd name="connsiteX44" fmla="*/ 50764 w 106776"/>
                    <a:gd name="connsiteY44" fmla="*/ 32681 h 107180"/>
                    <a:gd name="connsiteX45" fmla="*/ 66280 w 106776"/>
                    <a:gd name="connsiteY45" fmla="*/ 36691 h 107180"/>
                    <a:gd name="connsiteX46" fmla="*/ 74442 w 106776"/>
                    <a:gd name="connsiteY46" fmla="*/ 50481 h 107180"/>
                    <a:gd name="connsiteX47" fmla="*/ 73935 w 106776"/>
                    <a:gd name="connsiteY47" fmla="*/ 58644 h 107180"/>
                    <a:gd name="connsiteX48" fmla="*/ 70290 w 106776"/>
                    <a:gd name="connsiteY48" fmla="*/ 65965 h 107180"/>
                    <a:gd name="connsiteX49" fmla="*/ 64245 w 106776"/>
                    <a:gd name="connsiteY49" fmla="*/ 71484 h 107180"/>
                    <a:gd name="connsiteX50" fmla="*/ 56500 w 106776"/>
                    <a:gd name="connsiteY50" fmla="*/ 74134 h 107180"/>
                    <a:gd name="connsiteX51" fmla="*/ 47966 w 106776"/>
                    <a:gd name="connsiteY51" fmla="*/ 74134 h 107180"/>
                    <a:gd name="connsiteX52" fmla="*/ 40137 w 106776"/>
                    <a:gd name="connsiteY52" fmla="*/ 70733 h 107180"/>
                    <a:gd name="connsiteX53" fmla="*/ 34317 w 106776"/>
                    <a:gd name="connsiteY53" fmla="*/ 64502 h 107180"/>
                    <a:gd name="connsiteX54" fmla="*/ 31455 w 106776"/>
                    <a:gd name="connsiteY54" fmla="*/ 56468 h 107180"/>
                    <a:gd name="connsiteX55" fmla="*/ 32026 w 106776"/>
                    <a:gd name="connsiteY55" fmla="*/ 47966 h 107180"/>
                    <a:gd name="connsiteX56" fmla="*/ 35941 w 106776"/>
                    <a:gd name="connsiteY56" fmla="*/ 40388 h 107180"/>
                    <a:gd name="connsiteX57" fmla="*/ 42550 w 106776"/>
                    <a:gd name="connsiteY57" fmla="*/ 34998 h 107180"/>
                    <a:gd name="connsiteX58" fmla="*/ 50764 w 106776"/>
                    <a:gd name="connsiteY58" fmla="*/ 32681 h 1071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</a:cxnLst>
                  <a:rect l="l" t="t" r="r" b="b"/>
                  <a:pathLst>
                    <a:path w="106776" h="107180">
                      <a:moveTo>
                        <a:pt x="36852" y="1097"/>
                      </a:moveTo>
                      <a:lnTo>
                        <a:pt x="30140" y="3779"/>
                      </a:lnTo>
                      <a:lnTo>
                        <a:pt x="27702" y="4755"/>
                      </a:lnTo>
                      <a:lnTo>
                        <a:pt x="29408" y="10729"/>
                      </a:lnTo>
                      <a:lnTo>
                        <a:pt x="31359" y="17922"/>
                      </a:lnTo>
                      <a:cubicBezTo>
                        <a:pt x="26489" y="21092"/>
                        <a:pt x="22331" y="25250"/>
                        <a:pt x="19154" y="30121"/>
                      </a:cubicBezTo>
                      <a:lnTo>
                        <a:pt x="5486" y="26097"/>
                      </a:lnTo>
                      <a:lnTo>
                        <a:pt x="732" y="37314"/>
                      </a:lnTo>
                      <a:lnTo>
                        <a:pt x="12936" y="44019"/>
                      </a:lnTo>
                      <a:cubicBezTo>
                        <a:pt x="11768" y="48973"/>
                        <a:pt x="11518" y="54094"/>
                        <a:pt x="12198" y="59138"/>
                      </a:cubicBezTo>
                      <a:cubicBezTo>
                        <a:pt x="12198" y="59991"/>
                        <a:pt x="12198" y="60844"/>
                        <a:pt x="12198" y="61698"/>
                      </a:cubicBezTo>
                      <a:lnTo>
                        <a:pt x="0" y="68038"/>
                      </a:lnTo>
                      <a:lnTo>
                        <a:pt x="4511" y="79383"/>
                      </a:lnTo>
                      <a:lnTo>
                        <a:pt x="17691" y="75603"/>
                      </a:lnTo>
                      <a:cubicBezTo>
                        <a:pt x="20412" y="79922"/>
                        <a:pt x="23883" y="83721"/>
                        <a:pt x="27945" y="86820"/>
                      </a:cubicBezTo>
                      <a:lnTo>
                        <a:pt x="30018" y="88283"/>
                      </a:lnTo>
                      <a:lnTo>
                        <a:pt x="25988" y="101328"/>
                      </a:lnTo>
                      <a:lnTo>
                        <a:pt x="37218" y="106083"/>
                      </a:lnTo>
                      <a:lnTo>
                        <a:pt x="43808" y="93891"/>
                      </a:lnTo>
                      <a:cubicBezTo>
                        <a:pt x="46888" y="94623"/>
                        <a:pt x="50039" y="94989"/>
                        <a:pt x="53202" y="94989"/>
                      </a:cubicBezTo>
                      <a:cubicBezTo>
                        <a:pt x="55153" y="95168"/>
                        <a:pt x="57116" y="95168"/>
                        <a:pt x="59061" y="94989"/>
                      </a:cubicBezTo>
                      <a:lnTo>
                        <a:pt x="61505" y="94989"/>
                      </a:lnTo>
                      <a:lnTo>
                        <a:pt x="67852" y="107181"/>
                      </a:lnTo>
                      <a:lnTo>
                        <a:pt x="79197" y="102669"/>
                      </a:lnTo>
                      <a:lnTo>
                        <a:pt x="75539" y="89502"/>
                      </a:lnTo>
                      <a:cubicBezTo>
                        <a:pt x="79864" y="86788"/>
                        <a:pt x="83669" y="83316"/>
                        <a:pt x="86762" y="79261"/>
                      </a:cubicBezTo>
                      <a:cubicBezTo>
                        <a:pt x="87282" y="78613"/>
                        <a:pt x="87731" y="77920"/>
                        <a:pt x="88110" y="77188"/>
                      </a:cubicBezTo>
                      <a:lnTo>
                        <a:pt x="101290" y="81333"/>
                      </a:lnTo>
                      <a:lnTo>
                        <a:pt x="106045" y="70110"/>
                      </a:lnTo>
                      <a:lnTo>
                        <a:pt x="93840" y="63405"/>
                      </a:lnTo>
                      <a:cubicBezTo>
                        <a:pt x="95066" y="58464"/>
                        <a:pt x="95309" y="53324"/>
                        <a:pt x="94578" y="48287"/>
                      </a:cubicBezTo>
                      <a:cubicBezTo>
                        <a:pt x="94578" y="47433"/>
                        <a:pt x="94578" y="46580"/>
                        <a:pt x="94578" y="45726"/>
                      </a:cubicBezTo>
                      <a:lnTo>
                        <a:pt x="106776" y="39387"/>
                      </a:lnTo>
                      <a:lnTo>
                        <a:pt x="102265" y="28048"/>
                      </a:lnTo>
                      <a:lnTo>
                        <a:pt x="89085" y="31827"/>
                      </a:lnTo>
                      <a:cubicBezTo>
                        <a:pt x="85922" y="26944"/>
                        <a:pt x="81763" y="22786"/>
                        <a:pt x="76880" y="19629"/>
                      </a:cubicBezTo>
                      <a:lnTo>
                        <a:pt x="81032" y="6584"/>
                      </a:lnTo>
                      <a:lnTo>
                        <a:pt x="69802" y="1707"/>
                      </a:lnTo>
                      <a:lnTo>
                        <a:pt x="63212" y="13899"/>
                      </a:lnTo>
                      <a:cubicBezTo>
                        <a:pt x="58233" y="12397"/>
                        <a:pt x="53022" y="11820"/>
                        <a:pt x="47838" y="12192"/>
                      </a:cubicBezTo>
                      <a:lnTo>
                        <a:pt x="45393" y="12192"/>
                      </a:lnTo>
                      <a:lnTo>
                        <a:pt x="41369" y="4511"/>
                      </a:lnTo>
                      <a:lnTo>
                        <a:pt x="39046" y="0"/>
                      </a:lnTo>
                      <a:lnTo>
                        <a:pt x="36852" y="1097"/>
                      </a:lnTo>
                      <a:close/>
                      <a:moveTo>
                        <a:pt x="50764" y="32681"/>
                      </a:moveTo>
                      <a:cubicBezTo>
                        <a:pt x="56263" y="31911"/>
                        <a:pt x="61846" y="33355"/>
                        <a:pt x="66280" y="36691"/>
                      </a:cubicBezTo>
                      <a:cubicBezTo>
                        <a:pt x="70720" y="40028"/>
                        <a:pt x="73652" y="44988"/>
                        <a:pt x="74442" y="50481"/>
                      </a:cubicBezTo>
                      <a:cubicBezTo>
                        <a:pt x="74820" y="53208"/>
                        <a:pt x="74647" y="55987"/>
                        <a:pt x="73935" y="58644"/>
                      </a:cubicBezTo>
                      <a:cubicBezTo>
                        <a:pt x="73223" y="61306"/>
                        <a:pt x="71984" y="63796"/>
                        <a:pt x="70290" y="65965"/>
                      </a:cubicBezTo>
                      <a:cubicBezTo>
                        <a:pt x="68673" y="68198"/>
                        <a:pt x="66613" y="70078"/>
                        <a:pt x="64245" y="71484"/>
                      </a:cubicBezTo>
                      <a:cubicBezTo>
                        <a:pt x="61871" y="72889"/>
                        <a:pt x="59234" y="73794"/>
                        <a:pt x="56500" y="74134"/>
                      </a:cubicBezTo>
                      <a:cubicBezTo>
                        <a:pt x="53683" y="74718"/>
                        <a:pt x="50783" y="74718"/>
                        <a:pt x="47966" y="74134"/>
                      </a:cubicBezTo>
                      <a:cubicBezTo>
                        <a:pt x="45155" y="73550"/>
                        <a:pt x="42486" y="72388"/>
                        <a:pt x="40137" y="70733"/>
                      </a:cubicBezTo>
                      <a:cubicBezTo>
                        <a:pt x="37795" y="69077"/>
                        <a:pt x="35812" y="66960"/>
                        <a:pt x="34317" y="64502"/>
                      </a:cubicBezTo>
                      <a:cubicBezTo>
                        <a:pt x="32822" y="62051"/>
                        <a:pt x="31847" y="59317"/>
                        <a:pt x="31455" y="56468"/>
                      </a:cubicBezTo>
                      <a:cubicBezTo>
                        <a:pt x="31057" y="53626"/>
                        <a:pt x="31256" y="50732"/>
                        <a:pt x="32026" y="47966"/>
                      </a:cubicBezTo>
                      <a:cubicBezTo>
                        <a:pt x="32796" y="45200"/>
                        <a:pt x="34131" y="42621"/>
                        <a:pt x="35941" y="40388"/>
                      </a:cubicBezTo>
                      <a:cubicBezTo>
                        <a:pt x="37750" y="38161"/>
                        <a:pt x="40003" y="36326"/>
                        <a:pt x="42550" y="34998"/>
                      </a:cubicBezTo>
                      <a:cubicBezTo>
                        <a:pt x="45104" y="33669"/>
                        <a:pt x="47895" y="32880"/>
                        <a:pt x="50764" y="32681"/>
                      </a:cubicBez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61" name="Freeform: Shape 60">
                  <a:extLst>
                    <a:ext uri="{FF2B5EF4-FFF2-40B4-BE49-F238E27FC236}">
                      <a16:creationId xmlns:a16="http://schemas.microsoft.com/office/drawing/2014/main" id="{8A7FCC2A-6811-14F3-8D26-0D4DEA5EA2E1}"/>
                    </a:ext>
                  </a:extLst>
                </p:cNvPr>
                <p:cNvSpPr/>
                <p:nvPr/>
              </p:nvSpPr>
              <p:spPr>
                <a:xfrm>
                  <a:off x="1460101" y="4134620"/>
                  <a:ext cx="21457" cy="18538"/>
                </a:xfrm>
                <a:custGeom>
                  <a:avLst/>
                  <a:gdLst>
                    <a:gd name="connsiteX0" fmla="*/ 16093 w 21457"/>
                    <a:gd name="connsiteY0" fmla="*/ 18538 h 18538"/>
                    <a:gd name="connsiteX1" fmla="*/ 21458 w 21457"/>
                    <a:gd name="connsiteY1" fmla="*/ 9272 h 18538"/>
                    <a:gd name="connsiteX2" fmla="*/ 16093 w 21457"/>
                    <a:gd name="connsiteY2" fmla="*/ 0 h 18538"/>
                    <a:gd name="connsiteX3" fmla="*/ 5364 w 21457"/>
                    <a:gd name="connsiteY3" fmla="*/ 0 h 18538"/>
                    <a:gd name="connsiteX4" fmla="*/ 0 w 21457"/>
                    <a:gd name="connsiteY4" fmla="*/ 9272 h 18538"/>
                    <a:gd name="connsiteX5" fmla="*/ 5364 w 21457"/>
                    <a:gd name="connsiteY5" fmla="*/ 18538 h 18538"/>
                    <a:gd name="connsiteX6" fmla="*/ 16093 w 21457"/>
                    <a:gd name="connsiteY6" fmla="*/ 18538 h 185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1457" h="18538">
                      <a:moveTo>
                        <a:pt x="16093" y="18538"/>
                      </a:moveTo>
                      <a:lnTo>
                        <a:pt x="21458" y="9272"/>
                      </a:lnTo>
                      <a:lnTo>
                        <a:pt x="16093" y="0"/>
                      </a:lnTo>
                      <a:lnTo>
                        <a:pt x="5364" y="0"/>
                      </a:lnTo>
                      <a:lnTo>
                        <a:pt x="0" y="9272"/>
                      </a:lnTo>
                      <a:lnTo>
                        <a:pt x="5364" y="18538"/>
                      </a:lnTo>
                      <a:lnTo>
                        <a:pt x="16093" y="18538"/>
                      </a:ln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62" name="Freeform: Shape 61">
                  <a:extLst>
                    <a:ext uri="{FF2B5EF4-FFF2-40B4-BE49-F238E27FC236}">
                      <a16:creationId xmlns:a16="http://schemas.microsoft.com/office/drawing/2014/main" id="{0467C537-AF37-AC04-6C09-E6CEFB4F8F10}"/>
                    </a:ext>
                  </a:extLst>
                </p:cNvPr>
                <p:cNvSpPr/>
                <p:nvPr/>
              </p:nvSpPr>
              <p:spPr>
                <a:xfrm>
                  <a:off x="1155371" y="3736384"/>
                  <a:ext cx="488316" cy="243872"/>
                </a:xfrm>
                <a:custGeom>
                  <a:avLst/>
                  <a:gdLst>
                    <a:gd name="connsiteX0" fmla="*/ 436762 w 488316"/>
                    <a:gd name="connsiteY0" fmla="*/ 92917 h 243872"/>
                    <a:gd name="connsiteX1" fmla="*/ 401739 w 488316"/>
                    <a:gd name="connsiteY1" fmla="*/ 78530 h 243872"/>
                    <a:gd name="connsiteX2" fmla="*/ 387378 w 488316"/>
                    <a:gd name="connsiteY2" fmla="*/ 71780 h 243872"/>
                    <a:gd name="connsiteX3" fmla="*/ 377330 w 488316"/>
                    <a:gd name="connsiteY3" fmla="*/ 59504 h 243872"/>
                    <a:gd name="connsiteX4" fmla="*/ 337718 w 488316"/>
                    <a:gd name="connsiteY4" fmla="*/ 15972 h 243872"/>
                    <a:gd name="connsiteX5" fmla="*/ 281045 w 488316"/>
                    <a:gd name="connsiteY5" fmla="*/ 1 h 243872"/>
                    <a:gd name="connsiteX6" fmla="*/ 238052 w 488316"/>
                    <a:gd name="connsiteY6" fmla="*/ 9010 h 243872"/>
                    <a:gd name="connsiteX7" fmla="*/ 202214 w 488316"/>
                    <a:gd name="connsiteY7" fmla="*/ 34389 h 243872"/>
                    <a:gd name="connsiteX8" fmla="*/ 189233 w 488316"/>
                    <a:gd name="connsiteY8" fmla="*/ 42981 h 243872"/>
                    <a:gd name="connsiteX9" fmla="*/ 173775 w 488316"/>
                    <a:gd name="connsiteY9" fmla="*/ 44874 h 243872"/>
                    <a:gd name="connsiteX10" fmla="*/ 130820 w 488316"/>
                    <a:gd name="connsiteY10" fmla="*/ 51823 h 243872"/>
                    <a:gd name="connsiteX11" fmla="*/ 98120 w 488316"/>
                    <a:gd name="connsiteY11" fmla="*/ 76964 h 243872"/>
                    <a:gd name="connsiteX12" fmla="*/ 80788 w 488316"/>
                    <a:gd name="connsiteY12" fmla="*/ 114375 h 243872"/>
                    <a:gd name="connsiteX13" fmla="*/ 74281 w 488316"/>
                    <a:gd name="connsiteY13" fmla="*/ 128671 h 243872"/>
                    <a:gd name="connsiteX14" fmla="*/ 62237 w 488316"/>
                    <a:gd name="connsiteY14" fmla="*/ 138765 h 243872"/>
                    <a:gd name="connsiteX15" fmla="*/ 19565 w 488316"/>
                    <a:gd name="connsiteY15" fmla="*/ 177600 h 243872"/>
                    <a:gd name="connsiteX16" fmla="*/ 1219 w 488316"/>
                    <a:gd name="connsiteY16" fmla="*/ 232284 h 243872"/>
                    <a:gd name="connsiteX17" fmla="*/ 0 w 488316"/>
                    <a:gd name="connsiteY17" fmla="*/ 243873 h 243872"/>
                    <a:gd name="connsiteX18" fmla="*/ 110928 w 488316"/>
                    <a:gd name="connsiteY18" fmla="*/ 243873 h 243872"/>
                    <a:gd name="connsiteX19" fmla="*/ 110928 w 488316"/>
                    <a:gd name="connsiteY19" fmla="*/ 222652 h 243872"/>
                    <a:gd name="connsiteX20" fmla="*/ 23428 w 488316"/>
                    <a:gd name="connsiteY20" fmla="*/ 222652 h 243872"/>
                    <a:gd name="connsiteX21" fmla="*/ 40413 w 488316"/>
                    <a:gd name="connsiteY21" fmla="*/ 184543 h 243872"/>
                    <a:gd name="connsiteX22" fmla="*/ 72247 w 488316"/>
                    <a:gd name="connsiteY22" fmla="*/ 157541 h 243872"/>
                    <a:gd name="connsiteX23" fmla="*/ 91382 w 488316"/>
                    <a:gd name="connsiteY23" fmla="*/ 141325 h 243872"/>
                    <a:gd name="connsiteX24" fmla="*/ 101534 w 488316"/>
                    <a:gd name="connsiteY24" fmla="*/ 118398 h 243872"/>
                    <a:gd name="connsiteX25" fmla="*/ 114701 w 488316"/>
                    <a:gd name="connsiteY25" fmla="*/ 90093 h 243872"/>
                    <a:gd name="connsiteX26" fmla="*/ 139483 w 488316"/>
                    <a:gd name="connsiteY26" fmla="*/ 71087 h 243872"/>
                    <a:gd name="connsiteX27" fmla="*/ 171946 w 488316"/>
                    <a:gd name="connsiteY27" fmla="*/ 65722 h 243872"/>
                    <a:gd name="connsiteX28" fmla="*/ 196753 w 488316"/>
                    <a:gd name="connsiteY28" fmla="*/ 62591 h 243872"/>
                    <a:gd name="connsiteX29" fmla="*/ 217589 w 488316"/>
                    <a:gd name="connsiteY29" fmla="*/ 48775 h 243872"/>
                    <a:gd name="connsiteX30" fmla="*/ 246439 w 488316"/>
                    <a:gd name="connsiteY30" fmla="*/ 28344 h 243872"/>
                    <a:gd name="connsiteX31" fmla="*/ 281045 w 488316"/>
                    <a:gd name="connsiteY31" fmla="*/ 21093 h 243872"/>
                    <a:gd name="connsiteX32" fmla="*/ 326630 w 488316"/>
                    <a:gd name="connsiteY32" fmla="*/ 33850 h 243872"/>
                    <a:gd name="connsiteX33" fmla="*/ 358413 w 488316"/>
                    <a:gd name="connsiteY33" fmla="*/ 68892 h 243872"/>
                    <a:gd name="connsiteX34" fmla="*/ 374461 w 488316"/>
                    <a:gd name="connsiteY34" fmla="*/ 88406 h 243872"/>
                    <a:gd name="connsiteX35" fmla="*/ 397344 w 488316"/>
                    <a:gd name="connsiteY35" fmla="*/ 99135 h 243872"/>
                    <a:gd name="connsiteX36" fmla="*/ 425533 w 488316"/>
                    <a:gd name="connsiteY36" fmla="*/ 111327 h 243872"/>
                    <a:gd name="connsiteX37" fmla="*/ 463315 w 488316"/>
                    <a:gd name="connsiteY37" fmla="*/ 161076 h 243872"/>
                    <a:gd name="connsiteX38" fmla="*/ 459215 w 488316"/>
                    <a:gd name="connsiteY38" fmla="*/ 223384 h 243872"/>
                    <a:gd name="connsiteX39" fmla="*/ 378305 w 488316"/>
                    <a:gd name="connsiteY39" fmla="*/ 223384 h 243872"/>
                    <a:gd name="connsiteX40" fmla="*/ 378305 w 488316"/>
                    <a:gd name="connsiteY40" fmla="*/ 243873 h 243872"/>
                    <a:gd name="connsiteX41" fmla="*/ 472029 w 488316"/>
                    <a:gd name="connsiteY41" fmla="*/ 243873 h 243872"/>
                    <a:gd name="connsiteX42" fmla="*/ 474962 w 488316"/>
                    <a:gd name="connsiteY42" fmla="*/ 238387 h 243872"/>
                    <a:gd name="connsiteX43" fmla="*/ 484722 w 488316"/>
                    <a:gd name="connsiteY43" fmla="*/ 158086 h 243872"/>
                    <a:gd name="connsiteX44" fmla="*/ 436762 w 488316"/>
                    <a:gd name="connsiteY44" fmla="*/ 92917 h 2438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</a:cxnLst>
                  <a:rect l="l" t="t" r="r" b="b"/>
                  <a:pathLst>
                    <a:path w="488316" h="243872">
                      <a:moveTo>
                        <a:pt x="436762" y="92917"/>
                      </a:moveTo>
                      <a:cubicBezTo>
                        <a:pt x="425989" y="86166"/>
                        <a:pt x="414149" y="81296"/>
                        <a:pt x="401739" y="78530"/>
                      </a:cubicBezTo>
                      <a:cubicBezTo>
                        <a:pt x="396510" y="77375"/>
                        <a:pt x="391601" y="75071"/>
                        <a:pt x="387378" y="71780"/>
                      </a:cubicBezTo>
                      <a:cubicBezTo>
                        <a:pt x="383150" y="68488"/>
                        <a:pt x="379723" y="64298"/>
                        <a:pt x="377330" y="59504"/>
                      </a:cubicBezTo>
                      <a:cubicBezTo>
                        <a:pt x="368468" y="41575"/>
                        <a:pt x="354742" y="26490"/>
                        <a:pt x="337718" y="15972"/>
                      </a:cubicBezTo>
                      <a:cubicBezTo>
                        <a:pt x="320695" y="5449"/>
                        <a:pt x="301059" y="-82"/>
                        <a:pt x="281045" y="1"/>
                      </a:cubicBezTo>
                      <a:cubicBezTo>
                        <a:pt x="266248" y="33"/>
                        <a:pt x="251617" y="3100"/>
                        <a:pt x="238052" y="9010"/>
                      </a:cubicBezTo>
                      <a:cubicBezTo>
                        <a:pt x="224493" y="14926"/>
                        <a:pt x="212295" y="23564"/>
                        <a:pt x="202214" y="34389"/>
                      </a:cubicBezTo>
                      <a:cubicBezTo>
                        <a:pt x="198608" y="38220"/>
                        <a:pt x="194167" y="41158"/>
                        <a:pt x="189233" y="42981"/>
                      </a:cubicBezTo>
                      <a:cubicBezTo>
                        <a:pt x="184298" y="44797"/>
                        <a:pt x="179004" y="45445"/>
                        <a:pt x="173775" y="44874"/>
                      </a:cubicBezTo>
                      <a:cubicBezTo>
                        <a:pt x="159099" y="43558"/>
                        <a:pt x="144334" y="45952"/>
                        <a:pt x="130820" y="51823"/>
                      </a:cubicBezTo>
                      <a:cubicBezTo>
                        <a:pt x="118051" y="57444"/>
                        <a:pt x="106834" y="66069"/>
                        <a:pt x="98120" y="76964"/>
                      </a:cubicBezTo>
                      <a:cubicBezTo>
                        <a:pt x="89406" y="87854"/>
                        <a:pt x="83458" y="100687"/>
                        <a:pt x="80788" y="114375"/>
                      </a:cubicBezTo>
                      <a:cubicBezTo>
                        <a:pt x="79716" y="119566"/>
                        <a:pt x="77490" y="124449"/>
                        <a:pt x="74281" y="128671"/>
                      </a:cubicBezTo>
                      <a:cubicBezTo>
                        <a:pt x="71073" y="132894"/>
                        <a:pt x="66953" y="136339"/>
                        <a:pt x="62237" y="138765"/>
                      </a:cubicBezTo>
                      <a:cubicBezTo>
                        <a:pt x="44931" y="147864"/>
                        <a:pt x="30243" y="161230"/>
                        <a:pt x="19565" y="177600"/>
                      </a:cubicBezTo>
                      <a:cubicBezTo>
                        <a:pt x="8881" y="193969"/>
                        <a:pt x="2567" y="212796"/>
                        <a:pt x="1219" y="232284"/>
                      </a:cubicBezTo>
                      <a:lnTo>
                        <a:pt x="0" y="243873"/>
                      </a:lnTo>
                      <a:lnTo>
                        <a:pt x="110928" y="243873"/>
                      </a:lnTo>
                      <a:lnTo>
                        <a:pt x="110928" y="222652"/>
                      </a:lnTo>
                      <a:lnTo>
                        <a:pt x="23428" y="222652"/>
                      </a:lnTo>
                      <a:cubicBezTo>
                        <a:pt x="26162" y="208837"/>
                        <a:pt x="31962" y="195811"/>
                        <a:pt x="40413" y="184543"/>
                      </a:cubicBezTo>
                      <a:cubicBezTo>
                        <a:pt x="48864" y="173268"/>
                        <a:pt x="59741" y="164041"/>
                        <a:pt x="72247" y="157541"/>
                      </a:cubicBezTo>
                      <a:cubicBezTo>
                        <a:pt x="79768" y="153646"/>
                        <a:pt x="86307" y="148102"/>
                        <a:pt x="91382" y="141325"/>
                      </a:cubicBezTo>
                      <a:cubicBezTo>
                        <a:pt x="96452" y="134549"/>
                        <a:pt x="99923" y="126708"/>
                        <a:pt x="101534" y="118398"/>
                      </a:cubicBezTo>
                      <a:cubicBezTo>
                        <a:pt x="103574" y="108041"/>
                        <a:pt x="108092" y="98326"/>
                        <a:pt x="114701" y="90093"/>
                      </a:cubicBezTo>
                      <a:cubicBezTo>
                        <a:pt x="121304" y="81854"/>
                        <a:pt x="129813" y="75335"/>
                        <a:pt x="139483" y="71087"/>
                      </a:cubicBezTo>
                      <a:cubicBezTo>
                        <a:pt x="149679" y="66595"/>
                        <a:pt x="160845" y="64753"/>
                        <a:pt x="171946" y="65722"/>
                      </a:cubicBezTo>
                      <a:cubicBezTo>
                        <a:pt x="180345" y="66608"/>
                        <a:pt x="188835" y="65536"/>
                        <a:pt x="196753" y="62591"/>
                      </a:cubicBezTo>
                      <a:cubicBezTo>
                        <a:pt x="204672" y="59652"/>
                        <a:pt x="211801" y="54923"/>
                        <a:pt x="217589" y="48775"/>
                      </a:cubicBezTo>
                      <a:cubicBezTo>
                        <a:pt x="225700" y="40061"/>
                        <a:pt x="235524" y="33105"/>
                        <a:pt x="246439" y="28344"/>
                      </a:cubicBezTo>
                      <a:cubicBezTo>
                        <a:pt x="257354" y="23583"/>
                        <a:pt x="269135" y="21119"/>
                        <a:pt x="281045" y="21093"/>
                      </a:cubicBezTo>
                      <a:cubicBezTo>
                        <a:pt x="297138" y="20971"/>
                        <a:pt x="312937" y="25392"/>
                        <a:pt x="326630" y="33850"/>
                      </a:cubicBezTo>
                      <a:cubicBezTo>
                        <a:pt x="340317" y="42307"/>
                        <a:pt x="351335" y="54454"/>
                        <a:pt x="358413" y="68892"/>
                      </a:cubicBezTo>
                      <a:cubicBezTo>
                        <a:pt x="362244" y="76509"/>
                        <a:pt x="367730" y="83176"/>
                        <a:pt x="374461" y="88406"/>
                      </a:cubicBezTo>
                      <a:cubicBezTo>
                        <a:pt x="381199" y="93642"/>
                        <a:pt x="389015" y="97306"/>
                        <a:pt x="397344" y="99135"/>
                      </a:cubicBezTo>
                      <a:cubicBezTo>
                        <a:pt x="407386" y="101509"/>
                        <a:pt x="416928" y="105641"/>
                        <a:pt x="425533" y="111327"/>
                      </a:cubicBezTo>
                      <a:cubicBezTo>
                        <a:pt x="443712" y="122826"/>
                        <a:pt x="457130" y="140485"/>
                        <a:pt x="463315" y="161076"/>
                      </a:cubicBezTo>
                      <a:cubicBezTo>
                        <a:pt x="469501" y="181662"/>
                        <a:pt x="468044" y="203787"/>
                        <a:pt x="459215" y="223384"/>
                      </a:cubicBezTo>
                      <a:lnTo>
                        <a:pt x="378305" y="223384"/>
                      </a:lnTo>
                      <a:lnTo>
                        <a:pt x="378305" y="243873"/>
                      </a:lnTo>
                      <a:lnTo>
                        <a:pt x="472029" y="243873"/>
                      </a:lnTo>
                      <a:lnTo>
                        <a:pt x="474962" y="238387"/>
                      </a:lnTo>
                      <a:cubicBezTo>
                        <a:pt x="488328" y="213836"/>
                        <a:pt x="491819" y="185114"/>
                        <a:pt x="484722" y="158086"/>
                      </a:cubicBezTo>
                      <a:cubicBezTo>
                        <a:pt x="477625" y="131052"/>
                        <a:pt x="460466" y="107746"/>
                        <a:pt x="436762" y="92917"/>
                      </a:cubicBez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</p:grp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C476B494-9639-7E18-FA57-879C39071143}"/>
                  </a:ext>
                </a:extLst>
              </p:cNvPr>
              <p:cNvSpPr txBox="1"/>
              <p:nvPr/>
            </p:nvSpPr>
            <p:spPr>
              <a:xfrm>
                <a:off x="990195" y="4171370"/>
                <a:ext cx="686406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Security</a:t>
                </a:r>
              </a:p>
              <a:p>
                <a:pPr algn="l"/>
                <a:r>
                  <a:rPr lang="en-US" sz="120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Advisor</a:t>
                </a:r>
                <a:endParaRPr lang="en-US" sz="1200" spc="0" baseline="0" dirty="0">
                  <a:solidFill>
                    <a:srgbClr val="000000"/>
                  </a:solidFill>
                  <a:latin typeface="Oracle Sans"/>
                  <a:cs typeface="Oracle Sans"/>
                  <a:sym typeface="Oracle Sans"/>
                  <a:rtl val="0"/>
                </a:endParaRPr>
              </a:p>
            </p:txBody>
          </p:sp>
        </p:grpSp>
        <p:grpSp>
          <p:nvGrpSpPr>
            <p:cNvPr id="63" name="Graphic 3">
              <a:extLst>
                <a:ext uri="{FF2B5EF4-FFF2-40B4-BE49-F238E27FC236}">
                  <a16:creationId xmlns:a16="http://schemas.microsoft.com/office/drawing/2014/main" id="{07CDD5AA-D620-CDF3-7052-35ED5B81710D}"/>
                </a:ext>
              </a:extLst>
            </p:cNvPr>
            <p:cNvGrpSpPr/>
            <p:nvPr/>
          </p:nvGrpSpPr>
          <p:grpSpPr>
            <a:xfrm>
              <a:off x="8466423" y="1116434"/>
              <a:ext cx="969624" cy="852532"/>
              <a:chOff x="5323219" y="3005488"/>
              <a:chExt cx="969624" cy="852532"/>
            </a:xfrm>
          </p:grpSpPr>
          <p:grpSp>
            <p:nvGrpSpPr>
              <p:cNvPr id="64" name="Graphic 3">
                <a:extLst>
                  <a:ext uri="{FF2B5EF4-FFF2-40B4-BE49-F238E27FC236}">
                    <a16:creationId xmlns:a16="http://schemas.microsoft.com/office/drawing/2014/main" id="{290C883A-8E08-5D48-18F0-D0B2E2ABB5EF}"/>
                  </a:ext>
                </a:extLst>
              </p:cNvPr>
              <p:cNvGrpSpPr/>
              <p:nvPr/>
            </p:nvGrpSpPr>
            <p:grpSpPr>
              <a:xfrm>
                <a:off x="5483551" y="3005488"/>
                <a:ext cx="437641" cy="513347"/>
                <a:chOff x="5483551" y="3005488"/>
                <a:chExt cx="437641" cy="513347"/>
              </a:xfrm>
            </p:grpSpPr>
            <p:sp>
              <p:nvSpPr>
                <p:cNvPr id="68" name="Freeform: Shape 67">
                  <a:extLst>
                    <a:ext uri="{FF2B5EF4-FFF2-40B4-BE49-F238E27FC236}">
                      <a16:creationId xmlns:a16="http://schemas.microsoft.com/office/drawing/2014/main" id="{6DF82AB8-2289-ECA2-5C7D-002E30094859}"/>
                    </a:ext>
                  </a:extLst>
                </p:cNvPr>
                <p:cNvSpPr/>
                <p:nvPr/>
              </p:nvSpPr>
              <p:spPr>
                <a:xfrm>
                  <a:off x="5483551" y="3005488"/>
                  <a:ext cx="437641" cy="513347"/>
                </a:xfrm>
                <a:custGeom>
                  <a:avLst/>
                  <a:gdLst>
                    <a:gd name="connsiteX0" fmla="*/ 427637 w 437641"/>
                    <a:gd name="connsiteY0" fmla="*/ 395823 h 513347"/>
                    <a:gd name="connsiteX1" fmla="*/ 405570 w 437641"/>
                    <a:gd name="connsiteY1" fmla="*/ 373749 h 513347"/>
                    <a:gd name="connsiteX2" fmla="*/ 370027 w 437641"/>
                    <a:gd name="connsiteY2" fmla="*/ 342063 h 513347"/>
                    <a:gd name="connsiteX3" fmla="*/ 371567 w 437641"/>
                    <a:gd name="connsiteY3" fmla="*/ 338341 h 513347"/>
                    <a:gd name="connsiteX4" fmla="*/ 388886 w 437641"/>
                    <a:gd name="connsiteY4" fmla="*/ 262513 h 513347"/>
                    <a:gd name="connsiteX5" fmla="*/ 388886 w 437641"/>
                    <a:gd name="connsiteY5" fmla="*/ 79678 h 513347"/>
                    <a:gd name="connsiteX6" fmla="*/ 380166 w 437641"/>
                    <a:gd name="connsiteY6" fmla="*/ 76084 h 513347"/>
                    <a:gd name="connsiteX7" fmla="*/ 199769 w 437641"/>
                    <a:gd name="connsiteY7" fmla="*/ 2182 h 513347"/>
                    <a:gd name="connsiteX8" fmla="*/ 194379 w 437641"/>
                    <a:gd name="connsiteY8" fmla="*/ 0 h 513347"/>
                    <a:gd name="connsiteX9" fmla="*/ 188989 w 437641"/>
                    <a:gd name="connsiteY9" fmla="*/ 2182 h 513347"/>
                    <a:gd name="connsiteX10" fmla="*/ 8849 w 437641"/>
                    <a:gd name="connsiteY10" fmla="*/ 76084 h 513347"/>
                    <a:gd name="connsiteX11" fmla="*/ 0 w 437641"/>
                    <a:gd name="connsiteY11" fmla="*/ 79678 h 513347"/>
                    <a:gd name="connsiteX12" fmla="*/ 0 w 437641"/>
                    <a:gd name="connsiteY12" fmla="*/ 262641 h 513347"/>
                    <a:gd name="connsiteX13" fmla="*/ 183727 w 437641"/>
                    <a:gd name="connsiteY13" fmla="*/ 507829 h 513347"/>
                    <a:gd name="connsiteX14" fmla="*/ 187962 w 437641"/>
                    <a:gd name="connsiteY14" fmla="*/ 510011 h 513347"/>
                    <a:gd name="connsiteX15" fmla="*/ 194379 w 437641"/>
                    <a:gd name="connsiteY15" fmla="*/ 513347 h 513347"/>
                    <a:gd name="connsiteX16" fmla="*/ 200796 w 437641"/>
                    <a:gd name="connsiteY16" fmla="*/ 510011 h 513347"/>
                    <a:gd name="connsiteX17" fmla="*/ 205159 w 437641"/>
                    <a:gd name="connsiteY17" fmla="*/ 507829 h 513347"/>
                    <a:gd name="connsiteX18" fmla="*/ 298434 w 437641"/>
                    <a:gd name="connsiteY18" fmla="*/ 442910 h 513347"/>
                    <a:gd name="connsiteX19" fmla="*/ 316908 w 437641"/>
                    <a:gd name="connsiteY19" fmla="*/ 462667 h 513347"/>
                    <a:gd name="connsiteX20" fmla="*/ 338976 w 437641"/>
                    <a:gd name="connsiteY20" fmla="*/ 484735 h 513347"/>
                    <a:gd name="connsiteX21" fmla="*/ 348986 w 437641"/>
                    <a:gd name="connsiteY21" fmla="*/ 494745 h 513347"/>
                    <a:gd name="connsiteX22" fmla="*/ 358997 w 437641"/>
                    <a:gd name="connsiteY22" fmla="*/ 484735 h 513347"/>
                    <a:gd name="connsiteX23" fmla="*/ 427637 w 437641"/>
                    <a:gd name="connsiteY23" fmla="*/ 416094 h 513347"/>
                    <a:gd name="connsiteX24" fmla="*/ 437641 w 437641"/>
                    <a:gd name="connsiteY24" fmla="*/ 406083 h 513347"/>
                    <a:gd name="connsiteX25" fmla="*/ 427637 w 437641"/>
                    <a:gd name="connsiteY25" fmla="*/ 396080 h 513347"/>
                    <a:gd name="connsiteX26" fmla="*/ 427637 w 437641"/>
                    <a:gd name="connsiteY26" fmla="*/ 395823 h 5133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437641" h="513347">
                      <a:moveTo>
                        <a:pt x="427637" y="395823"/>
                      </a:moveTo>
                      <a:lnTo>
                        <a:pt x="405570" y="373749"/>
                      </a:lnTo>
                      <a:cubicBezTo>
                        <a:pt x="394790" y="362975"/>
                        <a:pt x="382861" y="352323"/>
                        <a:pt x="370027" y="342063"/>
                      </a:cubicBezTo>
                      <a:lnTo>
                        <a:pt x="371567" y="338341"/>
                      </a:lnTo>
                      <a:cubicBezTo>
                        <a:pt x="381577" y="313578"/>
                        <a:pt x="387346" y="288046"/>
                        <a:pt x="388886" y="262513"/>
                      </a:cubicBezTo>
                      <a:lnTo>
                        <a:pt x="388886" y="79678"/>
                      </a:lnTo>
                      <a:lnTo>
                        <a:pt x="380166" y="76084"/>
                      </a:lnTo>
                      <a:lnTo>
                        <a:pt x="199769" y="2182"/>
                      </a:lnTo>
                      <a:lnTo>
                        <a:pt x="194379" y="0"/>
                      </a:lnTo>
                      <a:lnTo>
                        <a:pt x="188989" y="2182"/>
                      </a:lnTo>
                      <a:lnTo>
                        <a:pt x="8849" y="76084"/>
                      </a:lnTo>
                      <a:lnTo>
                        <a:pt x="0" y="79678"/>
                      </a:lnTo>
                      <a:lnTo>
                        <a:pt x="0" y="262641"/>
                      </a:lnTo>
                      <a:cubicBezTo>
                        <a:pt x="5512" y="360280"/>
                        <a:pt x="74159" y="452015"/>
                        <a:pt x="183727" y="507829"/>
                      </a:cubicBezTo>
                      <a:lnTo>
                        <a:pt x="187962" y="510011"/>
                      </a:lnTo>
                      <a:lnTo>
                        <a:pt x="194379" y="513347"/>
                      </a:lnTo>
                      <a:lnTo>
                        <a:pt x="200796" y="510011"/>
                      </a:lnTo>
                      <a:lnTo>
                        <a:pt x="205159" y="507829"/>
                      </a:lnTo>
                      <a:cubicBezTo>
                        <a:pt x="240439" y="489868"/>
                        <a:pt x="271747" y="468057"/>
                        <a:pt x="298434" y="442910"/>
                      </a:cubicBezTo>
                      <a:cubicBezTo>
                        <a:pt x="304466" y="449833"/>
                        <a:pt x="310620" y="456507"/>
                        <a:pt x="316908" y="462667"/>
                      </a:cubicBezTo>
                      <a:lnTo>
                        <a:pt x="338976" y="484735"/>
                      </a:lnTo>
                      <a:lnTo>
                        <a:pt x="348986" y="494745"/>
                      </a:lnTo>
                      <a:lnTo>
                        <a:pt x="358997" y="484735"/>
                      </a:lnTo>
                      <a:lnTo>
                        <a:pt x="427637" y="416094"/>
                      </a:lnTo>
                      <a:lnTo>
                        <a:pt x="437641" y="406083"/>
                      </a:lnTo>
                      <a:lnTo>
                        <a:pt x="427637" y="396080"/>
                      </a:lnTo>
                      <a:lnTo>
                        <a:pt x="427637" y="39582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69" name="Freeform: Shape 68">
                  <a:extLst>
                    <a:ext uri="{FF2B5EF4-FFF2-40B4-BE49-F238E27FC236}">
                      <a16:creationId xmlns:a16="http://schemas.microsoft.com/office/drawing/2014/main" id="{ED896618-BE4B-77FE-EF37-4C967438B20E}"/>
                    </a:ext>
                  </a:extLst>
                </p:cNvPr>
                <p:cNvSpPr/>
                <p:nvPr/>
              </p:nvSpPr>
              <p:spPr>
                <a:xfrm>
                  <a:off x="5497790" y="3020888"/>
                  <a:ext cx="360408" cy="481782"/>
                </a:xfrm>
                <a:custGeom>
                  <a:avLst/>
                  <a:gdLst>
                    <a:gd name="connsiteX0" fmla="*/ 263283 w 360408"/>
                    <a:gd name="connsiteY0" fmla="*/ 401592 h 481782"/>
                    <a:gd name="connsiteX1" fmla="*/ 180268 w 360408"/>
                    <a:gd name="connsiteY1" fmla="*/ 460614 h 481782"/>
                    <a:gd name="connsiteX2" fmla="*/ 18987 w 360408"/>
                    <a:gd name="connsiteY2" fmla="*/ 245573 h 481782"/>
                    <a:gd name="connsiteX3" fmla="*/ 18987 w 360408"/>
                    <a:gd name="connsiteY3" fmla="*/ 86480 h 481782"/>
                    <a:gd name="connsiteX4" fmla="*/ 180140 w 360408"/>
                    <a:gd name="connsiteY4" fmla="*/ 20399 h 481782"/>
                    <a:gd name="connsiteX5" fmla="*/ 341421 w 360408"/>
                    <a:gd name="connsiteY5" fmla="*/ 86480 h 481782"/>
                    <a:gd name="connsiteX6" fmla="*/ 341421 w 360408"/>
                    <a:gd name="connsiteY6" fmla="*/ 245573 h 481782"/>
                    <a:gd name="connsiteX7" fmla="*/ 328202 w 360408"/>
                    <a:gd name="connsiteY7" fmla="*/ 306263 h 481782"/>
                    <a:gd name="connsiteX8" fmla="*/ 343603 w 360408"/>
                    <a:gd name="connsiteY8" fmla="*/ 317300 h 481782"/>
                    <a:gd name="connsiteX9" fmla="*/ 343859 w 360408"/>
                    <a:gd name="connsiteY9" fmla="*/ 317300 h 481782"/>
                    <a:gd name="connsiteX10" fmla="*/ 344116 w 360408"/>
                    <a:gd name="connsiteY10" fmla="*/ 317685 h 481782"/>
                    <a:gd name="connsiteX11" fmla="*/ 360408 w 360408"/>
                    <a:gd name="connsiteY11" fmla="*/ 246343 h 481782"/>
                    <a:gd name="connsiteX12" fmla="*/ 360408 w 360408"/>
                    <a:gd name="connsiteY12" fmla="*/ 73774 h 481782"/>
                    <a:gd name="connsiteX13" fmla="*/ 180140 w 360408"/>
                    <a:gd name="connsiteY13" fmla="*/ 0 h 481782"/>
                    <a:gd name="connsiteX14" fmla="*/ 0 w 360408"/>
                    <a:gd name="connsiteY14" fmla="*/ 73774 h 481782"/>
                    <a:gd name="connsiteX15" fmla="*/ 0 w 360408"/>
                    <a:gd name="connsiteY15" fmla="*/ 246343 h 481782"/>
                    <a:gd name="connsiteX16" fmla="*/ 175905 w 360408"/>
                    <a:gd name="connsiteY16" fmla="*/ 479601 h 481782"/>
                    <a:gd name="connsiteX17" fmla="*/ 180140 w 360408"/>
                    <a:gd name="connsiteY17" fmla="*/ 481783 h 481782"/>
                    <a:gd name="connsiteX18" fmla="*/ 184503 w 360408"/>
                    <a:gd name="connsiteY18" fmla="*/ 479601 h 481782"/>
                    <a:gd name="connsiteX19" fmla="*/ 274955 w 360408"/>
                    <a:gd name="connsiteY19" fmla="*/ 416479 h 481782"/>
                    <a:gd name="connsiteX20" fmla="*/ 263154 w 360408"/>
                    <a:gd name="connsiteY20" fmla="*/ 401592 h 481782"/>
                    <a:gd name="connsiteX21" fmla="*/ 263283 w 360408"/>
                    <a:gd name="connsiteY21" fmla="*/ 401592 h 4817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360408" h="481782">
                      <a:moveTo>
                        <a:pt x="263283" y="401592"/>
                      </a:moveTo>
                      <a:cubicBezTo>
                        <a:pt x="240060" y="423916"/>
                        <a:pt x="212089" y="443808"/>
                        <a:pt x="180268" y="460614"/>
                      </a:cubicBezTo>
                      <a:cubicBezTo>
                        <a:pt x="84041" y="410190"/>
                        <a:pt x="23864" y="329999"/>
                        <a:pt x="18987" y="245573"/>
                      </a:cubicBezTo>
                      <a:lnTo>
                        <a:pt x="18987" y="86480"/>
                      </a:lnTo>
                      <a:lnTo>
                        <a:pt x="180140" y="20399"/>
                      </a:lnTo>
                      <a:lnTo>
                        <a:pt x="341421" y="86480"/>
                      </a:lnTo>
                      <a:lnTo>
                        <a:pt x="341421" y="245573"/>
                      </a:lnTo>
                      <a:cubicBezTo>
                        <a:pt x="340266" y="266235"/>
                        <a:pt x="335774" y="286506"/>
                        <a:pt x="328202" y="306263"/>
                      </a:cubicBezTo>
                      <a:lnTo>
                        <a:pt x="343603" y="317300"/>
                      </a:lnTo>
                      <a:lnTo>
                        <a:pt x="343859" y="317300"/>
                      </a:lnTo>
                      <a:lnTo>
                        <a:pt x="344116" y="317685"/>
                      </a:lnTo>
                      <a:cubicBezTo>
                        <a:pt x="353478" y="294585"/>
                        <a:pt x="358997" y="270720"/>
                        <a:pt x="360408" y="246343"/>
                      </a:cubicBezTo>
                      <a:lnTo>
                        <a:pt x="360408" y="73774"/>
                      </a:lnTo>
                      <a:lnTo>
                        <a:pt x="180140" y="0"/>
                      </a:lnTo>
                      <a:lnTo>
                        <a:pt x="0" y="73774"/>
                      </a:lnTo>
                      <a:lnTo>
                        <a:pt x="0" y="246343"/>
                      </a:lnTo>
                      <a:cubicBezTo>
                        <a:pt x="5261" y="338982"/>
                        <a:pt x="70951" y="426098"/>
                        <a:pt x="175905" y="479601"/>
                      </a:cubicBezTo>
                      <a:lnTo>
                        <a:pt x="180140" y="481783"/>
                      </a:lnTo>
                      <a:lnTo>
                        <a:pt x="184503" y="479601"/>
                      </a:lnTo>
                      <a:cubicBezTo>
                        <a:pt x="219270" y="461897"/>
                        <a:pt x="249679" y="440471"/>
                        <a:pt x="274955" y="416479"/>
                      </a:cubicBezTo>
                      <a:cubicBezTo>
                        <a:pt x="270977" y="411602"/>
                        <a:pt x="267005" y="406725"/>
                        <a:pt x="263154" y="401592"/>
                      </a:cubicBezTo>
                      <a:lnTo>
                        <a:pt x="263283" y="401592"/>
                      </a:lnTo>
                      <a:close/>
                    </a:path>
                  </a:pathLst>
                </a:custGeom>
                <a:solidFill>
                  <a:srgbClr val="2C5A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70" name="Freeform: Shape 69">
                  <a:extLst>
                    <a:ext uri="{FF2B5EF4-FFF2-40B4-BE49-F238E27FC236}">
                      <a16:creationId xmlns:a16="http://schemas.microsoft.com/office/drawing/2014/main" id="{CC7708D4-B90F-18D7-909D-4883B3600881}"/>
                    </a:ext>
                  </a:extLst>
                </p:cNvPr>
                <p:cNvSpPr/>
                <p:nvPr/>
              </p:nvSpPr>
              <p:spPr>
                <a:xfrm>
                  <a:off x="5751961" y="3330867"/>
                  <a:ext cx="119712" cy="119706"/>
                </a:xfrm>
                <a:custGeom>
                  <a:avLst/>
                  <a:gdLst>
                    <a:gd name="connsiteX0" fmla="*/ 68904 w 119712"/>
                    <a:gd name="connsiteY0" fmla="*/ 35671 h 119706"/>
                    <a:gd name="connsiteX1" fmla="*/ 19372 w 119712"/>
                    <a:gd name="connsiteY1" fmla="*/ 0 h 119706"/>
                    <a:gd name="connsiteX2" fmla="*/ 10267 w 119712"/>
                    <a:gd name="connsiteY2" fmla="*/ 10267 h 119706"/>
                    <a:gd name="connsiteX3" fmla="*/ 0 w 119712"/>
                    <a:gd name="connsiteY3" fmla="*/ 19373 h 119706"/>
                    <a:gd name="connsiteX4" fmla="*/ 35799 w 119712"/>
                    <a:gd name="connsiteY4" fmla="*/ 69026 h 119706"/>
                    <a:gd name="connsiteX5" fmla="*/ 73261 w 119712"/>
                    <a:gd name="connsiteY5" fmla="*/ 112397 h 119706"/>
                    <a:gd name="connsiteX6" fmla="*/ 80576 w 119712"/>
                    <a:gd name="connsiteY6" fmla="*/ 119706 h 119706"/>
                    <a:gd name="connsiteX7" fmla="*/ 119713 w 119712"/>
                    <a:gd name="connsiteY7" fmla="*/ 80576 h 119706"/>
                    <a:gd name="connsiteX8" fmla="*/ 112397 w 119712"/>
                    <a:gd name="connsiteY8" fmla="*/ 73261 h 119706"/>
                    <a:gd name="connsiteX9" fmla="*/ 68904 w 119712"/>
                    <a:gd name="connsiteY9" fmla="*/ 35800 h 119706"/>
                    <a:gd name="connsiteX10" fmla="*/ 68904 w 119712"/>
                    <a:gd name="connsiteY10" fmla="*/ 35671 h 1197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19712" h="119706">
                      <a:moveTo>
                        <a:pt x="68904" y="35671"/>
                      </a:moveTo>
                      <a:lnTo>
                        <a:pt x="19372" y="0"/>
                      </a:lnTo>
                      <a:cubicBezTo>
                        <a:pt x="16556" y="3593"/>
                        <a:pt x="13604" y="6930"/>
                        <a:pt x="10267" y="10267"/>
                      </a:cubicBezTo>
                      <a:cubicBezTo>
                        <a:pt x="7058" y="13475"/>
                        <a:pt x="3593" y="16549"/>
                        <a:pt x="0" y="19373"/>
                      </a:cubicBezTo>
                      <a:lnTo>
                        <a:pt x="35799" y="69026"/>
                      </a:lnTo>
                      <a:cubicBezTo>
                        <a:pt x="47728" y="84940"/>
                        <a:pt x="60306" y="99564"/>
                        <a:pt x="73261" y="112397"/>
                      </a:cubicBezTo>
                      <a:lnTo>
                        <a:pt x="80576" y="119706"/>
                      </a:lnTo>
                      <a:lnTo>
                        <a:pt x="119713" y="80576"/>
                      </a:lnTo>
                      <a:lnTo>
                        <a:pt x="112397" y="73261"/>
                      </a:lnTo>
                      <a:cubicBezTo>
                        <a:pt x="99435" y="60306"/>
                        <a:pt x="84811" y="47728"/>
                        <a:pt x="68904" y="35800"/>
                      </a:cubicBezTo>
                      <a:lnTo>
                        <a:pt x="68904" y="3567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71" name="Freeform: Shape 70">
                  <a:extLst>
                    <a:ext uri="{FF2B5EF4-FFF2-40B4-BE49-F238E27FC236}">
                      <a16:creationId xmlns:a16="http://schemas.microsoft.com/office/drawing/2014/main" id="{1A675B7B-0C2A-9ADB-0FF7-81A187833E7C}"/>
                    </a:ext>
                  </a:extLst>
                </p:cNvPr>
                <p:cNvSpPr/>
                <p:nvPr/>
              </p:nvSpPr>
              <p:spPr>
                <a:xfrm>
                  <a:off x="5497790" y="3020888"/>
                  <a:ext cx="360408" cy="481782"/>
                </a:xfrm>
                <a:custGeom>
                  <a:avLst/>
                  <a:gdLst>
                    <a:gd name="connsiteX0" fmla="*/ 360408 w 360408"/>
                    <a:gd name="connsiteY0" fmla="*/ 73774 h 481782"/>
                    <a:gd name="connsiteX1" fmla="*/ 180140 w 360408"/>
                    <a:gd name="connsiteY1" fmla="*/ 0 h 481782"/>
                    <a:gd name="connsiteX2" fmla="*/ 0 w 360408"/>
                    <a:gd name="connsiteY2" fmla="*/ 73774 h 481782"/>
                    <a:gd name="connsiteX3" fmla="*/ 0 w 360408"/>
                    <a:gd name="connsiteY3" fmla="*/ 246343 h 481782"/>
                    <a:gd name="connsiteX4" fmla="*/ 175905 w 360408"/>
                    <a:gd name="connsiteY4" fmla="*/ 479601 h 481782"/>
                    <a:gd name="connsiteX5" fmla="*/ 180140 w 360408"/>
                    <a:gd name="connsiteY5" fmla="*/ 481783 h 481782"/>
                    <a:gd name="connsiteX6" fmla="*/ 184503 w 360408"/>
                    <a:gd name="connsiteY6" fmla="*/ 479601 h 481782"/>
                    <a:gd name="connsiteX7" fmla="*/ 274955 w 360408"/>
                    <a:gd name="connsiteY7" fmla="*/ 416479 h 481782"/>
                    <a:gd name="connsiteX8" fmla="*/ 263154 w 360408"/>
                    <a:gd name="connsiteY8" fmla="*/ 401592 h 481782"/>
                    <a:gd name="connsiteX9" fmla="*/ 180140 w 360408"/>
                    <a:gd name="connsiteY9" fmla="*/ 460614 h 481782"/>
                    <a:gd name="connsiteX10" fmla="*/ 18859 w 360408"/>
                    <a:gd name="connsiteY10" fmla="*/ 245573 h 481782"/>
                    <a:gd name="connsiteX11" fmla="*/ 18859 w 360408"/>
                    <a:gd name="connsiteY11" fmla="*/ 86480 h 481782"/>
                    <a:gd name="connsiteX12" fmla="*/ 180140 w 360408"/>
                    <a:gd name="connsiteY12" fmla="*/ 20399 h 481782"/>
                    <a:gd name="connsiteX13" fmla="*/ 341421 w 360408"/>
                    <a:gd name="connsiteY13" fmla="*/ 86480 h 481782"/>
                    <a:gd name="connsiteX14" fmla="*/ 341421 w 360408"/>
                    <a:gd name="connsiteY14" fmla="*/ 245573 h 481782"/>
                    <a:gd name="connsiteX15" fmla="*/ 328202 w 360408"/>
                    <a:gd name="connsiteY15" fmla="*/ 306263 h 481782"/>
                    <a:gd name="connsiteX16" fmla="*/ 343603 w 360408"/>
                    <a:gd name="connsiteY16" fmla="*/ 317300 h 481782"/>
                    <a:gd name="connsiteX17" fmla="*/ 343859 w 360408"/>
                    <a:gd name="connsiteY17" fmla="*/ 317300 h 481782"/>
                    <a:gd name="connsiteX18" fmla="*/ 344116 w 360408"/>
                    <a:gd name="connsiteY18" fmla="*/ 317685 h 481782"/>
                    <a:gd name="connsiteX19" fmla="*/ 360408 w 360408"/>
                    <a:gd name="connsiteY19" fmla="*/ 246343 h 481782"/>
                    <a:gd name="connsiteX20" fmla="*/ 360408 w 360408"/>
                    <a:gd name="connsiteY20" fmla="*/ 73774 h 4817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360408" h="481782">
                      <a:moveTo>
                        <a:pt x="360408" y="73774"/>
                      </a:moveTo>
                      <a:lnTo>
                        <a:pt x="180140" y="0"/>
                      </a:lnTo>
                      <a:lnTo>
                        <a:pt x="0" y="73774"/>
                      </a:lnTo>
                      <a:lnTo>
                        <a:pt x="0" y="246343"/>
                      </a:lnTo>
                      <a:cubicBezTo>
                        <a:pt x="5261" y="338982"/>
                        <a:pt x="70951" y="426098"/>
                        <a:pt x="175905" y="479601"/>
                      </a:cubicBezTo>
                      <a:lnTo>
                        <a:pt x="180140" y="481783"/>
                      </a:lnTo>
                      <a:lnTo>
                        <a:pt x="184503" y="479601"/>
                      </a:lnTo>
                      <a:cubicBezTo>
                        <a:pt x="219270" y="461897"/>
                        <a:pt x="249679" y="440471"/>
                        <a:pt x="274955" y="416479"/>
                      </a:cubicBezTo>
                      <a:cubicBezTo>
                        <a:pt x="270977" y="411602"/>
                        <a:pt x="267005" y="406725"/>
                        <a:pt x="263154" y="401592"/>
                      </a:cubicBezTo>
                      <a:cubicBezTo>
                        <a:pt x="239932" y="423916"/>
                        <a:pt x="211961" y="443808"/>
                        <a:pt x="180140" y="460614"/>
                      </a:cubicBezTo>
                      <a:cubicBezTo>
                        <a:pt x="83913" y="410190"/>
                        <a:pt x="23736" y="329999"/>
                        <a:pt x="18859" y="245573"/>
                      </a:cubicBezTo>
                      <a:lnTo>
                        <a:pt x="18859" y="86480"/>
                      </a:lnTo>
                      <a:lnTo>
                        <a:pt x="180140" y="20399"/>
                      </a:lnTo>
                      <a:lnTo>
                        <a:pt x="341421" y="86480"/>
                      </a:lnTo>
                      <a:lnTo>
                        <a:pt x="341421" y="245573"/>
                      </a:lnTo>
                      <a:cubicBezTo>
                        <a:pt x="340266" y="266235"/>
                        <a:pt x="335774" y="286506"/>
                        <a:pt x="328202" y="306263"/>
                      </a:cubicBezTo>
                      <a:lnTo>
                        <a:pt x="343603" y="317300"/>
                      </a:lnTo>
                      <a:lnTo>
                        <a:pt x="343859" y="317300"/>
                      </a:lnTo>
                      <a:lnTo>
                        <a:pt x="344116" y="317685"/>
                      </a:lnTo>
                      <a:cubicBezTo>
                        <a:pt x="353478" y="294585"/>
                        <a:pt x="358997" y="270720"/>
                        <a:pt x="360408" y="246343"/>
                      </a:cubicBezTo>
                      <a:lnTo>
                        <a:pt x="360408" y="73774"/>
                      </a:lnTo>
                      <a:close/>
                    </a:path>
                  </a:pathLst>
                </a:custGeom>
                <a:solidFill>
                  <a:srgbClr val="2C5A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72" name="Freeform: Shape 71">
                  <a:extLst>
                    <a:ext uri="{FF2B5EF4-FFF2-40B4-BE49-F238E27FC236}">
                      <a16:creationId xmlns:a16="http://schemas.microsoft.com/office/drawing/2014/main" id="{B0C1BA2C-9EA6-5B4D-BD08-B656A5C26426}"/>
                    </a:ext>
                  </a:extLst>
                </p:cNvPr>
                <p:cNvSpPr/>
                <p:nvPr/>
              </p:nvSpPr>
              <p:spPr>
                <a:xfrm>
                  <a:off x="5559664" y="3138442"/>
                  <a:ext cx="338690" cy="338690"/>
                </a:xfrm>
                <a:custGeom>
                  <a:avLst/>
                  <a:gdLst>
                    <a:gd name="connsiteX0" fmla="*/ 272360 w 338690"/>
                    <a:gd name="connsiteY0" fmla="*/ 212824 h 338690"/>
                    <a:gd name="connsiteX1" fmla="*/ 222193 w 338690"/>
                    <a:gd name="connsiteY1" fmla="*/ 176646 h 338690"/>
                    <a:gd name="connsiteX2" fmla="*/ 202564 w 338690"/>
                    <a:gd name="connsiteY2" fmla="*/ 34738 h 338690"/>
                    <a:gd name="connsiteX3" fmla="*/ 34738 w 338690"/>
                    <a:gd name="connsiteY3" fmla="*/ 34738 h 338690"/>
                    <a:gd name="connsiteX4" fmla="*/ 34738 w 338690"/>
                    <a:gd name="connsiteY4" fmla="*/ 202564 h 338690"/>
                    <a:gd name="connsiteX5" fmla="*/ 118651 w 338690"/>
                    <a:gd name="connsiteY5" fmla="*/ 237330 h 338690"/>
                    <a:gd name="connsiteX6" fmla="*/ 176646 w 338690"/>
                    <a:gd name="connsiteY6" fmla="*/ 222193 h 338690"/>
                    <a:gd name="connsiteX7" fmla="*/ 212824 w 338690"/>
                    <a:gd name="connsiteY7" fmla="*/ 272488 h 338690"/>
                    <a:gd name="connsiteX8" fmla="*/ 252089 w 338690"/>
                    <a:gd name="connsiteY8" fmla="*/ 318035 h 338690"/>
                    <a:gd name="connsiteX9" fmla="*/ 272745 w 338690"/>
                    <a:gd name="connsiteY9" fmla="*/ 338691 h 338690"/>
                    <a:gd name="connsiteX10" fmla="*/ 338691 w 338690"/>
                    <a:gd name="connsiteY10" fmla="*/ 272745 h 338690"/>
                    <a:gd name="connsiteX11" fmla="*/ 318035 w 338690"/>
                    <a:gd name="connsiteY11" fmla="*/ 252089 h 338690"/>
                    <a:gd name="connsiteX12" fmla="*/ 272360 w 338690"/>
                    <a:gd name="connsiteY12" fmla="*/ 212696 h 338690"/>
                    <a:gd name="connsiteX13" fmla="*/ 272360 w 338690"/>
                    <a:gd name="connsiteY13" fmla="*/ 212824 h 338690"/>
                    <a:gd name="connsiteX14" fmla="*/ 48085 w 338690"/>
                    <a:gd name="connsiteY14" fmla="*/ 189345 h 338690"/>
                    <a:gd name="connsiteX15" fmla="*/ 48085 w 338690"/>
                    <a:gd name="connsiteY15" fmla="*/ 48213 h 338690"/>
                    <a:gd name="connsiteX16" fmla="*/ 118651 w 338690"/>
                    <a:gd name="connsiteY16" fmla="*/ 19087 h 338690"/>
                    <a:gd name="connsiteX17" fmla="*/ 189217 w 338690"/>
                    <a:gd name="connsiteY17" fmla="*/ 48213 h 338690"/>
                    <a:gd name="connsiteX18" fmla="*/ 189217 w 338690"/>
                    <a:gd name="connsiteY18" fmla="*/ 189345 h 338690"/>
                    <a:gd name="connsiteX19" fmla="*/ 48085 w 338690"/>
                    <a:gd name="connsiteY19" fmla="*/ 189345 h 338690"/>
                    <a:gd name="connsiteX20" fmla="*/ 272745 w 338690"/>
                    <a:gd name="connsiteY20" fmla="*/ 312131 h 338690"/>
                    <a:gd name="connsiteX21" fmla="*/ 265429 w 338690"/>
                    <a:gd name="connsiteY21" fmla="*/ 304822 h 338690"/>
                    <a:gd name="connsiteX22" fmla="*/ 227968 w 338690"/>
                    <a:gd name="connsiteY22" fmla="*/ 261451 h 338690"/>
                    <a:gd name="connsiteX23" fmla="*/ 192168 w 338690"/>
                    <a:gd name="connsiteY23" fmla="*/ 211798 h 338690"/>
                    <a:gd name="connsiteX24" fmla="*/ 202436 w 338690"/>
                    <a:gd name="connsiteY24" fmla="*/ 202692 h 338690"/>
                    <a:gd name="connsiteX25" fmla="*/ 211541 w 338690"/>
                    <a:gd name="connsiteY25" fmla="*/ 192425 h 338690"/>
                    <a:gd name="connsiteX26" fmla="*/ 261066 w 338690"/>
                    <a:gd name="connsiteY26" fmla="*/ 228096 h 338690"/>
                    <a:gd name="connsiteX27" fmla="*/ 304566 w 338690"/>
                    <a:gd name="connsiteY27" fmla="*/ 265558 h 338690"/>
                    <a:gd name="connsiteX28" fmla="*/ 311875 w 338690"/>
                    <a:gd name="connsiteY28" fmla="*/ 272873 h 338690"/>
                    <a:gd name="connsiteX29" fmla="*/ 272745 w 338690"/>
                    <a:gd name="connsiteY29" fmla="*/ 312003 h 338690"/>
                    <a:gd name="connsiteX30" fmla="*/ 272745 w 338690"/>
                    <a:gd name="connsiteY30" fmla="*/ 312131 h 3386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338690" h="338690">
                      <a:moveTo>
                        <a:pt x="272360" y="212824"/>
                      </a:moveTo>
                      <a:lnTo>
                        <a:pt x="222193" y="176646"/>
                      </a:lnTo>
                      <a:cubicBezTo>
                        <a:pt x="247469" y="131478"/>
                        <a:pt x="240924" y="73104"/>
                        <a:pt x="202564" y="34738"/>
                      </a:cubicBezTo>
                      <a:cubicBezTo>
                        <a:pt x="156241" y="-11579"/>
                        <a:pt x="80926" y="-11579"/>
                        <a:pt x="34738" y="34738"/>
                      </a:cubicBezTo>
                      <a:cubicBezTo>
                        <a:pt x="-11579" y="81054"/>
                        <a:pt x="-11579" y="156369"/>
                        <a:pt x="34738" y="202564"/>
                      </a:cubicBezTo>
                      <a:cubicBezTo>
                        <a:pt x="57832" y="225658"/>
                        <a:pt x="88241" y="237330"/>
                        <a:pt x="118651" y="237330"/>
                      </a:cubicBezTo>
                      <a:cubicBezTo>
                        <a:pt x="138665" y="237330"/>
                        <a:pt x="158679" y="232325"/>
                        <a:pt x="176646" y="222193"/>
                      </a:cubicBezTo>
                      <a:lnTo>
                        <a:pt x="212824" y="272488"/>
                      </a:lnTo>
                      <a:cubicBezTo>
                        <a:pt x="225401" y="289165"/>
                        <a:pt x="238614" y="304566"/>
                        <a:pt x="252089" y="318035"/>
                      </a:cubicBezTo>
                      <a:lnTo>
                        <a:pt x="272745" y="338691"/>
                      </a:lnTo>
                      <a:lnTo>
                        <a:pt x="338691" y="272745"/>
                      </a:lnTo>
                      <a:lnTo>
                        <a:pt x="318035" y="252089"/>
                      </a:lnTo>
                      <a:cubicBezTo>
                        <a:pt x="304438" y="238613"/>
                        <a:pt x="289166" y="225401"/>
                        <a:pt x="272360" y="212696"/>
                      </a:cubicBezTo>
                      <a:lnTo>
                        <a:pt x="272360" y="212824"/>
                      </a:lnTo>
                      <a:close/>
                      <a:moveTo>
                        <a:pt x="48085" y="189345"/>
                      </a:moveTo>
                      <a:cubicBezTo>
                        <a:pt x="9205" y="150472"/>
                        <a:pt x="9205" y="87086"/>
                        <a:pt x="48085" y="48213"/>
                      </a:cubicBezTo>
                      <a:cubicBezTo>
                        <a:pt x="67586" y="28706"/>
                        <a:pt x="93118" y="19087"/>
                        <a:pt x="118651" y="19087"/>
                      </a:cubicBezTo>
                      <a:cubicBezTo>
                        <a:pt x="144184" y="19087"/>
                        <a:pt x="169716" y="28834"/>
                        <a:pt x="189217" y="48213"/>
                      </a:cubicBezTo>
                      <a:cubicBezTo>
                        <a:pt x="228096" y="87086"/>
                        <a:pt x="228096" y="150343"/>
                        <a:pt x="189217" y="189345"/>
                      </a:cubicBezTo>
                      <a:cubicBezTo>
                        <a:pt x="150343" y="228225"/>
                        <a:pt x="87086" y="228225"/>
                        <a:pt x="48085" y="189345"/>
                      </a:cubicBezTo>
                      <a:close/>
                      <a:moveTo>
                        <a:pt x="272745" y="312131"/>
                      </a:moveTo>
                      <a:lnTo>
                        <a:pt x="265429" y="304822"/>
                      </a:lnTo>
                      <a:cubicBezTo>
                        <a:pt x="252474" y="291989"/>
                        <a:pt x="239897" y="277236"/>
                        <a:pt x="227968" y="261451"/>
                      </a:cubicBezTo>
                      <a:lnTo>
                        <a:pt x="192168" y="211798"/>
                      </a:lnTo>
                      <a:cubicBezTo>
                        <a:pt x="195762" y="208974"/>
                        <a:pt x="199099" y="206022"/>
                        <a:pt x="202436" y="202692"/>
                      </a:cubicBezTo>
                      <a:cubicBezTo>
                        <a:pt x="205644" y="199484"/>
                        <a:pt x="208717" y="196018"/>
                        <a:pt x="211541" y="192425"/>
                      </a:cubicBezTo>
                      <a:lnTo>
                        <a:pt x="261066" y="228096"/>
                      </a:lnTo>
                      <a:cubicBezTo>
                        <a:pt x="277108" y="240025"/>
                        <a:pt x="291732" y="252731"/>
                        <a:pt x="304566" y="265558"/>
                      </a:cubicBezTo>
                      <a:lnTo>
                        <a:pt x="311875" y="272873"/>
                      </a:lnTo>
                      <a:lnTo>
                        <a:pt x="272745" y="312003"/>
                      </a:lnTo>
                      <a:lnTo>
                        <a:pt x="272745" y="312131"/>
                      </a:lnTo>
                      <a:close/>
                    </a:path>
                  </a:pathLst>
                </a:custGeom>
                <a:solidFill>
                  <a:srgbClr val="2C5A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73" name="Freeform: Shape 72">
                  <a:extLst>
                    <a:ext uri="{FF2B5EF4-FFF2-40B4-BE49-F238E27FC236}">
                      <a16:creationId xmlns:a16="http://schemas.microsoft.com/office/drawing/2014/main" id="{B67D8EF0-DBDD-D819-B132-90679990B5E9}"/>
                    </a:ext>
                  </a:extLst>
                </p:cNvPr>
                <p:cNvSpPr/>
                <p:nvPr/>
              </p:nvSpPr>
              <p:spPr>
                <a:xfrm>
                  <a:off x="5619036" y="3198199"/>
                  <a:ext cx="116504" cy="89688"/>
                </a:xfrm>
                <a:custGeom>
                  <a:avLst/>
                  <a:gdLst>
                    <a:gd name="connsiteX0" fmla="*/ 116504 w 116504"/>
                    <a:gd name="connsiteY0" fmla="*/ 13475 h 89688"/>
                    <a:gd name="connsiteX1" fmla="*/ 103157 w 116504"/>
                    <a:gd name="connsiteY1" fmla="*/ 0 h 89688"/>
                    <a:gd name="connsiteX2" fmla="*/ 39265 w 116504"/>
                    <a:gd name="connsiteY2" fmla="*/ 63001 h 89688"/>
                    <a:gd name="connsiteX3" fmla="*/ 13347 w 116504"/>
                    <a:gd name="connsiteY3" fmla="*/ 37211 h 89688"/>
                    <a:gd name="connsiteX4" fmla="*/ 0 w 116504"/>
                    <a:gd name="connsiteY4" fmla="*/ 50552 h 89688"/>
                    <a:gd name="connsiteX5" fmla="*/ 39136 w 116504"/>
                    <a:gd name="connsiteY5" fmla="*/ 89688 h 89688"/>
                    <a:gd name="connsiteX6" fmla="*/ 116504 w 116504"/>
                    <a:gd name="connsiteY6" fmla="*/ 13475 h 896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6504" h="89688">
                      <a:moveTo>
                        <a:pt x="116504" y="13475"/>
                      </a:moveTo>
                      <a:lnTo>
                        <a:pt x="103157" y="0"/>
                      </a:lnTo>
                      <a:lnTo>
                        <a:pt x="39265" y="63001"/>
                      </a:lnTo>
                      <a:lnTo>
                        <a:pt x="13347" y="37211"/>
                      </a:lnTo>
                      <a:lnTo>
                        <a:pt x="0" y="50552"/>
                      </a:lnTo>
                      <a:lnTo>
                        <a:pt x="39136" y="89688"/>
                      </a:lnTo>
                      <a:lnTo>
                        <a:pt x="116504" y="13475"/>
                      </a:lnTo>
                      <a:close/>
                    </a:path>
                  </a:pathLst>
                </a:custGeom>
                <a:solidFill>
                  <a:srgbClr val="2C5A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74" name="Freeform: Shape 73">
                  <a:extLst>
                    <a:ext uri="{FF2B5EF4-FFF2-40B4-BE49-F238E27FC236}">
                      <a16:creationId xmlns:a16="http://schemas.microsoft.com/office/drawing/2014/main" id="{AB182AD9-7A70-BE4A-BE70-7464EC79302D}"/>
                    </a:ext>
                  </a:extLst>
                </p:cNvPr>
                <p:cNvSpPr/>
                <p:nvPr/>
              </p:nvSpPr>
              <p:spPr>
                <a:xfrm>
                  <a:off x="5595813" y="3220779"/>
                  <a:ext cx="162307" cy="114065"/>
                </a:xfrm>
                <a:custGeom>
                  <a:avLst/>
                  <a:gdLst>
                    <a:gd name="connsiteX0" fmla="*/ 148961 w 162307"/>
                    <a:gd name="connsiteY0" fmla="*/ 0 h 114065"/>
                    <a:gd name="connsiteX1" fmla="*/ 62231 w 162307"/>
                    <a:gd name="connsiteY1" fmla="*/ 87121 h 114065"/>
                    <a:gd name="connsiteX2" fmla="*/ 13475 w 162307"/>
                    <a:gd name="connsiteY2" fmla="*/ 37981 h 114065"/>
                    <a:gd name="connsiteX3" fmla="*/ 0 w 162307"/>
                    <a:gd name="connsiteY3" fmla="*/ 51194 h 114065"/>
                    <a:gd name="connsiteX4" fmla="*/ 62102 w 162307"/>
                    <a:gd name="connsiteY4" fmla="*/ 114066 h 114065"/>
                    <a:gd name="connsiteX5" fmla="*/ 162307 w 162307"/>
                    <a:gd name="connsiteY5" fmla="*/ 13347 h 114065"/>
                    <a:gd name="connsiteX6" fmla="*/ 148961 w 162307"/>
                    <a:gd name="connsiteY6" fmla="*/ 0 h 1140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2307" h="114065">
                      <a:moveTo>
                        <a:pt x="148961" y="0"/>
                      </a:moveTo>
                      <a:lnTo>
                        <a:pt x="62231" y="87121"/>
                      </a:lnTo>
                      <a:lnTo>
                        <a:pt x="13475" y="37981"/>
                      </a:lnTo>
                      <a:lnTo>
                        <a:pt x="0" y="51194"/>
                      </a:lnTo>
                      <a:lnTo>
                        <a:pt x="62102" y="114066"/>
                      </a:lnTo>
                      <a:lnTo>
                        <a:pt x="162307" y="13347"/>
                      </a:lnTo>
                      <a:lnTo>
                        <a:pt x="148961" y="0"/>
                      </a:lnTo>
                      <a:close/>
                    </a:path>
                  </a:pathLst>
                </a:custGeom>
                <a:solidFill>
                  <a:srgbClr val="2C5A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</p:grpSp>
          <p:grpSp>
            <p:nvGrpSpPr>
              <p:cNvPr id="65" name="Graphic 3">
                <a:extLst>
                  <a:ext uri="{FF2B5EF4-FFF2-40B4-BE49-F238E27FC236}">
                    <a16:creationId xmlns:a16="http://schemas.microsoft.com/office/drawing/2014/main" id="{9C0FAB3F-7EED-4BC5-C016-E755BDC3AC7D}"/>
                  </a:ext>
                </a:extLst>
              </p:cNvPr>
              <p:cNvGrpSpPr/>
              <p:nvPr/>
            </p:nvGrpSpPr>
            <p:grpSpPr>
              <a:xfrm>
                <a:off x="5323219" y="3478351"/>
                <a:ext cx="969624" cy="379669"/>
                <a:chOff x="5323219" y="3478351"/>
                <a:chExt cx="969624" cy="379669"/>
              </a:xfrm>
              <a:solidFill>
                <a:srgbClr val="000000"/>
              </a:solidFill>
            </p:grpSpPr>
            <p:sp>
              <p:nvSpPr>
                <p:cNvPr id="66" name="TextBox 65">
                  <a:extLst>
                    <a:ext uri="{FF2B5EF4-FFF2-40B4-BE49-F238E27FC236}">
                      <a16:creationId xmlns:a16="http://schemas.microsoft.com/office/drawing/2014/main" id="{8F85E3D2-B36F-A57B-058C-49179EC1D099}"/>
                    </a:ext>
                  </a:extLst>
                </p:cNvPr>
                <p:cNvSpPr txBox="1"/>
                <p:nvPr/>
              </p:nvSpPr>
              <p:spPr>
                <a:xfrm>
                  <a:off x="5323219" y="3478351"/>
                  <a:ext cx="969624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l"/>
                  <a:r>
                    <a:rPr lang="en-US" sz="1200" spc="0" baseline="0">
                      <a:solidFill>
                        <a:srgbClr val="000000"/>
                      </a:solidFill>
                      <a:latin typeface="Oracle Sans"/>
                      <a:cs typeface="Oracle Sans"/>
                      <a:sym typeface="Oracle Sans"/>
                      <a:rtl val="0"/>
                    </a:rPr>
                    <a:t>Vulnerability</a:t>
                  </a:r>
                </a:p>
              </p:txBody>
            </p:sp>
            <p:sp>
              <p:nvSpPr>
                <p:cNvPr id="67" name="TextBox 66">
                  <a:extLst>
                    <a:ext uri="{FF2B5EF4-FFF2-40B4-BE49-F238E27FC236}">
                      <a16:creationId xmlns:a16="http://schemas.microsoft.com/office/drawing/2014/main" id="{5FD4A252-0511-0E62-0049-96EAE2E293C4}"/>
                    </a:ext>
                  </a:extLst>
                </p:cNvPr>
                <p:cNvSpPr txBox="1"/>
                <p:nvPr/>
              </p:nvSpPr>
              <p:spPr>
                <a:xfrm>
                  <a:off x="5397565" y="3581021"/>
                  <a:ext cx="741229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l"/>
                  <a:r>
                    <a:rPr lang="en-US" sz="1200" spc="0" baseline="0" dirty="0">
                      <a:solidFill>
                        <a:srgbClr val="000000"/>
                      </a:solidFill>
                      <a:latin typeface="Oracle Sans"/>
                      <a:cs typeface="Oracle Sans"/>
                      <a:sym typeface="Oracle Sans"/>
                      <a:rtl val="0"/>
                    </a:rPr>
                    <a:t>Scanning</a:t>
                  </a:r>
                </a:p>
              </p:txBody>
            </p:sp>
          </p:grpSp>
        </p:grpSp>
      </p:grpSp>
      <p:grpSp>
        <p:nvGrpSpPr>
          <p:cNvPr id="331" name="Group 330">
            <a:extLst>
              <a:ext uri="{FF2B5EF4-FFF2-40B4-BE49-F238E27FC236}">
                <a16:creationId xmlns:a16="http://schemas.microsoft.com/office/drawing/2014/main" id="{5D8B002A-689E-9894-0166-C16E9135CF47}"/>
              </a:ext>
            </a:extLst>
          </p:cNvPr>
          <p:cNvGrpSpPr/>
          <p:nvPr/>
        </p:nvGrpSpPr>
        <p:grpSpPr>
          <a:xfrm>
            <a:off x="815871" y="2196821"/>
            <a:ext cx="8873020" cy="935096"/>
            <a:chOff x="420953" y="2190341"/>
            <a:chExt cx="8873020" cy="935096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1D2B8ABB-4048-EB69-EB66-046AEC4EFC6D}"/>
                </a:ext>
              </a:extLst>
            </p:cNvPr>
            <p:cNvSpPr txBox="1"/>
            <p:nvPr/>
          </p:nvSpPr>
          <p:spPr>
            <a:xfrm>
              <a:off x="420953" y="2488109"/>
              <a:ext cx="2806262" cy="3258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 defTabSz="228600">
                <a:spcAft>
                  <a:spcPts val="1200"/>
                </a:spcAft>
              </a:pPr>
              <a:r>
                <a:rPr lang="de-CH" b="1" noProof="0" dirty="0"/>
                <a:t>Data </a:t>
              </a:r>
              <a:r>
                <a:rPr lang="de-CH" b="1" noProof="0" dirty="0" err="1"/>
                <a:t>Protection</a:t>
              </a:r>
              <a:endParaRPr lang="de-CH" b="1" noProof="0" dirty="0"/>
            </a:p>
          </p:txBody>
        </p:sp>
        <p:grpSp>
          <p:nvGrpSpPr>
            <p:cNvPr id="89" name="Graphic 3">
              <a:extLst>
                <a:ext uri="{FF2B5EF4-FFF2-40B4-BE49-F238E27FC236}">
                  <a16:creationId xmlns:a16="http://schemas.microsoft.com/office/drawing/2014/main" id="{4E5C08BD-1C06-D05C-E51D-34ADF9BD74C5}"/>
                </a:ext>
              </a:extLst>
            </p:cNvPr>
            <p:cNvGrpSpPr/>
            <p:nvPr/>
          </p:nvGrpSpPr>
          <p:grpSpPr>
            <a:xfrm>
              <a:off x="5531593" y="2190921"/>
              <a:ext cx="1021946" cy="934516"/>
              <a:chOff x="911490" y="4391526"/>
              <a:chExt cx="1021946" cy="934516"/>
            </a:xfrm>
          </p:grpSpPr>
          <p:grpSp>
            <p:nvGrpSpPr>
              <p:cNvPr id="90" name="Graphic 3">
                <a:extLst>
                  <a:ext uri="{FF2B5EF4-FFF2-40B4-BE49-F238E27FC236}">
                    <a16:creationId xmlns:a16="http://schemas.microsoft.com/office/drawing/2014/main" id="{645AD49B-59CE-03F0-EEA9-B4E7953FD584}"/>
                  </a:ext>
                </a:extLst>
              </p:cNvPr>
              <p:cNvGrpSpPr/>
              <p:nvPr/>
            </p:nvGrpSpPr>
            <p:grpSpPr>
              <a:xfrm>
                <a:off x="1195663" y="4391526"/>
                <a:ext cx="394995" cy="513347"/>
                <a:chOff x="1195663" y="4391526"/>
                <a:chExt cx="394995" cy="513347"/>
              </a:xfrm>
            </p:grpSpPr>
            <p:grpSp>
              <p:nvGrpSpPr>
                <p:cNvPr id="94" name="Graphic 3">
                  <a:extLst>
                    <a:ext uri="{FF2B5EF4-FFF2-40B4-BE49-F238E27FC236}">
                      <a16:creationId xmlns:a16="http://schemas.microsoft.com/office/drawing/2014/main" id="{618E3B4E-FE8A-1270-4E94-74C1AD461593}"/>
                    </a:ext>
                  </a:extLst>
                </p:cNvPr>
                <p:cNvGrpSpPr/>
                <p:nvPr/>
              </p:nvGrpSpPr>
              <p:grpSpPr>
                <a:xfrm>
                  <a:off x="1195663" y="4391526"/>
                  <a:ext cx="394995" cy="513347"/>
                  <a:chOff x="1195663" y="4391526"/>
                  <a:chExt cx="394995" cy="513347"/>
                </a:xfrm>
                <a:solidFill>
                  <a:srgbClr val="FFFFFF"/>
                </a:solidFill>
              </p:grpSpPr>
              <p:sp>
                <p:nvSpPr>
                  <p:cNvPr id="98" name="Freeform: Shape 97">
                    <a:extLst>
                      <a:ext uri="{FF2B5EF4-FFF2-40B4-BE49-F238E27FC236}">
                        <a16:creationId xmlns:a16="http://schemas.microsoft.com/office/drawing/2014/main" id="{AF927806-9C1D-8CF5-65F7-413A30F41EA5}"/>
                      </a:ext>
                    </a:extLst>
                  </p:cNvPr>
                  <p:cNvSpPr/>
                  <p:nvPr/>
                </p:nvSpPr>
                <p:spPr>
                  <a:xfrm>
                    <a:off x="1201746" y="4397609"/>
                    <a:ext cx="380364" cy="498780"/>
                  </a:xfrm>
                  <a:custGeom>
                    <a:avLst/>
                    <a:gdLst>
                      <a:gd name="connsiteX0" fmla="*/ 184086 w 380364"/>
                      <a:gd name="connsiteY0" fmla="*/ 496355 h 498780"/>
                      <a:gd name="connsiteX1" fmla="*/ 0 w 380364"/>
                      <a:gd name="connsiteY1" fmla="*/ 259709 h 498780"/>
                      <a:gd name="connsiteX2" fmla="*/ 0 w 380364"/>
                      <a:gd name="connsiteY2" fmla="*/ 81308 h 498780"/>
                      <a:gd name="connsiteX3" fmla="*/ 190182 w 380364"/>
                      <a:gd name="connsiteY3" fmla="*/ 0 h 498780"/>
                      <a:gd name="connsiteX4" fmla="*/ 380365 w 380364"/>
                      <a:gd name="connsiteY4" fmla="*/ 81308 h 498780"/>
                      <a:gd name="connsiteX5" fmla="*/ 380365 w 380364"/>
                      <a:gd name="connsiteY5" fmla="*/ 258490 h 498780"/>
                      <a:gd name="connsiteX6" fmla="*/ 196278 w 380364"/>
                      <a:gd name="connsiteY6" fmla="*/ 495143 h 498780"/>
                      <a:gd name="connsiteX7" fmla="*/ 190182 w 380364"/>
                      <a:gd name="connsiteY7" fmla="*/ 498781 h 498780"/>
                      <a:gd name="connsiteX8" fmla="*/ 184086 w 380364"/>
                      <a:gd name="connsiteY8" fmla="*/ 496355 h 4987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380364" h="498780">
                        <a:moveTo>
                          <a:pt x="184086" y="496355"/>
                        </a:moveTo>
                        <a:cubicBezTo>
                          <a:pt x="71933" y="440529"/>
                          <a:pt x="4877" y="354364"/>
                          <a:pt x="0" y="259709"/>
                        </a:cubicBezTo>
                        <a:lnTo>
                          <a:pt x="0" y="81308"/>
                        </a:lnTo>
                        <a:lnTo>
                          <a:pt x="190182" y="0"/>
                        </a:lnTo>
                        <a:lnTo>
                          <a:pt x="380365" y="81308"/>
                        </a:lnTo>
                        <a:lnTo>
                          <a:pt x="380365" y="258490"/>
                        </a:lnTo>
                        <a:cubicBezTo>
                          <a:pt x="374269" y="354364"/>
                          <a:pt x="308438" y="440529"/>
                          <a:pt x="196278" y="495143"/>
                        </a:cubicBezTo>
                        <a:lnTo>
                          <a:pt x="190182" y="498781"/>
                        </a:lnTo>
                        <a:lnTo>
                          <a:pt x="184086" y="49635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99" name="Freeform: Shape 98">
                    <a:extLst>
                      <a:ext uri="{FF2B5EF4-FFF2-40B4-BE49-F238E27FC236}">
                        <a16:creationId xmlns:a16="http://schemas.microsoft.com/office/drawing/2014/main" id="{C6AB893C-7CD2-289E-C9B9-102560B5A4DF}"/>
                      </a:ext>
                    </a:extLst>
                  </p:cNvPr>
                  <p:cNvSpPr/>
                  <p:nvPr/>
                </p:nvSpPr>
                <p:spPr>
                  <a:xfrm>
                    <a:off x="1195663" y="4391526"/>
                    <a:ext cx="394995" cy="513347"/>
                  </a:xfrm>
                  <a:custGeom>
                    <a:avLst/>
                    <a:gdLst>
                      <a:gd name="connsiteX0" fmla="*/ 196278 w 394995"/>
                      <a:gd name="connsiteY0" fmla="*/ 13347 h 513347"/>
                      <a:gd name="connsiteX1" fmla="*/ 380365 w 394995"/>
                      <a:gd name="connsiteY1" fmla="*/ 92236 h 513347"/>
                      <a:gd name="connsiteX2" fmla="*/ 380365 w 394995"/>
                      <a:gd name="connsiteY2" fmla="*/ 264560 h 513347"/>
                      <a:gd name="connsiteX3" fmla="*/ 199936 w 394995"/>
                      <a:gd name="connsiteY3" fmla="*/ 496355 h 513347"/>
                      <a:gd name="connsiteX4" fmla="*/ 196278 w 394995"/>
                      <a:gd name="connsiteY4" fmla="*/ 498781 h 513347"/>
                      <a:gd name="connsiteX5" fmla="*/ 192621 w 394995"/>
                      <a:gd name="connsiteY5" fmla="*/ 496355 h 513347"/>
                      <a:gd name="connsiteX6" fmla="*/ 12192 w 394995"/>
                      <a:gd name="connsiteY6" fmla="*/ 264560 h 513347"/>
                      <a:gd name="connsiteX7" fmla="*/ 12192 w 394995"/>
                      <a:gd name="connsiteY7" fmla="*/ 92236 h 513347"/>
                      <a:gd name="connsiteX8" fmla="*/ 196278 w 394995"/>
                      <a:gd name="connsiteY8" fmla="*/ 13347 h 513347"/>
                      <a:gd name="connsiteX9" fmla="*/ 196278 w 394995"/>
                      <a:gd name="connsiteY9" fmla="*/ 0 h 513347"/>
                      <a:gd name="connsiteX10" fmla="*/ 191402 w 394995"/>
                      <a:gd name="connsiteY10" fmla="*/ 2426 h 513347"/>
                      <a:gd name="connsiteX11" fmla="*/ 7315 w 394995"/>
                      <a:gd name="connsiteY11" fmla="*/ 81308 h 513347"/>
                      <a:gd name="connsiteX12" fmla="*/ 0 w 394995"/>
                      <a:gd name="connsiteY12" fmla="*/ 83740 h 513347"/>
                      <a:gd name="connsiteX13" fmla="*/ 0 w 394995"/>
                      <a:gd name="connsiteY13" fmla="*/ 92236 h 513347"/>
                      <a:gd name="connsiteX14" fmla="*/ 0 w 394995"/>
                      <a:gd name="connsiteY14" fmla="*/ 264560 h 513347"/>
                      <a:gd name="connsiteX15" fmla="*/ 0 w 394995"/>
                      <a:gd name="connsiteY15" fmla="*/ 265773 h 513347"/>
                      <a:gd name="connsiteX16" fmla="*/ 187744 w 394995"/>
                      <a:gd name="connsiteY16" fmla="*/ 508490 h 513347"/>
                      <a:gd name="connsiteX17" fmla="*/ 191402 w 394995"/>
                      <a:gd name="connsiteY17" fmla="*/ 510922 h 513347"/>
                      <a:gd name="connsiteX18" fmla="*/ 197498 w 394995"/>
                      <a:gd name="connsiteY18" fmla="*/ 513347 h 513347"/>
                      <a:gd name="connsiteX19" fmla="*/ 203594 w 394995"/>
                      <a:gd name="connsiteY19" fmla="*/ 510922 h 513347"/>
                      <a:gd name="connsiteX20" fmla="*/ 207251 w 394995"/>
                      <a:gd name="connsiteY20" fmla="*/ 508490 h 513347"/>
                      <a:gd name="connsiteX21" fmla="*/ 394995 w 394995"/>
                      <a:gd name="connsiteY21" fmla="*/ 266992 h 513347"/>
                      <a:gd name="connsiteX22" fmla="*/ 394995 w 394995"/>
                      <a:gd name="connsiteY22" fmla="*/ 92236 h 513347"/>
                      <a:gd name="connsiteX23" fmla="*/ 394995 w 394995"/>
                      <a:gd name="connsiteY23" fmla="*/ 83740 h 513347"/>
                      <a:gd name="connsiteX24" fmla="*/ 387680 w 394995"/>
                      <a:gd name="connsiteY24" fmla="*/ 80095 h 513347"/>
                      <a:gd name="connsiteX25" fmla="*/ 201155 w 394995"/>
                      <a:gd name="connsiteY25" fmla="*/ 2426 h 513347"/>
                      <a:gd name="connsiteX26" fmla="*/ 196278 w 394995"/>
                      <a:gd name="connsiteY26" fmla="*/ 0 h 5133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</a:cxnLst>
                    <a:rect l="l" t="t" r="r" b="b"/>
                    <a:pathLst>
                      <a:path w="394995" h="513347">
                        <a:moveTo>
                          <a:pt x="196278" y="13347"/>
                        </a:moveTo>
                        <a:lnTo>
                          <a:pt x="380365" y="92236"/>
                        </a:lnTo>
                        <a:lnTo>
                          <a:pt x="380365" y="264560"/>
                        </a:lnTo>
                        <a:cubicBezTo>
                          <a:pt x="375488" y="356796"/>
                          <a:pt x="309658" y="441748"/>
                          <a:pt x="199936" y="496355"/>
                        </a:cubicBezTo>
                        <a:lnTo>
                          <a:pt x="196278" y="498781"/>
                        </a:lnTo>
                        <a:lnTo>
                          <a:pt x="192621" y="496355"/>
                        </a:lnTo>
                        <a:cubicBezTo>
                          <a:pt x="82906" y="441748"/>
                          <a:pt x="17069" y="358008"/>
                          <a:pt x="12192" y="264560"/>
                        </a:cubicBezTo>
                        <a:lnTo>
                          <a:pt x="12192" y="92236"/>
                        </a:lnTo>
                        <a:lnTo>
                          <a:pt x="196278" y="13347"/>
                        </a:lnTo>
                        <a:close/>
                        <a:moveTo>
                          <a:pt x="196278" y="0"/>
                        </a:moveTo>
                        <a:lnTo>
                          <a:pt x="191402" y="2426"/>
                        </a:lnTo>
                        <a:lnTo>
                          <a:pt x="7315" y="81308"/>
                        </a:lnTo>
                        <a:lnTo>
                          <a:pt x="0" y="83740"/>
                        </a:lnTo>
                        <a:lnTo>
                          <a:pt x="0" y="92236"/>
                        </a:lnTo>
                        <a:lnTo>
                          <a:pt x="0" y="264560"/>
                        </a:lnTo>
                        <a:lnTo>
                          <a:pt x="0" y="265773"/>
                        </a:lnTo>
                        <a:cubicBezTo>
                          <a:pt x="6096" y="362859"/>
                          <a:pt x="74371" y="451457"/>
                          <a:pt x="187744" y="508490"/>
                        </a:cubicBezTo>
                        <a:lnTo>
                          <a:pt x="191402" y="510922"/>
                        </a:lnTo>
                        <a:lnTo>
                          <a:pt x="197498" y="513347"/>
                        </a:lnTo>
                        <a:lnTo>
                          <a:pt x="203594" y="510922"/>
                        </a:lnTo>
                        <a:lnTo>
                          <a:pt x="207251" y="508490"/>
                        </a:lnTo>
                        <a:cubicBezTo>
                          <a:pt x="320630" y="451457"/>
                          <a:pt x="388899" y="364079"/>
                          <a:pt x="394995" y="266992"/>
                        </a:cubicBezTo>
                        <a:lnTo>
                          <a:pt x="394995" y="92236"/>
                        </a:lnTo>
                        <a:lnTo>
                          <a:pt x="394995" y="83740"/>
                        </a:lnTo>
                        <a:lnTo>
                          <a:pt x="387680" y="80095"/>
                        </a:lnTo>
                        <a:lnTo>
                          <a:pt x="201155" y="2426"/>
                        </a:lnTo>
                        <a:lnTo>
                          <a:pt x="196278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  <p:grpSp>
              <p:nvGrpSpPr>
                <p:cNvPr id="95" name="Graphic 3">
                  <a:extLst>
                    <a:ext uri="{FF2B5EF4-FFF2-40B4-BE49-F238E27FC236}">
                      <a16:creationId xmlns:a16="http://schemas.microsoft.com/office/drawing/2014/main" id="{78521CA5-DA04-B455-71E1-000F62DBB683}"/>
                    </a:ext>
                  </a:extLst>
                </p:cNvPr>
                <p:cNvGrpSpPr/>
                <p:nvPr/>
              </p:nvGrpSpPr>
              <p:grpSpPr>
                <a:xfrm>
                  <a:off x="1207848" y="4404873"/>
                  <a:ext cx="368172" cy="485434"/>
                  <a:chOff x="1207848" y="4404873"/>
                  <a:chExt cx="368172" cy="485434"/>
                </a:xfrm>
                <a:solidFill>
                  <a:srgbClr val="2D5967"/>
                </a:solidFill>
              </p:grpSpPr>
              <p:sp>
                <p:nvSpPr>
                  <p:cNvPr id="96" name="Freeform: Shape 95">
                    <a:extLst>
                      <a:ext uri="{FF2B5EF4-FFF2-40B4-BE49-F238E27FC236}">
                        <a16:creationId xmlns:a16="http://schemas.microsoft.com/office/drawing/2014/main" id="{33A7B10E-43E6-0263-D04C-8355A6D4E630}"/>
                      </a:ext>
                    </a:extLst>
                  </p:cNvPr>
                  <p:cNvSpPr/>
                  <p:nvPr/>
                </p:nvSpPr>
                <p:spPr>
                  <a:xfrm>
                    <a:off x="1207848" y="4404873"/>
                    <a:ext cx="368172" cy="485434"/>
                  </a:xfrm>
                  <a:custGeom>
                    <a:avLst/>
                    <a:gdLst>
                      <a:gd name="connsiteX0" fmla="*/ 184086 w 368172"/>
                      <a:gd name="connsiteY0" fmla="*/ 0 h 485434"/>
                      <a:gd name="connsiteX1" fmla="*/ 0 w 368172"/>
                      <a:gd name="connsiteY1" fmla="*/ 78882 h 485434"/>
                      <a:gd name="connsiteX2" fmla="*/ 0 w 368172"/>
                      <a:gd name="connsiteY2" fmla="*/ 251213 h 485434"/>
                      <a:gd name="connsiteX3" fmla="*/ 180429 w 368172"/>
                      <a:gd name="connsiteY3" fmla="*/ 483009 h 485434"/>
                      <a:gd name="connsiteX4" fmla="*/ 184086 w 368172"/>
                      <a:gd name="connsiteY4" fmla="*/ 485434 h 485434"/>
                      <a:gd name="connsiteX5" fmla="*/ 187744 w 368172"/>
                      <a:gd name="connsiteY5" fmla="*/ 483009 h 485434"/>
                      <a:gd name="connsiteX6" fmla="*/ 368173 w 368172"/>
                      <a:gd name="connsiteY6" fmla="*/ 251213 h 485434"/>
                      <a:gd name="connsiteX7" fmla="*/ 368173 w 368172"/>
                      <a:gd name="connsiteY7" fmla="*/ 78882 h 485434"/>
                      <a:gd name="connsiteX8" fmla="*/ 184086 w 368172"/>
                      <a:gd name="connsiteY8" fmla="*/ 0 h 485434"/>
                      <a:gd name="connsiteX9" fmla="*/ 351104 w 368172"/>
                      <a:gd name="connsiteY9" fmla="*/ 251213 h 485434"/>
                      <a:gd name="connsiteX10" fmla="*/ 185306 w 368172"/>
                      <a:gd name="connsiteY10" fmla="*/ 466017 h 485434"/>
                      <a:gd name="connsiteX11" fmla="*/ 18288 w 368172"/>
                      <a:gd name="connsiteY11" fmla="*/ 251213 h 485434"/>
                      <a:gd name="connsiteX12" fmla="*/ 18288 w 368172"/>
                      <a:gd name="connsiteY12" fmla="*/ 89804 h 485434"/>
                      <a:gd name="connsiteX13" fmla="*/ 184086 w 368172"/>
                      <a:gd name="connsiteY13" fmla="*/ 19417 h 485434"/>
                      <a:gd name="connsiteX14" fmla="*/ 349885 w 368172"/>
                      <a:gd name="connsiteY14" fmla="*/ 89804 h 485434"/>
                      <a:gd name="connsiteX15" fmla="*/ 351104 w 368172"/>
                      <a:gd name="connsiteY15" fmla="*/ 251213 h 4854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368172" h="485434">
                        <a:moveTo>
                          <a:pt x="184086" y="0"/>
                        </a:moveTo>
                        <a:lnTo>
                          <a:pt x="0" y="78882"/>
                        </a:lnTo>
                        <a:lnTo>
                          <a:pt x="0" y="251213"/>
                        </a:lnTo>
                        <a:cubicBezTo>
                          <a:pt x="4877" y="343442"/>
                          <a:pt x="70714" y="428395"/>
                          <a:pt x="180429" y="483009"/>
                        </a:cubicBezTo>
                        <a:lnTo>
                          <a:pt x="184086" y="485434"/>
                        </a:lnTo>
                        <a:lnTo>
                          <a:pt x="187744" y="483009"/>
                        </a:lnTo>
                        <a:cubicBezTo>
                          <a:pt x="297466" y="428395"/>
                          <a:pt x="363296" y="343442"/>
                          <a:pt x="368173" y="251213"/>
                        </a:cubicBezTo>
                        <a:lnTo>
                          <a:pt x="368173" y="78882"/>
                        </a:lnTo>
                        <a:lnTo>
                          <a:pt x="184086" y="0"/>
                        </a:lnTo>
                        <a:close/>
                        <a:moveTo>
                          <a:pt x="351104" y="251213"/>
                        </a:moveTo>
                        <a:cubicBezTo>
                          <a:pt x="346227" y="336166"/>
                          <a:pt x="285274" y="413835"/>
                          <a:pt x="185306" y="466017"/>
                        </a:cubicBezTo>
                        <a:cubicBezTo>
                          <a:pt x="82899" y="413835"/>
                          <a:pt x="23165" y="336166"/>
                          <a:pt x="18288" y="251213"/>
                        </a:cubicBezTo>
                        <a:lnTo>
                          <a:pt x="18288" y="89804"/>
                        </a:lnTo>
                        <a:lnTo>
                          <a:pt x="184086" y="19417"/>
                        </a:lnTo>
                        <a:lnTo>
                          <a:pt x="349885" y="89804"/>
                        </a:lnTo>
                        <a:cubicBezTo>
                          <a:pt x="351104" y="89804"/>
                          <a:pt x="351104" y="251213"/>
                          <a:pt x="351104" y="251213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97" name="Freeform: Shape 96">
                    <a:extLst>
                      <a:ext uri="{FF2B5EF4-FFF2-40B4-BE49-F238E27FC236}">
                        <a16:creationId xmlns:a16="http://schemas.microsoft.com/office/drawing/2014/main" id="{5C0D09D9-0BC2-7CA1-524A-2B90BC3F3ED6}"/>
                      </a:ext>
                    </a:extLst>
                  </p:cNvPr>
                  <p:cNvSpPr/>
                  <p:nvPr/>
                </p:nvSpPr>
                <p:spPr>
                  <a:xfrm>
                    <a:off x="1295650" y="4592989"/>
                    <a:ext cx="193839" cy="84952"/>
                  </a:xfrm>
                  <a:custGeom>
                    <a:avLst/>
                    <a:gdLst>
                      <a:gd name="connsiteX0" fmla="*/ 41453 w 193839"/>
                      <a:gd name="connsiteY0" fmla="*/ 0 h 84952"/>
                      <a:gd name="connsiteX1" fmla="*/ 0 w 193839"/>
                      <a:gd name="connsiteY1" fmla="*/ 41260 h 84952"/>
                      <a:gd name="connsiteX2" fmla="*/ 41453 w 193839"/>
                      <a:gd name="connsiteY2" fmla="*/ 82521 h 84952"/>
                      <a:gd name="connsiteX3" fmla="*/ 81680 w 193839"/>
                      <a:gd name="connsiteY3" fmla="*/ 50969 h 84952"/>
                      <a:gd name="connsiteX4" fmla="*/ 136544 w 193839"/>
                      <a:gd name="connsiteY4" fmla="*/ 50969 h 84952"/>
                      <a:gd name="connsiteX5" fmla="*/ 136544 w 193839"/>
                      <a:gd name="connsiteY5" fmla="*/ 82521 h 84952"/>
                      <a:gd name="connsiteX6" fmla="*/ 154826 w 193839"/>
                      <a:gd name="connsiteY6" fmla="*/ 82521 h 84952"/>
                      <a:gd name="connsiteX7" fmla="*/ 154826 w 193839"/>
                      <a:gd name="connsiteY7" fmla="*/ 50969 h 84952"/>
                      <a:gd name="connsiteX8" fmla="*/ 175552 w 193839"/>
                      <a:gd name="connsiteY8" fmla="*/ 50969 h 84952"/>
                      <a:gd name="connsiteX9" fmla="*/ 175552 w 193839"/>
                      <a:gd name="connsiteY9" fmla="*/ 84953 h 84952"/>
                      <a:gd name="connsiteX10" fmla="*/ 193840 w 193839"/>
                      <a:gd name="connsiteY10" fmla="*/ 84953 h 84952"/>
                      <a:gd name="connsiteX11" fmla="*/ 193840 w 193839"/>
                      <a:gd name="connsiteY11" fmla="*/ 33977 h 84952"/>
                      <a:gd name="connsiteX12" fmla="*/ 82899 w 193839"/>
                      <a:gd name="connsiteY12" fmla="*/ 33977 h 84952"/>
                      <a:gd name="connsiteX13" fmla="*/ 41453 w 193839"/>
                      <a:gd name="connsiteY13" fmla="*/ 0 h 84952"/>
                      <a:gd name="connsiteX14" fmla="*/ 41453 w 193839"/>
                      <a:gd name="connsiteY14" fmla="*/ 65535 h 84952"/>
                      <a:gd name="connsiteX15" fmla="*/ 18288 w 193839"/>
                      <a:gd name="connsiteY15" fmla="*/ 42473 h 84952"/>
                      <a:gd name="connsiteX16" fmla="*/ 41453 w 193839"/>
                      <a:gd name="connsiteY16" fmla="*/ 19417 h 84952"/>
                      <a:gd name="connsiteX17" fmla="*/ 64611 w 193839"/>
                      <a:gd name="connsiteY17" fmla="*/ 42473 h 84952"/>
                      <a:gd name="connsiteX18" fmla="*/ 41453 w 193839"/>
                      <a:gd name="connsiteY18" fmla="*/ 65535 h 849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193839" h="84952">
                        <a:moveTo>
                          <a:pt x="41453" y="0"/>
                        </a:moveTo>
                        <a:cubicBezTo>
                          <a:pt x="18288" y="0"/>
                          <a:pt x="0" y="18205"/>
                          <a:pt x="0" y="41260"/>
                        </a:cubicBezTo>
                        <a:cubicBezTo>
                          <a:pt x="0" y="64316"/>
                          <a:pt x="18288" y="82521"/>
                          <a:pt x="41453" y="82521"/>
                        </a:cubicBezTo>
                        <a:cubicBezTo>
                          <a:pt x="60954" y="82521"/>
                          <a:pt x="76803" y="69174"/>
                          <a:pt x="81680" y="50969"/>
                        </a:cubicBezTo>
                        <a:lnTo>
                          <a:pt x="136544" y="50969"/>
                        </a:lnTo>
                        <a:lnTo>
                          <a:pt x="136544" y="82521"/>
                        </a:lnTo>
                        <a:lnTo>
                          <a:pt x="154826" y="82521"/>
                        </a:lnTo>
                        <a:lnTo>
                          <a:pt x="154826" y="50969"/>
                        </a:lnTo>
                        <a:lnTo>
                          <a:pt x="175552" y="50969"/>
                        </a:lnTo>
                        <a:lnTo>
                          <a:pt x="175552" y="84953"/>
                        </a:lnTo>
                        <a:lnTo>
                          <a:pt x="193840" y="84953"/>
                        </a:lnTo>
                        <a:lnTo>
                          <a:pt x="193840" y="33977"/>
                        </a:lnTo>
                        <a:lnTo>
                          <a:pt x="82899" y="33977"/>
                        </a:lnTo>
                        <a:cubicBezTo>
                          <a:pt x="78022" y="14560"/>
                          <a:pt x="62173" y="0"/>
                          <a:pt x="41453" y="0"/>
                        </a:cubicBezTo>
                        <a:close/>
                        <a:moveTo>
                          <a:pt x="41453" y="65535"/>
                        </a:moveTo>
                        <a:cubicBezTo>
                          <a:pt x="28042" y="65535"/>
                          <a:pt x="18288" y="54607"/>
                          <a:pt x="18288" y="42473"/>
                        </a:cubicBezTo>
                        <a:cubicBezTo>
                          <a:pt x="18288" y="30339"/>
                          <a:pt x="29261" y="19417"/>
                          <a:pt x="41453" y="19417"/>
                        </a:cubicBezTo>
                        <a:cubicBezTo>
                          <a:pt x="53638" y="19417"/>
                          <a:pt x="64611" y="30339"/>
                          <a:pt x="64611" y="42473"/>
                        </a:cubicBezTo>
                        <a:cubicBezTo>
                          <a:pt x="64611" y="54607"/>
                          <a:pt x="54858" y="65535"/>
                          <a:pt x="41453" y="65535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</p:grpSp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B0AE9B33-6874-40EA-7424-523C656F70EE}"/>
                  </a:ext>
                </a:extLst>
              </p:cNvPr>
              <p:cNvSpPr txBox="1"/>
              <p:nvPr/>
            </p:nvSpPr>
            <p:spPr>
              <a:xfrm>
                <a:off x="911490" y="4864377"/>
                <a:ext cx="1021946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Vault Secrets</a:t>
                </a:r>
              </a:p>
              <a:p>
                <a:pPr algn="ctr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Management</a:t>
                </a:r>
              </a:p>
            </p:txBody>
          </p:sp>
        </p:grpSp>
        <p:grpSp>
          <p:nvGrpSpPr>
            <p:cNvPr id="100" name="Graphic 2">
              <a:extLst>
                <a:ext uri="{FF2B5EF4-FFF2-40B4-BE49-F238E27FC236}">
                  <a16:creationId xmlns:a16="http://schemas.microsoft.com/office/drawing/2014/main" id="{A20E2168-5BCD-6448-29C6-6BB1F34FEBDC}"/>
                </a:ext>
              </a:extLst>
            </p:cNvPr>
            <p:cNvGrpSpPr/>
            <p:nvPr/>
          </p:nvGrpSpPr>
          <p:grpSpPr>
            <a:xfrm>
              <a:off x="7217312" y="2328561"/>
              <a:ext cx="772969" cy="745583"/>
              <a:chOff x="2212206" y="2316748"/>
              <a:chExt cx="772969" cy="745583"/>
            </a:xfrm>
          </p:grpSpPr>
          <p:grpSp>
            <p:nvGrpSpPr>
              <p:cNvPr id="101" name="Graphic 2">
                <a:extLst>
                  <a:ext uri="{FF2B5EF4-FFF2-40B4-BE49-F238E27FC236}">
                    <a16:creationId xmlns:a16="http://schemas.microsoft.com/office/drawing/2014/main" id="{859E5C3B-AF5C-DCD6-9454-36E070BD6EB0}"/>
                  </a:ext>
                </a:extLst>
              </p:cNvPr>
              <p:cNvGrpSpPr/>
              <p:nvPr/>
            </p:nvGrpSpPr>
            <p:grpSpPr>
              <a:xfrm>
                <a:off x="2268353" y="2316748"/>
                <a:ext cx="513400" cy="509067"/>
                <a:chOff x="2268353" y="2316748"/>
                <a:chExt cx="513400" cy="509067"/>
              </a:xfrm>
            </p:grpSpPr>
            <p:grpSp>
              <p:nvGrpSpPr>
                <p:cNvPr id="103" name="Graphic 2">
                  <a:extLst>
                    <a:ext uri="{FF2B5EF4-FFF2-40B4-BE49-F238E27FC236}">
                      <a16:creationId xmlns:a16="http://schemas.microsoft.com/office/drawing/2014/main" id="{823B0AF5-327F-8E57-80AD-AD34C4D0A285}"/>
                    </a:ext>
                  </a:extLst>
                </p:cNvPr>
                <p:cNvGrpSpPr/>
                <p:nvPr/>
              </p:nvGrpSpPr>
              <p:grpSpPr>
                <a:xfrm>
                  <a:off x="2268353" y="2316748"/>
                  <a:ext cx="513400" cy="509067"/>
                  <a:chOff x="2268353" y="2316748"/>
                  <a:chExt cx="513400" cy="509067"/>
                </a:xfrm>
                <a:solidFill>
                  <a:srgbClr val="FFFFFF"/>
                </a:solidFill>
              </p:grpSpPr>
              <p:sp>
                <p:nvSpPr>
                  <p:cNvPr id="109" name="Freeform: Shape 108">
                    <a:extLst>
                      <a:ext uri="{FF2B5EF4-FFF2-40B4-BE49-F238E27FC236}">
                        <a16:creationId xmlns:a16="http://schemas.microsoft.com/office/drawing/2014/main" id="{F9211709-1DDE-424D-4494-047FE150F35A}"/>
                      </a:ext>
                    </a:extLst>
                  </p:cNvPr>
                  <p:cNvSpPr/>
                  <p:nvPr/>
                </p:nvSpPr>
                <p:spPr>
                  <a:xfrm>
                    <a:off x="2274424" y="2322819"/>
                    <a:ext cx="501759" cy="498139"/>
                  </a:xfrm>
                  <a:custGeom>
                    <a:avLst/>
                    <a:gdLst>
                      <a:gd name="connsiteX0" fmla="*/ 361647 w 501759"/>
                      <a:gd name="connsiteY0" fmla="*/ 495708 h 498139"/>
                      <a:gd name="connsiteX1" fmla="*/ 305820 w 501759"/>
                      <a:gd name="connsiteY1" fmla="*/ 444681 h 498139"/>
                      <a:gd name="connsiteX2" fmla="*/ 302182 w 501759"/>
                      <a:gd name="connsiteY2" fmla="*/ 444681 h 498139"/>
                      <a:gd name="connsiteX3" fmla="*/ 303395 w 501759"/>
                      <a:gd name="connsiteY3" fmla="*/ 445894 h 498139"/>
                      <a:gd name="connsiteX4" fmla="*/ 293686 w 501759"/>
                      <a:gd name="connsiteY4" fmla="*/ 445894 h 498139"/>
                      <a:gd name="connsiteX5" fmla="*/ 248781 w 501759"/>
                      <a:gd name="connsiteY5" fmla="*/ 448326 h 498139"/>
                      <a:gd name="connsiteX6" fmla="*/ 247568 w 501759"/>
                      <a:gd name="connsiteY6" fmla="*/ 448326 h 498139"/>
                      <a:gd name="connsiteX7" fmla="*/ 202669 w 501759"/>
                      <a:gd name="connsiteY7" fmla="*/ 445894 h 498139"/>
                      <a:gd name="connsiteX8" fmla="*/ 194174 w 501759"/>
                      <a:gd name="connsiteY8" fmla="*/ 444681 h 498139"/>
                      <a:gd name="connsiteX9" fmla="*/ 121355 w 501759"/>
                      <a:gd name="connsiteY9" fmla="*/ 404582 h 498139"/>
                      <a:gd name="connsiteX10" fmla="*/ 120142 w 501759"/>
                      <a:gd name="connsiteY10" fmla="*/ 340189 h 498139"/>
                      <a:gd name="connsiteX11" fmla="*/ 120142 w 501759"/>
                      <a:gd name="connsiteY11" fmla="*/ 338976 h 498139"/>
                      <a:gd name="connsiteX12" fmla="*/ 120142 w 501759"/>
                      <a:gd name="connsiteY12" fmla="*/ 256359 h 498139"/>
                      <a:gd name="connsiteX13" fmla="*/ 0 w 501759"/>
                      <a:gd name="connsiteY13" fmla="*/ 256359 h 498139"/>
                      <a:gd name="connsiteX14" fmla="*/ 1213 w 501759"/>
                      <a:gd name="connsiteY14" fmla="*/ 238135 h 498139"/>
                      <a:gd name="connsiteX15" fmla="*/ 66748 w 501759"/>
                      <a:gd name="connsiteY15" fmla="*/ 139720 h 498139"/>
                      <a:gd name="connsiteX16" fmla="*/ 82520 w 501759"/>
                      <a:gd name="connsiteY16" fmla="*/ 119071 h 498139"/>
                      <a:gd name="connsiteX17" fmla="*/ 135921 w 501759"/>
                      <a:gd name="connsiteY17" fmla="*/ 52246 h 498139"/>
                      <a:gd name="connsiteX18" fmla="*/ 173543 w 501759"/>
                      <a:gd name="connsiteY18" fmla="*/ 44956 h 498139"/>
                      <a:gd name="connsiteX19" fmla="*/ 182033 w 501759"/>
                      <a:gd name="connsiteY19" fmla="*/ 44956 h 498139"/>
                      <a:gd name="connsiteX20" fmla="*/ 184465 w 501759"/>
                      <a:gd name="connsiteY20" fmla="*/ 44956 h 498139"/>
                      <a:gd name="connsiteX21" fmla="*/ 205095 w 501759"/>
                      <a:gd name="connsiteY21" fmla="*/ 36448 h 498139"/>
                      <a:gd name="connsiteX22" fmla="*/ 288828 w 501759"/>
                      <a:gd name="connsiteY22" fmla="*/ 0 h 498139"/>
                      <a:gd name="connsiteX23" fmla="*/ 390773 w 501759"/>
                      <a:gd name="connsiteY23" fmla="*/ 63180 h 498139"/>
                      <a:gd name="connsiteX24" fmla="*/ 411403 w 501759"/>
                      <a:gd name="connsiteY24" fmla="*/ 78972 h 498139"/>
                      <a:gd name="connsiteX25" fmla="*/ 447812 w 501759"/>
                      <a:gd name="connsiteY25" fmla="*/ 93551 h 498139"/>
                      <a:gd name="connsiteX26" fmla="*/ 487860 w 501759"/>
                      <a:gd name="connsiteY26" fmla="*/ 246638 h 498139"/>
                      <a:gd name="connsiteX27" fmla="*/ 483008 w 501759"/>
                      <a:gd name="connsiteY27" fmla="*/ 255146 h 498139"/>
                      <a:gd name="connsiteX28" fmla="*/ 376207 w 501759"/>
                      <a:gd name="connsiteY28" fmla="*/ 255146 h 498139"/>
                      <a:gd name="connsiteX29" fmla="*/ 376207 w 501759"/>
                      <a:gd name="connsiteY29" fmla="*/ 258791 h 498139"/>
                      <a:gd name="connsiteX30" fmla="*/ 405333 w 501759"/>
                      <a:gd name="connsiteY30" fmla="*/ 269726 h 498139"/>
                      <a:gd name="connsiteX31" fmla="*/ 428395 w 501759"/>
                      <a:gd name="connsiteY31" fmla="*/ 317108 h 498139"/>
                      <a:gd name="connsiteX32" fmla="*/ 428395 w 501759"/>
                      <a:gd name="connsiteY32" fmla="*/ 329255 h 498139"/>
                      <a:gd name="connsiteX33" fmla="*/ 445387 w 501759"/>
                      <a:gd name="connsiteY33" fmla="*/ 336544 h 498139"/>
                      <a:gd name="connsiteX34" fmla="*/ 445387 w 501759"/>
                      <a:gd name="connsiteY34" fmla="*/ 404582 h 498139"/>
                      <a:gd name="connsiteX35" fmla="*/ 377426 w 501759"/>
                      <a:gd name="connsiteY35" fmla="*/ 494495 h 498139"/>
                      <a:gd name="connsiteX36" fmla="*/ 370143 w 501759"/>
                      <a:gd name="connsiteY36" fmla="*/ 498140 h 498139"/>
                      <a:gd name="connsiteX37" fmla="*/ 361647 w 501759"/>
                      <a:gd name="connsiteY37" fmla="*/ 495708 h 49813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</a:cxnLst>
                    <a:rect l="l" t="t" r="r" b="b"/>
                    <a:pathLst>
                      <a:path w="501759" h="498139">
                        <a:moveTo>
                          <a:pt x="361647" y="495708"/>
                        </a:moveTo>
                        <a:cubicBezTo>
                          <a:pt x="336159" y="483554"/>
                          <a:pt x="316742" y="465330"/>
                          <a:pt x="305820" y="444681"/>
                        </a:cubicBezTo>
                        <a:cubicBezTo>
                          <a:pt x="304607" y="444681"/>
                          <a:pt x="303395" y="444681"/>
                          <a:pt x="302182" y="444681"/>
                        </a:cubicBezTo>
                        <a:lnTo>
                          <a:pt x="303395" y="445894"/>
                        </a:lnTo>
                        <a:lnTo>
                          <a:pt x="293686" y="445894"/>
                        </a:lnTo>
                        <a:cubicBezTo>
                          <a:pt x="271843" y="448326"/>
                          <a:pt x="253638" y="448326"/>
                          <a:pt x="248781" y="448326"/>
                        </a:cubicBezTo>
                        <a:lnTo>
                          <a:pt x="247568" y="448326"/>
                        </a:lnTo>
                        <a:cubicBezTo>
                          <a:pt x="242717" y="448326"/>
                          <a:pt x="223300" y="448326"/>
                          <a:pt x="202669" y="445894"/>
                        </a:cubicBezTo>
                        <a:lnTo>
                          <a:pt x="194174" y="444681"/>
                        </a:lnTo>
                        <a:cubicBezTo>
                          <a:pt x="145630" y="438604"/>
                          <a:pt x="121355" y="425238"/>
                          <a:pt x="121355" y="404582"/>
                        </a:cubicBezTo>
                        <a:lnTo>
                          <a:pt x="120142" y="340189"/>
                        </a:lnTo>
                        <a:lnTo>
                          <a:pt x="120142" y="338976"/>
                        </a:lnTo>
                        <a:lnTo>
                          <a:pt x="120142" y="256359"/>
                        </a:lnTo>
                        <a:lnTo>
                          <a:pt x="0" y="256359"/>
                        </a:lnTo>
                        <a:lnTo>
                          <a:pt x="1213" y="238135"/>
                        </a:lnTo>
                        <a:cubicBezTo>
                          <a:pt x="4851" y="196824"/>
                          <a:pt x="29126" y="159163"/>
                          <a:pt x="66748" y="139720"/>
                        </a:cubicBezTo>
                        <a:cubicBezTo>
                          <a:pt x="75237" y="136076"/>
                          <a:pt x="80095" y="127573"/>
                          <a:pt x="82520" y="119071"/>
                        </a:cubicBezTo>
                        <a:cubicBezTo>
                          <a:pt x="88591" y="88694"/>
                          <a:pt x="108008" y="64393"/>
                          <a:pt x="135921" y="52246"/>
                        </a:cubicBezTo>
                        <a:cubicBezTo>
                          <a:pt x="148056" y="47388"/>
                          <a:pt x="160190" y="44956"/>
                          <a:pt x="173543" y="44956"/>
                        </a:cubicBezTo>
                        <a:cubicBezTo>
                          <a:pt x="175969" y="44956"/>
                          <a:pt x="179607" y="44956"/>
                          <a:pt x="182033" y="44956"/>
                        </a:cubicBezTo>
                        <a:cubicBezTo>
                          <a:pt x="183252" y="44956"/>
                          <a:pt x="184465" y="44956"/>
                          <a:pt x="184465" y="44956"/>
                        </a:cubicBezTo>
                        <a:cubicBezTo>
                          <a:pt x="192961" y="44956"/>
                          <a:pt x="200237" y="41312"/>
                          <a:pt x="205095" y="36448"/>
                        </a:cubicBezTo>
                        <a:cubicBezTo>
                          <a:pt x="226938" y="13366"/>
                          <a:pt x="257277" y="0"/>
                          <a:pt x="288828" y="0"/>
                        </a:cubicBezTo>
                        <a:cubicBezTo>
                          <a:pt x="332521" y="0"/>
                          <a:pt x="371355" y="24301"/>
                          <a:pt x="390773" y="63180"/>
                        </a:cubicBezTo>
                        <a:cubicBezTo>
                          <a:pt x="394411" y="71682"/>
                          <a:pt x="402907" y="76546"/>
                          <a:pt x="411403" y="78972"/>
                        </a:cubicBezTo>
                        <a:cubicBezTo>
                          <a:pt x="424756" y="81404"/>
                          <a:pt x="436891" y="87481"/>
                          <a:pt x="447812" y="93551"/>
                        </a:cubicBezTo>
                        <a:cubicBezTo>
                          <a:pt x="498781" y="126360"/>
                          <a:pt x="516986" y="193179"/>
                          <a:pt x="487860" y="246638"/>
                        </a:cubicBezTo>
                        <a:lnTo>
                          <a:pt x="483008" y="255146"/>
                        </a:lnTo>
                        <a:lnTo>
                          <a:pt x="376207" y="255146"/>
                        </a:lnTo>
                        <a:lnTo>
                          <a:pt x="376207" y="258791"/>
                        </a:lnTo>
                        <a:cubicBezTo>
                          <a:pt x="387134" y="260004"/>
                          <a:pt x="396843" y="263649"/>
                          <a:pt x="405333" y="269726"/>
                        </a:cubicBezTo>
                        <a:cubicBezTo>
                          <a:pt x="419899" y="280660"/>
                          <a:pt x="428395" y="298884"/>
                          <a:pt x="428395" y="317108"/>
                        </a:cubicBezTo>
                        <a:lnTo>
                          <a:pt x="428395" y="329255"/>
                        </a:lnTo>
                        <a:lnTo>
                          <a:pt x="445387" y="336544"/>
                        </a:lnTo>
                        <a:lnTo>
                          <a:pt x="445387" y="404582"/>
                        </a:lnTo>
                        <a:cubicBezTo>
                          <a:pt x="442955" y="441036"/>
                          <a:pt x="418686" y="473839"/>
                          <a:pt x="377426" y="494495"/>
                        </a:cubicBezTo>
                        <a:lnTo>
                          <a:pt x="370143" y="498140"/>
                        </a:lnTo>
                        <a:lnTo>
                          <a:pt x="361647" y="49570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10" name="Freeform: Shape 109">
                    <a:extLst>
                      <a:ext uri="{FF2B5EF4-FFF2-40B4-BE49-F238E27FC236}">
                        <a16:creationId xmlns:a16="http://schemas.microsoft.com/office/drawing/2014/main" id="{57650241-0AF9-1B73-2C66-9CA615BD5E2B}"/>
                      </a:ext>
                    </a:extLst>
                  </p:cNvPr>
                  <p:cNvSpPr/>
                  <p:nvPr/>
                </p:nvSpPr>
                <p:spPr>
                  <a:xfrm>
                    <a:off x="2268353" y="2316748"/>
                    <a:ext cx="513400" cy="509067"/>
                  </a:xfrm>
                  <a:custGeom>
                    <a:avLst/>
                    <a:gdLst>
                      <a:gd name="connsiteX0" fmla="*/ 293686 w 513400"/>
                      <a:gd name="connsiteY0" fmla="*/ 12147 h 509067"/>
                      <a:gd name="connsiteX1" fmla="*/ 389560 w 513400"/>
                      <a:gd name="connsiteY1" fmla="*/ 71683 h 509067"/>
                      <a:gd name="connsiteX2" fmla="*/ 413835 w 513400"/>
                      <a:gd name="connsiteY2" fmla="*/ 91119 h 509067"/>
                      <a:gd name="connsiteX3" fmla="*/ 449025 w 513400"/>
                      <a:gd name="connsiteY3" fmla="*/ 105705 h 509067"/>
                      <a:gd name="connsiteX4" fmla="*/ 487860 w 513400"/>
                      <a:gd name="connsiteY4" fmla="*/ 251495 h 509067"/>
                      <a:gd name="connsiteX5" fmla="*/ 485434 w 513400"/>
                      <a:gd name="connsiteY5" fmla="*/ 256359 h 509067"/>
                      <a:gd name="connsiteX6" fmla="*/ 444174 w 513400"/>
                      <a:gd name="connsiteY6" fmla="*/ 256359 h 509067"/>
                      <a:gd name="connsiteX7" fmla="*/ 391986 w 513400"/>
                      <a:gd name="connsiteY7" fmla="*/ 256359 h 509067"/>
                      <a:gd name="connsiteX8" fmla="*/ 376213 w 513400"/>
                      <a:gd name="connsiteY8" fmla="*/ 256359 h 509067"/>
                      <a:gd name="connsiteX9" fmla="*/ 376213 w 513400"/>
                      <a:gd name="connsiteY9" fmla="*/ 272151 h 509067"/>
                      <a:gd name="connsiteX10" fmla="*/ 407765 w 513400"/>
                      <a:gd name="connsiteY10" fmla="*/ 283085 h 509067"/>
                      <a:gd name="connsiteX11" fmla="*/ 428395 w 513400"/>
                      <a:gd name="connsiteY11" fmla="*/ 325610 h 509067"/>
                      <a:gd name="connsiteX12" fmla="*/ 428395 w 513400"/>
                      <a:gd name="connsiteY12" fmla="*/ 340189 h 509067"/>
                      <a:gd name="connsiteX13" fmla="*/ 445387 w 513400"/>
                      <a:gd name="connsiteY13" fmla="*/ 347478 h 509067"/>
                      <a:gd name="connsiteX14" fmla="*/ 445387 w 513400"/>
                      <a:gd name="connsiteY14" fmla="*/ 411871 h 509067"/>
                      <a:gd name="connsiteX15" fmla="*/ 381064 w 513400"/>
                      <a:gd name="connsiteY15" fmla="*/ 496920 h 509067"/>
                      <a:gd name="connsiteX16" fmla="*/ 375000 w 513400"/>
                      <a:gd name="connsiteY16" fmla="*/ 498133 h 509067"/>
                      <a:gd name="connsiteX17" fmla="*/ 370143 w 513400"/>
                      <a:gd name="connsiteY17" fmla="*/ 495708 h 509067"/>
                      <a:gd name="connsiteX18" fmla="*/ 314316 w 513400"/>
                      <a:gd name="connsiteY18" fmla="*/ 443462 h 509067"/>
                      <a:gd name="connsiteX19" fmla="*/ 297331 w 513400"/>
                      <a:gd name="connsiteY19" fmla="*/ 445894 h 509067"/>
                      <a:gd name="connsiteX20" fmla="*/ 252426 w 513400"/>
                      <a:gd name="connsiteY20" fmla="*/ 448319 h 509067"/>
                      <a:gd name="connsiteX21" fmla="*/ 251213 w 513400"/>
                      <a:gd name="connsiteY21" fmla="*/ 448319 h 509067"/>
                      <a:gd name="connsiteX22" fmla="*/ 250000 w 513400"/>
                      <a:gd name="connsiteY22" fmla="*/ 448319 h 509067"/>
                      <a:gd name="connsiteX23" fmla="*/ 205095 w 513400"/>
                      <a:gd name="connsiteY23" fmla="*/ 445894 h 509067"/>
                      <a:gd name="connsiteX24" fmla="*/ 129851 w 513400"/>
                      <a:gd name="connsiteY24" fmla="*/ 410659 h 509067"/>
                      <a:gd name="connsiteX25" fmla="*/ 128638 w 513400"/>
                      <a:gd name="connsiteY25" fmla="*/ 346266 h 509067"/>
                      <a:gd name="connsiteX26" fmla="*/ 128638 w 513400"/>
                      <a:gd name="connsiteY26" fmla="*/ 345046 h 509067"/>
                      <a:gd name="connsiteX27" fmla="*/ 128638 w 513400"/>
                      <a:gd name="connsiteY27" fmla="*/ 328042 h 509067"/>
                      <a:gd name="connsiteX28" fmla="*/ 128638 w 513400"/>
                      <a:gd name="connsiteY28" fmla="*/ 277009 h 509067"/>
                      <a:gd name="connsiteX29" fmla="*/ 128638 w 513400"/>
                      <a:gd name="connsiteY29" fmla="*/ 273364 h 509067"/>
                      <a:gd name="connsiteX30" fmla="*/ 128638 w 513400"/>
                      <a:gd name="connsiteY30" fmla="*/ 256359 h 509067"/>
                      <a:gd name="connsiteX31" fmla="*/ 13347 w 513400"/>
                      <a:gd name="connsiteY31" fmla="*/ 256359 h 509067"/>
                      <a:gd name="connsiteX32" fmla="*/ 14566 w 513400"/>
                      <a:gd name="connsiteY32" fmla="*/ 245425 h 509067"/>
                      <a:gd name="connsiteX33" fmla="*/ 76457 w 513400"/>
                      <a:gd name="connsiteY33" fmla="*/ 151868 h 509067"/>
                      <a:gd name="connsiteX34" fmla="*/ 94661 w 513400"/>
                      <a:gd name="connsiteY34" fmla="*/ 127573 h 509067"/>
                      <a:gd name="connsiteX35" fmla="*/ 144418 w 513400"/>
                      <a:gd name="connsiteY35" fmla="*/ 64393 h 509067"/>
                      <a:gd name="connsiteX36" fmla="*/ 179614 w 513400"/>
                      <a:gd name="connsiteY36" fmla="*/ 57104 h 509067"/>
                      <a:gd name="connsiteX37" fmla="*/ 188103 w 513400"/>
                      <a:gd name="connsiteY37" fmla="*/ 57104 h 509067"/>
                      <a:gd name="connsiteX38" fmla="*/ 191748 w 513400"/>
                      <a:gd name="connsiteY38" fmla="*/ 57104 h 509067"/>
                      <a:gd name="connsiteX39" fmla="*/ 217229 w 513400"/>
                      <a:gd name="connsiteY39" fmla="*/ 46169 h 509067"/>
                      <a:gd name="connsiteX40" fmla="*/ 293686 w 513400"/>
                      <a:gd name="connsiteY40" fmla="*/ 12147 h 509067"/>
                      <a:gd name="connsiteX41" fmla="*/ 293686 w 513400"/>
                      <a:gd name="connsiteY41" fmla="*/ 0 h 509067"/>
                      <a:gd name="connsiteX42" fmla="*/ 206308 w 513400"/>
                      <a:gd name="connsiteY42" fmla="*/ 38880 h 509067"/>
                      <a:gd name="connsiteX43" fmla="*/ 190535 w 513400"/>
                      <a:gd name="connsiteY43" fmla="*/ 46169 h 509067"/>
                      <a:gd name="connsiteX44" fmla="*/ 188103 w 513400"/>
                      <a:gd name="connsiteY44" fmla="*/ 46169 h 509067"/>
                      <a:gd name="connsiteX45" fmla="*/ 178395 w 513400"/>
                      <a:gd name="connsiteY45" fmla="*/ 46169 h 509067"/>
                      <a:gd name="connsiteX46" fmla="*/ 138347 w 513400"/>
                      <a:gd name="connsiteY46" fmla="*/ 54672 h 509067"/>
                      <a:gd name="connsiteX47" fmla="*/ 82527 w 513400"/>
                      <a:gd name="connsiteY47" fmla="*/ 123929 h 509067"/>
                      <a:gd name="connsiteX48" fmla="*/ 70386 w 513400"/>
                      <a:gd name="connsiteY48" fmla="*/ 139720 h 509067"/>
                      <a:gd name="connsiteX49" fmla="*/ 2426 w 513400"/>
                      <a:gd name="connsiteY49" fmla="*/ 242993 h 509067"/>
                      <a:gd name="connsiteX50" fmla="*/ 1213 w 513400"/>
                      <a:gd name="connsiteY50" fmla="*/ 255140 h 509067"/>
                      <a:gd name="connsiteX51" fmla="*/ 0 w 513400"/>
                      <a:gd name="connsiteY51" fmla="*/ 268506 h 509067"/>
                      <a:gd name="connsiteX52" fmla="*/ 13347 w 513400"/>
                      <a:gd name="connsiteY52" fmla="*/ 268506 h 509067"/>
                      <a:gd name="connsiteX53" fmla="*/ 120142 w 513400"/>
                      <a:gd name="connsiteY53" fmla="*/ 268506 h 509067"/>
                      <a:gd name="connsiteX54" fmla="*/ 120142 w 513400"/>
                      <a:gd name="connsiteY54" fmla="*/ 273364 h 509067"/>
                      <a:gd name="connsiteX55" fmla="*/ 120142 w 513400"/>
                      <a:gd name="connsiteY55" fmla="*/ 277009 h 509067"/>
                      <a:gd name="connsiteX56" fmla="*/ 120142 w 513400"/>
                      <a:gd name="connsiteY56" fmla="*/ 328042 h 509067"/>
                      <a:gd name="connsiteX57" fmla="*/ 120142 w 513400"/>
                      <a:gd name="connsiteY57" fmla="*/ 343834 h 509067"/>
                      <a:gd name="connsiteX58" fmla="*/ 120142 w 513400"/>
                      <a:gd name="connsiteY58" fmla="*/ 345046 h 509067"/>
                      <a:gd name="connsiteX59" fmla="*/ 121362 w 513400"/>
                      <a:gd name="connsiteY59" fmla="*/ 409440 h 509067"/>
                      <a:gd name="connsiteX60" fmla="*/ 191748 w 513400"/>
                      <a:gd name="connsiteY60" fmla="*/ 454396 h 509067"/>
                      <a:gd name="connsiteX61" fmla="*/ 208740 w 513400"/>
                      <a:gd name="connsiteY61" fmla="*/ 455609 h 509067"/>
                      <a:gd name="connsiteX62" fmla="*/ 254851 w 513400"/>
                      <a:gd name="connsiteY62" fmla="*/ 458041 h 509067"/>
                      <a:gd name="connsiteX63" fmla="*/ 256064 w 513400"/>
                      <a:gd name="connsiteY63" fmla="*/ 458041 h 509067"/>
                      <a:gd name="connsiteX64" fmla="*/ 257283 w 513400"/>
                      <a:gd name="connsiteY64" fmla="*/ 458041 h 509067"/>
                      <a:gd name="connsiteX65" fmla="*/ 303395 w 513400"/>
                      <a:gd name="connsiteY65" fmla="*/ 455609 h 509067"/>
                      <a:gd name="connsiteX66" fmla="*/ 311891 w 513400"/>
                      <a:gd name="connsiteY66" fmla="*/ 454396 h 509067"/>
                      <a:gd name="connsiteX67" fmla="*/ 368930 w 513400"/>
                      <a:gd name="connsiteY67" fmla="*/ 504210 h 509067"/>
                      <a:gd name="connsiteX68" fmla="*/ 373788 w 513400"/>
                      <a:gd name="connsiteY68" fmla="*/ 506642 h 509067"/>
                      <a:gd name="connsiteX69" fmla="*/ 378639 w 513400"/>
                      <a:gd name="connsiteY69" fmla="*/ 509067 h 509067"/>
                      <a:gd name="connsiteX70" fmla="*/ 383496 w 513400"/>
                      <a:gd name="connsiteY70" fmla="*/ 506642 h 509067"/>
                      <a:gd name="connsiteX71" fmla="*/ 388347 w 513400"/>
                      <a:gd name="connsiteY71" fmla="*/ 504210 h 509067"/>
                      <a:gd name="connsiteX72" fmla="*/ 458734 w 513400"/>
                      <a:gd name="connsiteY72" fmla="*/ 409440 h 509067"/>
                      <a:gd name="connsiteX73" fmla="*/ 458734 w 513400"/>
                      <a:gd name="connsiteY73" fmla="*/ 345046 h 509067"/>
                      <a:gd name="connsiteX74" fmla="*/ 458734 w 513400"/>
                      <a:gd name="connsiteY74" fmla="*/ 336544 h 509067"/>
                      <a:gd name="connsiteX75" fmla="*/ 449025 w 513400"/>
                      <a:gd name="connsiteY75" fmla="*/ 336544 h 509067"/>
                      <a:gd name="connsiteX76" fmla="*/ 439316 w 513400"/>
                      <a:gd name="connsiteY76" fmla="*/ 332899 h 509067"/>
                      <a:gd name="connsiteX77" fmla="*/ 439316 w 513400"/>
                      <a:gd name="connsiteY77" fmla="*/ 324397 h 509067"/>
                      <a:gd name="connsiteX78" fmla="*/ 413835 w 513400"/>
                      <a:gd name="connsiteY78" fmla="*/ 273364 h 509067"/>
                      <a:gd name="connsiteX79" fmla="*/ 407765 w 513400"/>
                      <a:gd name="connsiteY79" fmla="*/ 269719 h 509067"/>
                      <a:gd name="connsiteX80" fmla="*/ 442961 w 513400"/>
                      <a:gd name="connsiteY80" fmla="*/ 269719 h 509067"/>
                      <a:gd name="connsiteX81" fmla="*/ 485434 w 513400"/>
                      <a:gd name="connsiteY81" fmla="*/ 269719 h 509067"/>
                      <a:gd name="connsiteX82" fmla="*/ 492717 w 513400"/>
                      <a:gd name="connsiteY82" fmla="*/ 269719 h 509067"/>
                      <a:gd name="connsiteX83" fmla="*/ 496356 w 513400"/>
                      <a:gd name="connsiteY83" fmla="*/ 263649 h 509067"/>
                      <a:gd name="connsiteX84" fmla="*/ 498781 w 513400"/>
                      <a:gd name="connsiteY84" fmla="*/ 257572 h 509067"/>
                      <a:gd name="connsiteX85" fmla="*/ 456308 w 513400"/>
                      <a:gd name="connsiteY85" fmla="*/ 95983 h 509067"/>
                      <a:gd name="connsiteX86" fmla="*/ 417473 w 513400"/>
                      <a:gd name="connsiteY86" fmla="*/ 80185 h 509067"/>
                      <a:gd name="connsiteX87" fmla="*/ 400482 w 513400"/>
                      <a:gd name="connsiteY87" fmla="*/ 68038 h 509067"/>
                      <a:gd name="connsiteX88" fmla="*/ 293686 w 513400"/>
                      <a:gd name="connsiteY88" fmla="*/ 0 h 5090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</a:cxnLst>
                    <a:rect l="l" t="t" r="r" b="b"/>
                    <a:pathLst>
                      <a:path w="513400" h="509067">
                        <a:moveTo>
                          <a:pt x="293686" y="12147"/>
                        </a:moveTo>
                        <a:cubicBezTo>
                          <a:pt x="334953" y="12147"/>
                          <a:pt x="371356" y="35235"/>
                          <a:pt x="389560" y="71683"/>
                        </a:cubicBezTo>
                        <a:cubicBezTo>
                          <a:pt x="394418" y="81404"/>
                          <a:pt x="402914" y="88694"/>
                          <a:pt x="413835" y="91119"/>
                        </a:cubicBezTo>
                        <a:cubicBezTo>
                          <a:pt x="425969" y="93551"/>
                          <a:pt x="438103" y="98415"/>
                          <a:pt x="449025" y="105705"/>
                        </a:cubicBezTo>
                        <a:cubicBezTo>
                          <a:pt x="497568" y="136076"/>
                          <a:pt x="514560" y="200469"/>
                          <a:pt x="487860" y="251495"/>
                        </a:cubicBezTo>
                        <a:lnTo>
                          <a:pt x="485434" y="256359"/>
                        </a:lnTo>
                        <a:lnTo>
                          <a:pt x="444174" y="256359"/>
                        </a:lnTo>
                        <a:lnTo>
                          <a:pt x="391986" y="256359"/>
                        </a:lnTo>
                        <a:lnTo>
                          <a:pt x="376213" y="256359"/>
                        </a:lnTo>
                        <a:lnTo>
                          <a:pt x="376213" y="272151"/>
                        </a:lnTo>
                        <a:cubicBezTo>
                          <a:pt x="387134" y="272151"/>
                          <a:pt x="398056" y="275796"/>
                          <a:pt x="407765" y="283085"/>
                        </a:cubicBezTo>
                        <a:cubicBezTo>
                          <a:pt x="421112" y="292807"/>
                          <a:pt x="428395" y="308599"/>
                          <a:pt x="428395" y="325610"/>
                        </a:cubicBezTo>
                        <a:lnTo>
                          <a:pt x="428395" y="340189"/>
                        </a:lnTo>
                        <a:lnTo>
                          <a:pt x="445387" y="347478"/>
                        </a:lnTo>
                        <a:lnTo>
                          <a:pt x="445387" y="411871"/>
                        </a:lnTo>
                        <a:cubicBezTo>
                          <a:pt x="442961" y="445894"/>
                          <a:pt x="419899" y="477477"/>
                          <a:pt x="381064" y="496920"/>
                        </a:cubicBezTo>
                        <a:lnTo>
                          <a:pt x="375000" y="498133"/>
                        </a:lnTo>
                        <a:lnTo>
                          <a:pt x="370143" y="495708"/>
                        </a:lnTo>
                        <a:cubicBezTo>
                          <a:pt x="343442" y="482341"/>
                          <a:pt x="325244" y="464117"/>
                          <a:pt x="314316" y="443462"/>
                        </a:cubicBezTo>
                        <a:cubicBezTo>
                          <a:pt x="308252" y="444674"/>
                          <a:pt x="303395" y="444674"/>
                          <a:pt x="297331" y="445894"/>
                        </a:cubicBezTo>
                        <a:cubicBezTo>
                          <a:pt x="276701" y="448319"/>
                          <a:pt x="257283" y="448319"/>
                          <a:pt x="252426" y="448319"/>
                        </a:cubicBezTo>
                        <a:lnTo>
                          <a:pt x="251213" y="448319"/>
                        </a:lnTo>
                        <a:lnTo>
                          <a:pt x="250000" y="448319"/>
                        </a:lnTo>
                        <a:cubicBezTo>
                          <a:pt x="245143" y="448319"/>
                          <a:pt x="226938" y="448319"/>
                          <a:pt x="205095" y="445894"/>
                        </a:cubicBezTo>
                        <a:cubicBezTo>
                          <a:pt x="169905" y="442249"/>
                          <a:pt x="129851" y="433740"/>
                          <a:pt x="129851" y="410659"/>
                        </a:cubicBezTo>
                        <a:lnTo>
                          <a:pt x="128638" y="346266"/>
                        </a:lnTo>
                        <a:lnTo>
                          <a:pt x="128638" y="345046"/>
                        </a:lnTo>
                        <a:lnTo>
                          <a:pt x="128638" y="328042"/>
                        </a:lnTo>
                        <a:lnTo>
                          <a:pt x="128638" y="277009"/>
                        </a:lnTo>
                        <a:lnTo>
                          <a:pt x="128638" y="273364"/>
                        </a:lnTo>
                        <a:lnTo>
                          <a:pt x="128638" y="256359"/>
                        </a:lnTo>
                        <a:lnTo>
                          <a:pt x="13347" y="256359"/>
                        </a:lnTo>
                        <a:lnTo>
                          <a:pt x="14566" y="245425"/>
                        </a:lnTo>
                        <a:cubicBezTo>
                          <a:pt x="16992" y="205326"/>
                          <a:pt x="40047" y="170098"/>
                          <a:pt x="76457" y="151868"/>
                        </a:cubicBezTo>
                        <a:cubicBezTo>
                          <a:pt x="86165" y="147010"/>
                          <a:pt x="93448" y="137288"/>
                          <a:pt x="94661" y="127573"/>
                        </a:cubicBezTo>
                        <a:cubicBezTo>
                          <a:pt x="100725" y="99628"/>
                          <a:pt x="118930" y="76540"/>
                          <a:pt x="144418" y="64393"/>
                        </a:cubicBezTo>
                        <a:cubicBezTo>
                          <a:pt x="155339" y="59536"/>
                          <a:pt x="167473" y="57104"/>
                          <a:pt x="179614" y="57104"/>
                        </a:cubicBezTo>
                        <a:cubicBezTo>
                          <a:pt x="182039" y="57104"/>
                          <a:pt x="184465" y="57104"/>
                          <a:pt x="188103" y="57104"/>
                        </a:cubicBezTo>
                        <a:cubicBezTo>
                          <a:pt x="189323" y="57104"/>
                          <a:pt x="190535" y="57104"/>
                          <a:pt x="191748" y="57104"/>
                        </a:cubicBezTo>
                        <a:cubicBezTo>
                          <a:pt x="201457" y="57104"/>
                          <a:pt x="209953" y="53459"/>
                          <a:pt x="217229" y="46169"/>
                        </a:cubicBezTo>
                        <a:cubicBezTo>
                          <a:pt x="235434" y="24301"/>
                          <a:pt x="264560" y="12147"/>
                          <a:pt x="293686" y="12147"/>
                        </a:cubicBezTo>
                        <a:close/>
                        <a:moveTo>
                          <a:pt x="293686" y="0"/>
                        </a:moveTo>
                        <a:cubicBezTo>
                          <a:pt x="260922" y="0"/>
                          <a:pt x="228157" y="13366"/>
                          <a:pt x="206308" y="38880"/>
                        </a:cubicBezTo>
                        <a:cubicBezTo>
                          <a:pt x="202670" y="43737"/>
                          <a:pt x="196599" y="46169"/>
                          <a:pt x="190535" y="46169"/>
                        </a:cubicBezTo>
                        <a:cubicBezTo>
                          <a:pt x="189323" y="46169"/>
                          <a:pt x="189323" y="46169"/>
                          <a:pt x="188103" y="46169"/>
                        </a:cubicBezTo>
                        <a:cubicBezTo>
                          <a:pt x="184465" y="46169"/>
                          <a:pt x="182039" y="46169"/>
                          <a:pt x="178395" y="46169"/>
                        </a:cubicBezTo>
                        <a:cubicBezTo>
                          <a:pt x="165048" y="46169"/>
                          <a:pt x="150488" y="48601"/>
                          <a:pt x="138347" y="54672"/>
                        </a:cubicBezTo>
                        <a:cubicBezTo>
                          <a:pt x="109221" y="65606"/>
                          <a:pt x="88591" y="92338"/>
                          <a:pt x="82527" y="123929"/>
                        </a:cubicBezTo>
                        <a:cubicBezTo>
                          <a:pt x="81308" y="131218"/>
                          <a:pt x="76457" y="137288"/>
                          <a:pt x="70386" y="139720"/>
                        </a:cubicBezTo>
                        <a:cubicBezTo>
                          <a:pt x="31552" y="160376"/>
                          <a:pt x="6070" y="199256"/>
                          <a:pt x="2426" y="242993"/>
                        </a:cubicBezTo>
                        <a:lnTo>
                          <a:pt x="1213" y="255140"/>
                        </a:lnTo>
                        <a:lnTo>
                          <a:pt x="0" y="268506"/>
                        </a:lnTo>
                        <a:lnTo>
                          <a:pt x="13347" y="268506"/>
                        </a:lnTo>
                        <a:lnTo>
                          <a:pt x="120142" y="268506"/>
                        </a:lnTo>
                        <a:lnTo>
                          <a:pt x="120142" y="273364"/>
                        </a:lnTo>
                        <a:lnTo>
                          <a:pt x="120142" y="277009"/>
                        </a:lnTo>
                        <a:lnTo>
                          <a:pt x="120142" y="328042"/>
                        </a:lnTo>
                        <a:lnTo>
                          <a:pt x="120142" y="343834"/>
                        </a:lnTo>
                        <a:lnTo>
                          <a:pt x="120142" y="345046"/>
                        </a:lnTo>
                        <a:lnTo>
                          <a:pt x="121362" y="409440"/>
                        </a:lnTo>
                        <a:cubicBezTo>
                          <a:pt x="121362" y="432527"/>
                          <a:pt x="144418" y="447106"/>
                          <a:pt x="191748" y="454396"/>
                        </a:cubicBezTo>
                        <a:lnTo>
                          <a:pt x="208740" y="455609"/>
                        </a:lnTo>
                        <a:cubicBezTo>
                          <a:pt x="230583" y="458041"/>
                          <a:pt x="248787" y="458041"/>
                          <a:pt x="254851" y="458041"/>
                        </a:cubicBezTo>
                        <a:lnTo>
                          <a:pt x="256064" y="458041"/>
                        </a:lnTo>
                        <a:lnTo>
                          <a:pt x="257283" y="458041"/>
                        </a:lnTo>
                        <a:cubicBezTo>
                          <a:pt x="262135" y="458041"/>
                          <a:pt x="281552" y="458041"/>
                          <a:pt x="303395" y="455609"/>
                        </a:cubicBezTo>
                        <a:lnTo>
                          <a:pt x="311891" y="454396"/>
                        </a:lnTo>
                        <a:cubicBezTo>
                          <a:pt x="324025" y="475052"/>
                          <a:pt x="343442" y="492063"/>
                          <a:pt x="368930" y="504210"/>
                        </a:cubicBezTo>
                        <a:lnTo>
                          <a:pt x="373788" y="506642"/>
                        </a:lnTo>
                        <a:lnTo>
                          <a:pt x="378639" y="509067"/>
                        </a:lnTo>
                        <a:lnTo>
                          <a:pt x="383496" y="506642"/>
                        </a:lnTo>
                        <a:lnTo>
                          <a:pt x="388347" y="504210"/>
                        </a:lnTo>
                        <a:cubicBezTo>
                          <a:pt x="430820" y="482341"/>
                          <a:pt x="457521" y="448319"/>
                          <a:pt x="458734" y="409440"/>
                        </a:cubicBezTo>
                        <a:lnTo>
                          <a:pt x="458734" y="345046"/>
                        </a:lnTo>
                        <a:lnTo>
                          <a:pt x="458734" y="336544"/>
                        </a:lnTo>
                        <a:lnTo>
                          <a:pt x="449025" y="336544"/>
                        </a:lnTo>
                        <a:lnTo>
                          <a:pt x="439316" y="332899"/>
                        </a:lnTo>
                        <a:lnTo>
                          <a:pt x="439316" y="324397"/>
                        </a:lnTo>
                        <a:cubicBezTo>
                          <a:pt x="439316" y="303741"/>
                          <a:pt x="429608" y="285517"/>
                          <a:pt x="413835" y="273364"/>
                        </a:cubicBezTo>
                        <a:cubicBezTo>
                          <a:pt x="411403" y="272151"/>
                          <a:pt x="410190" y="270938"/>
                          <a:pt x="407765" y="269719"/>
                        </a:cubicBezTo>
                        <a:lnTo>
                          <a:pt x="442961" y="269719"/>
                        </a:lnTo>
                        <a:lnTo>
                          <a:pt x="485434" y="269719"/>
                        </a:lnTo>
                        <a:lnTo>
                          <a:pt x="492717" y="269719"/>
                        </a:lnTo>
                        <a:lnTo>
                          <a:pt x="496356" y="263649"/>
                        </a:lnTo>
                        <a:lnTo>
                          <a:pt x="498781" y="257572"/>
                        </a:lnTo>
                        <a:cubicBezTo>
                          <a:pt x="529127" y="201681"/>
                          <a:pt x="510922" y="129999"/>
                          <a:pt x="456308" y="95983"/>
                        </a:cubicBezTo>
                        <a:cubicBezTo>
                          <a:pt x="444174" y="88694"/>
                          <a:pt x="430820" y="82617"/>
                          <a:pt x="417473" y="80185"/>
                        </a:cubicBezTo>
                        <a:cubicBezTo>
                          <a:pt x="410190" y="78972"/>
                          <a:pt x="404126" y="74115"/>
                          <a:pt x="400482" y="68038"/>
                        </a:cubicBezTo>
                        <a:cubicBezTo>
                          <a:pt x="381064" y="25513"/>
                          <a:pt x="339804" y="0"/>
                          <a:pt x="293686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  <p:grpSp>
              <p:nvGrpSpPr>
                <p:cNvPr id="104" name="Graphic 2">
                  <a:extLst>
                    <a:ext uri="{FF2B5EF4-FFF2-40B4-BE49-F238E27FC236}">
                      <a16:creationId xmlns:a16="http://schemas.microsoft.com/office/drawing/2014/main" id="{E6646885-7ECB-BEAF-B615-10C9F105549B}"/>
                    </a:ext>
                  </a:extLst>
                </p:cNvPr>
                <p:cNvGrpSpPr/>
                <p:nvPr/>
              </p:nvGrpSpPr>
              <p:grpSpPr>
                <a:xfrm>
                  <a:off x="2282913" y="2328902"/>
                  <a:ext cx="486744" cy="485985"/>
                  <a:chOff x="2282913" y="2328902"/>
                  <a:chExt cx="486744" cy="485985"/>
                </a:xfrm>
                <a:solidFill>
                  <a:srgbClr val="2C5967"/>
                </a:solidFill>
              </p:grpSpPr>
              <p:sp>
                <p:nvSpPr>
                  <p:cNvPr id="105" name="Freeform: Shape 104">
                    <a:extLst>
                      <a:ext uri="{FF2B5EF4-FFF2-40B4-BE49-F238E27FC236}">
                        <a16:creationId xmlns:a16="http://schemas.microsoft.com/office/drawing/2014/main" id="{CE33EC22-F3E2-7580-55DC-11A052615AAC}"/>
                      </a:ext>
                    </a:extLst>
                  </p:cNvPr>
                  <p:cNvSpPr/>
                  <p:nvPr/>
                </p:nvSpPr>
                <p:spPr>
                  <a:xfrm>
                    <a:off x="2282913" y="2328902"/>
                    <a:ext cx="486744" cy="244205"/>
                  </a:xfrm>
                  <a:custGeom>
                    <a:avLst/>
                    <a:gdLst>
                      <a:gd name="connsiteX0" fmla="*/ 435678 w 486744"/>
                      <a:gd name="connsiteY0" fmla="*/ 93551 h 244205"/>
                      <a:gd name="connsiteX1" fmla="*/ 400488 w 486744"/>
                      <a:gd name="connsiteY1" fmla="*/ 78972 h 244205"/>
                      <a:gd name="connsiteX2" fmla="*/ 376213 w 486744"/>
                      <a:gd name="connsiteY2" fmla="*/ 59529 h 244205"/>
                      <a:gd name="connsiteX3" fmla="*/ 280339 w 486744"/>
                      <a:gd name="connsiteY3" fmla="*/ 0 h 244205"/>
                      <a:gd name="connsiteX4" fmla="*/ 201457 w 486744"/>
                      <a:gd name="connsiteY4" fmla="*/ 34016 h 244205"/>
                      <a:gd name="connsiteX5" fmla="*/ 173543 w 486744"/>
                      <a:gd name="connsiteY5" fmla="*/ 44950 h 244205"/>
                      <a:gd name="connsiteX6" fmla="*/ 131070 w 486744"/>
                      <a:gd name="connsiteY6" fmla="*/ 52239 h 244205"/>
                      <a:gd name="connsiteX7" fmla="*/ 81314 w 486744"/>
                      <a:gd name="connsiteY7" fmla="*/ 115420 h 244205"/>
                      <a:gd name="connsiteX8" fmla="*/ 63110 w 486744"/>
                      <a:gd name="connsiteY8" fmla="*/ 139720 h 244205"/>
                      <a:gd name="connsiteX9" fmla="*/ 1219 w 486744"/>
                      <a:gd name="connsiteY9" fmla="*/ 233271 h 244205"/>
                      <a:gd name="connsiteX10" fmla="*/ 0 w 486744"/>
                      <a:gd name="connsiteY10" fmla="*/ 244206 h 244205"/>
                      <a:gd name="connsiteX11" fmla="*/ 103157 w 486744"/>
                      <a:gd name="connsiteY11" fmla="*/ 244206 h 244205"/>
                      <a:gd name="connsiteX12" fmla="*/ 103157 w 486744"/>
                      <a:gd name="connsiteY12" fmla="*/ 223550 h 244205"/>
                      <a:gd name="connsiteX13" fmla="*/ 21849 w 486744"/>
                      <a:gd name="connsiteY13" fmla="*/ 223550 h 244205"/>
                      <a:gd name="connsiteX14" fmla="*/ 70393 w 486744"/>
                      <a:gd name="connsiteY14" fmla="*/ 157944 h 244205"/>
                      <a:gd name="connsiteX15" fmla="*/ 99519 w 486744"/>
                      <a:gd name="connsiteY15" fmla="*/ 119064 h 244205"/>
                      <a:gd name="connsiteX16" fmla="*/ 137141 w 486744"/>
                      <a:gd name="connsiteY16" fmla="*/ 71682 h 244205"/>
                      <a:gd name="connsiteX17" fmla="*/ 169905 w 486744"/>
                      <a:gd name="connsiteY17" fmla="*/ 66819 h 244205"/>
                      <a:gd name="connsiteX18" fmla="*/ 216023 w 486744"/>
                      <a:gd name="connsiteY18" fmla="*/ 48595 h 244205"/>
                      <a:gd name="connsiteX19" fmla="*/ 279126 w 486744"/>
                      <a:gd name="connsiteY19" fmla="*/ 20649 h 244205"/>
                      <a:gd name="connsiteX20" fmla="*/ 356796 w 486744"/>
                      <a:gd name="connsiteY20" fmla="*/ 68038 h 244205"/>
                      <a:gd name="connsiteX21" fmla="*/ 395630 w 486744"/>
                      <a:gd name="connsiteY21" fmla="*/ 98409 h 244205"/>
                      <a:gd name="connsiteX22" fmla="*/ 423544 w 486744"/>
                      <a:gd name="connsiteY22" fmla="*/ 110556 h 244205"/>
                      <a:gd name="connsiteX23" fmla="*/ 457527 w 486744"/>
                      <a:gd name="connsiteY23" fmla="*/ 222337 h 244205"/>
                      <a:gd name="connsiteX24" fmla="*/ 376213 w 486744"/>
                      <a:gd name="connsiteY24" fmla="*/ 222337 h 244205"/>
                      <a:gd name="connsiteX25" fmla="*/ 376213 w 486744"/>
                      <a:gd name="connsiteY25" fmla="*/ 242987 h 244205"/>
                      <a:gd name="connsiteX26" fmla="*/ 470874 w 486744"/>
                      <a:gd name="connsiteY26" fmla="*/ 242987 h 244205"/>
                      <a:gd name="connsiteX27" fmla="*/ 473300 w 486744"/>
                      <a:gd name="connsiteY27" fmla="*/ 236916 h 244205"/>
                      <a:gd name="connsiteX28" fmla="*/ 435678 w 486744"/>
                      <a:gd name="connsiteY28" fmla="*/ 93551 h 24420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</a:cxnLst>
                    <a:rect l="l" t="t" r="r" b="b"/>
                    <a:pathLst>
                      <a:path w="486744" h="244205">
                        <a:moveTo>
                          <a:pt x="435678" y="93551"/>
                        </a:moveTo>
                        <a:cubicBezTo>
                          <a:pt x="424756" y="86262"/>
                          <a:pt x="412622" y="81398"/>
                          <a:pt x="400488" y="78972"/>
                        </a:cubicBezTo>
                        <a:cubicBezTo>
                          <a:pt x="389566" y="76540"/>
                          <a:pt x="381071" y="69251"/>
                          <a:pt x="376213" y="59529"/>
                        </a:cubicBezTo>
                        <a:cubicBezTo>
                          <a:pt x="358008" y="23081"/>
                          <a:pt x="321606" y="0"/>
                          <a:pt x="280339" y="0"/>
                        </a:cubicBezTo>
                        <a:cubicBezTo>
                          <a:pt x="250000" y="0"/>
                          <a:pt x="222087" y="12147"/>
                          <a:pt x="201457" y="34016"/>
                        </a:cubicBezTo>
                        <a:cubicBezTo>
                          <a:pt x="194174" y="41305"/>
                          <a:pt x="184465" y="46163"/>
                          <a:pt x="173543" y="44950"/>
                        </a:cubicBezTo>
                        <a:cubicBezTo>
                          <a:pt x="158984" y="43737"/>
                          <a:pt x="144417" y="46163"/>
                          <a:pt x="131070" y="52239"/>
                        </a:cubicBezTo>
                        <a:cubicBezTo>
                          <a:pt x="105583" y="63174"/>
                          <a:pt x="86165" y="87474"/>
                          <a:pt x="81314" y="115420"/>
                        </a:cubicBezTo>
                        <a:cubicBezTo>
                          <a:pt x="78889" y="126354"/>
                          <a:pt x="72818" y="134856"/>
                          <a:pt x="63110" y="139720"/>
                        </a:cubicBezTo>
                        <a:cubicBezTo>
                          <a:pt x="27913" y="157944"/>
                          <a:pt x="4857" y="193179"/>
                          <a:pt x="1219" y="233271"/>
                        </a:cubicBezTo>
                        <a:lnTo>
                          <a:pt x="0" y="244206"/>
                        </a:lnTo>
                        <a:lnTo>
                          <a:pt x="103157" y="244206"/>
                        </a:lnTo>
                        <a:lnTo>
                          <a:pt x="103157" y="223550"/>
                        </a:lnTo>
                        <a:lnTo>
                          <a:pt x="21849" y="223550"/>
                        </a:lnTo>
                        <a:cubicBezTo>
                          <a:pt x="26700" y="195605"/>
                          <a:pt x="44905" y="171304"/>
                          <a:pt x="70393" y="157944"/>
                        </a:cubicBezTo>
                        <a:cubicBezTo>
                          <a:pt x="86165" y="149435"/>
                          <a:pt x="95874" y="136076"/>
                          <a:pt x="99519" y="119064"/>
                        </a:cubicBezTo>
                        <a:cubicBezTo>
                          <a:pt x="103157" y="98409"/>
                          <a:pt x="117723" y="80185"/>
                          <a:pt x="137141" y="71682"/>
                        </a:cubicBezTo>
                        <a:cubicBezTo>
                          <a:pt x="146849" y="66819"/>
                          <a:pt x="158984" y="65606"/>
                          <a:pt x="169905" y="66819"/>
                        </a:cubicBezTo>
                        <a:cubicBezTo>
                          <a:pt x="188110" y="68038"/>
                          <a:pt x="203882" y="60748"/>
                          <a:pt x="216023" y="48595"/>
                        </a:cubicBezTo>
                        <a:cubicBezTo>
                          <a:pt x="231796" y="31584"/>
                          <a:pt x="256070" y="20649"/>
                          <a:pt x="279126" y="20649"/>
                        </a:cubicBezTo>
                        <a:cubicBezTo>
                          <a:pt x="311897" y="20649"/>
                          <a:pt x="342236" y="38873"/>
                          <a:pt x="356796" y="68038"/>
                        </a:cubicBezTo>
                        <a:cubicBezTo>
                          <a:pt x="364079" y="83830"/>
                          <a:pt x="378645" y="94764"/>
                          <a:pt x="395630" y="98409"/>
                        </a:cubicBezTo>
                        <a:cubicBezTo>
                          <a:pt x="405339" y="100841"/>
                          <a:pt x="415048" y="104485"/>
                          <a:pt x="423544" y="110556"/>
                        </a:cubicBezTo>
                        <a:cubicBezTo>
                          <a:pt x="461166" y="134856"/>
                          <a:pt x="475732" y="182245"/>
                          <a:pt x="457527" y="222337"/>
                        </a:cubicBezTo>
                        <a:lnTo>
                          <a:pt x="376213" y="222337"/>
                        </a:lnTo>
                        <a:lnTo>
                          <a:pt x="376213" y="242987"/>
                        </a:lnTo>
                        <a:lnTo>
                          <a:pt x="470874" y="242987"/>
                        </a:lnTo>
                        <a:lnTo>
                          <a:pt x="473300" y="236916"/>
                        </a:lnTo>
                        <a:cubicBezTo>
                          <a:pt x="501213" y="188315"/>
                          <a:pt x="484221" y="123922"/>
                          <a:pt x="435678" y="93551"/>
                        </a:cubicBez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06" name="Freeform: Shape 105">
                    <a:extLst>
                      <a:ext uri="{FF2B5EF4-FFF2-40B4-BE49-F238E27FC236}">
                        <a16:creationId xmlns:a16="http://schemas.microsoft.com/office/drawing/2014/main" id="{C188804B-EA6E-788A-63CC-FF9F8D777548}"/>
                      </a:ext>
                    </a:extLst>
                  </p:cNvPr>
                  <p:cNvSpPr/>
                  <p:nvPr/>
                </p:nvSpPr>
                <p:spPr>
                  <a:xfrm>
                    <a:off x="2401843" y="2489272"/>
                    <a:ext cx="242723" cy="275795"/>
                  </a:xfrm>
                  <a:custGeom>
                    <a:avLst/>
                    <a:gdLst>
                      <a:gd name="connsiteX0" fmla="*/ 121362 w 242723"/>
                      <a:gd name="connsiteY0" fmla="*/ 253927 h 275795"/>
                      <a:gd name="connsiteX1" fmla="*/ 20637 w 242723"/>
                      <a:gd name="connsiteY1" fmla="*/ 236916 h 275795"/>
                      <a:gd name="connsiteX2" fmla="*/ 20637 w 242723"/>
                      <a:gd name="connsiteY2" fmla="*/ 195611 h 275795"/>
                      <a:gd name="connsiteX3" fmla="*/ 121362 w 242723"/>
                      <a:gd name="connsiteY3" fmla="*/ 210190 h 275795"/>
                      <a:gd name="connsiteX4" fmla="*/ 158984 w 242723"/>
                      <a:gd name="connsiteY4" fmla="*/ 208977 h 275795"/>
                      <a:gd name="connsiteX5" fmla="*/ 158984 w 242723"/>
                      <a:gd name="connsiteY5" fmla="*/ 188321 h 275795"/>
                      <a:gd name="connsiteX6" fmla="*/ 121362 w 242723"/>
                      <a:gd name="connsiteY6" fmla="*/ 189534 h 275795"/>
                      <a:gd name="connsiteX7" fmla="*/ 20637 w 242723"/>
                      <a:gd name="connsiteY7" fmla="*/ 172523 h 275795"/>
                      <a:gd name="connsiteX8" fmla="*/ 20637 w 242723"/>
                      <a:gd name="connsiteY8" fmla="*/ 128786 h 275795"/>
                      <a:gd name="connsiteX9" fmla="*/ 121362 w 242723"/>
                      <a:gd name="connsiteY9" fmla="*/ 143365 h 275795"/>
                      <a:gd name="connsiteX10" fmla="*/ 175975 w 242723"/>
                      <a:gd name="connsiteY10" fmla="*/ 139720 h 275795"/>
                      <a:gd name="connsiteX11" fmla="*/ 184471 w 242723"/>
                      <a:gd name="connsiteY11" fmla="*/ 116639 h 275795"/>
                      <a:gd name="connsiteX12" fmla="*/ 120149 w 242723"/>
                      <a:gd name="connsiteY12" fmla="*/ 121496 h 275795"/>
                      <a:gd name="connsiteX13" fmla="*/ 19417 w 242723"/>
                      <a:gd name="connsiteY13" fmla="*/ 104485 h 275795"/>
                      <a:gd name="connsiteX14" fmla="*/ 19417 w 242723"/>
                      <a:gd name="connsiteY14" fmla="*/ 60748 h 275795"/>
                      <a:gd name="connsiteX15" fmla="*/ 120149 w 242723"/>
                      <a:gd name="connsiteY15" fmla="*/ 75327 h 275795"/>
                      <a:gd name="connsiteX16" fmla="*/ 220874 w 242723"/>
                      <a:gd name="connsiteY16" fmla="*/ 60748 h 275795"/>
                      <a:gd name="connsiteX17" fmla="*/ 220874 w 242723"/>
                      <a:gd name="connsiteY17" fmla="*/ 87481 h 275795"/>
                      <a:gd name="connsiteX18" fmla="*/ 223306 w 242723"/>
                      <a:gd name="connsiteY18" fmla="*/ 86262 h 275795"/>
                      <a:gd name="connsiteX19" fmla="*/ 242723 w 242723"/>
                      <a:gd name="connsiteY19" fmla="*/ 83836 h 275795"/>
                      <a:gd name="connsiteX20" fmla="*/ 242723 w 242723"/>
                      <a:gd name="connsiteY20" fmla="*/ 38880 h 275795"/>
                      <a:gd name="connsiteX21" fmla="*/ 242723 w 242723"/>
                      <a:gd name="connsiteY21" fmla="*/ 37667 h 275795"/>
                      <a:gd name="connsiteX22" fmla="*/ 121362 w 242723"/>
                      <a:gd name="connsiteY22" fmla="*/ 0 h 275795"/>
                      <a:gd name="connsiteX23" fmla="*/ 0 w 242723"/>
                      <a:gd name="connsiteY23" fmla="*/ 37667 h 275795"/>
                      <a:gd name="connsiteX24" fmla="*/ 0 w 242723"/>
                      <a:gd name="connsiteY24" fmla="*/ 38880 h 275795"/>
                      <a:gd name="connsiteX25" fmla="*/ 0 w 242723"/>
                      <a:gd name="connsiteY25" fmla="*/ 100841 h 275795"/>
                      <a:gd name="connsiteX26" fmla="*/ 0 w 242723"/>
                      <a:gd name="connsiteY26" fmla="*/ 104485 h 275795"/>
                      <a:gd name="connsiteX27" fmla="*/ 0 w 242723"/>
                      <a:gd name="connsiteY27" fmla="*/ 172523 h 275795"/>
                      <a:gd name="connsiteX28" fmla="*/ 0 w 242723"/>
                      <a:gd name="connsiteY28" fmla="*/ 173742 h 275795"/>
                      <a:gd name="connsiteX29" fmla="*/ 1219 w 242723"/>
                      <a:gd name="connsiteY29" fmla="*/ 238135 h 275795"/>
                      <a:gd name="connsiteX30" fmla="*/ 122574 w 242723"/>
                      <a:gd name="connsiteY30" fmla="*/ 275796 h 275795"/>
                      <a:gd name="connsiteX31" fmla="*/ 167480 w 242723"/>
                      <a:gd name="connsiteY31" fmla="*/ 273370 h 275795"/>
                      <a:gd name="connsiteX32" fmla="*/ 161409 w 242723"/>
                      <a:gd name="connsiteY32" fmla="*/ 252714 h 275795"/>
                      <a:gd name="connsiteX33" fmla="*/ 121362 w 242723"/>
                      <a:gd name="connsiteY33" fmla="*/ 253927 h 275795"/>
                      <a:gd name="connsiteX34" fmla="*/ 120149 w 242723"/>
                      <a:gd name="connsiteY34" fmla="*/ 20656 h 275795"/>
                      <a:gd name="connsiteX35" fmla="*/ 219661 w 242723"/>
                      <a:gd name="connsiteY35" fmla="*/ 36448 h 275795"/>
                      <a:gd name="connsiteX36" fmla="*/ 120149 w 242723"/>
                      <a:gd name="connsiteY36" fmla="*/ 52246 h 275795"/>
                      <a:gd name="connsiteX37" fmla="*/ 20637 w 242723"/>
                      <a:gd name="connsiteY37" fmla="*/ 36448 h 275795"/>
                      <a:gd name="connsiteX38" fmla="*/ 120149 w 242723"/>
                      <a:gd name="connsiteY38" fmla="*/ 20656 h 2757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</a:cxnLst>
                    <a:rect l="l" t="t" r="r" b="b"/>
                    <a:pathLst>
                      <a:path w="242723" h="275795">
                        <a:moveTo>
                          <a:pt x="121362" y="253927"/>
                        </a:moveTo>
                        <a:cubicBezTo>
                          <a:pt x="63110" y="253927"/>
                          <a:pt x="25488" y="242993"/>
                          <a:pt x="20637" y="236916"/>
                        </a:cubicBezTo>
                        <a:lnTo>
                          <a:pt x="20637" y="195611"/>
                        </a:lnTo>
                        <a:cubicBezTo>
                          <a:pt x="53401" y="208977"/>
                          <a:pt x="112866" y="210190"/>
                          <a:pt x="121362" y="210190"/>
                        </a:cubicBezTo>
                        <a:cubicBezTo>
                          <a:pt x="125000" y="210190"/>
                          <a:pt x="140779" y="210190"/>
                          <a:pt x="158984" y="208977"/>
                        </a:cubicBezTo>
                        <a:lnTo>
                          <a:pt x="158984" y="188321"/>
                        </a:lnTo>
                        <a:cubicBezTo>
                          <a:pt x="148062" y="189534"/>
                          <a:pt x="135921" y="189534"/>
                          <a:pt x="121362" y="189534"/>
                        </a:cubicBezTo>
                        <a:cubicBezTo>
                          <a:pt x="63110" y="189534"/>
                          <a:pt x="25488" y="178600"/>
                          <a:pt x="20637" y="172523"/>
                        </a:cubicBezTo>
                        <a:lnTo>
                          <a:pt x="20637" y="128786"/>
                        </a:lnTo>
                        <a:cubicBezTo>
                          <a:pt x="53401" y="143365"/>
                          <a:pt x="112866" y="143365"/>
                          <a:pt x="121362" y="143365"/>
                        </a:cubicBezTo>
                        <a:cubicBezTo>
                          <a:pt x="127432" y="143365"/>
                          <a:pt x="150488" y="143365"/>
                          <a:pt x="175975" y="139720"/>
                        </a:cubicBezTo>
                        <a:cubicBezTo>
                          <a:pt x="177188" y="131218"/>
                          <a:pt x="180827" y="123928"/>
                          <a:pt x="184471" y="116639"/>
                        </a:cubicBezTo>
                        <a:cubicBezTo>
                          <a:pt x="167480" y="119071"/>
                          <a:pt x="146849" y="121496"/>
                          <a:pt x="120149" y="121496"/>
                        </a:cubicBezTo>
                        <a:cubicBezTo>
                          <a:pt x="61897" y="121496"/>
                          <a:pt x="24275" y="110562"/>
                          <a:pt x="19417" y="104485"/>
                        </a:cubicBezTo>
                        <a:lnTo>
                          <a:pt x="19417" y="60748"/>
                        </a:lnTo>
                        <a:cubicBezTo>
                          <a:pt x="52188" y="74114"/>
                          <a:pt x="111653" y="75327"/>
                          <a:pt x="120149" y="75327"/>
                        </a:cubicBezTo>
                        <a:cubicBezTo>
                          <a:pt x="128645" y="75327"/>
                          <a:pt x="188110" y="75327"/>
                          <a:pt x="220874" y="60748"/>
                        </a:cubicBezTo>
                        <a:lnTo>
                          <a:pt x="220874" y="87481"/>
                        </a:lnTo>
                        <a:cubicBezTo>
                          <a:pt x="222087" y="87481"/>
                          <a:pt x="222087" y="87481"/>
                          <a:pt x="223306" y="86262"/>
                        </a:cubicBezTo>
                        <a:cubicBezTo>
                          <a:pt x="229370" y="85049"/>
                          <a:pt x="235440" y="83836"/>
                          <a:pt x="242723" y="83836"/>
                        </a:cubicBezTo>
                        <a:lnTo>
                          <a:pt x="242723" y="38880"/>
                        </a:lnTo>
                        <a:lnTo>
                          <a:pt x="242723" y="37667"/>
                        </a:lnTo>
                        <a:cubicBezTo>
                          <a:pt x="242723" y="1219"/>
                          <a:pt x="133496" y="0"/>
                          <a:pt x="121362" y="0"/>
                        </a:cubicBezTo>
                        <a:cubicBezTo>
                          <a:pt x="109228" y="0"/>
                          <a:pt x="0" y="1219"/>
                          <a:pt x="0" y="37667"/>
                        </a:cubicBezTo>
                        <a:lnTo>
                          <a:pt x="0" y="38880"/>
                        </a:lnTo>
                        <a:lnTo>
                          <a:pt x="0" y="100841"/>
                        </a:lnTo>
                        <a:lnTo>
                          <a:pt x="0" y="104485"/>
                        </a:lnTo>
                        <a:lnTo>
                          <a:pt x="0" y="172523"/>
                        </a:lnTo>
                        <a:lnTo>
                          <a:pt x="0" y="173742"/>
                        </a:lnTo>
                        <a:lnTo>
                          <a:pt x="1219" y="238135"/>
                        </a:lnTo>
                        <a:cubicBezTo>
                          <a:pt x="1219" y="274583"/>
                          <a:pt x="110440" y="275796"/>
                          <a:pt x="122574" y="275796"/>
                        </a:cubicBezTo>
                        <a:cubicBezTo>
                          <a:pt x="127432" y="275796"/>
                          <a:pt x="145637" y="275796"/>
                          <a:pt x="167480" y="273370"/>
                        </a:cubicBezTo>
                        <a:cubicBezTo>
                          <a:pt x="165054" y="267294"/>
                          <a:pt x="162622" y="260004"/>
                          <a:pt x="161409" y="252714"/>
                        </a:cubicBezTo>
                        <a:cubicBezTo>
                          <a:pt x="148062" y="253927"/>
                          <a:pt x="134709" y="253927"/>
                          <a:pt x="121362" y="253927"/>
                        </a:cubicBezTo>
                        <a:close/>
                        <a:moveTo>
                          <a:pt x="120149" y="20656"/>
                        </a:moveTo>
                        <a:cubicBezTo>
                          <a:pt x="178401" y="20656"/>
                          <a:pt x="212378" y="30377"/>
                          <a:pt x="219661" y="36448"/>
                        </a:cubicBezTo>
                        <a:cubicBezTo>
                          <a:pt x="211165" y="42524"/>
                          <a:pt x="177188" y="52246"/>
                          <a:pt x="120149" y="52246"/>
                        </a:cubicBezTo>
                        <a:cubicBezTo>
                          <a:pt x="63110" y="52246"/>
                          <a:pt x="27913" y="42524"/>
                          <a:pt x="20637" y="36448"/>
                        </a:cubicBezTo>
                        <a:cubicBezTo>
                          <a:pt x="27913" y="30377"/>
                          <a:pt x="61897" y="20656"/>
                          <a:pt x="120149" y="20656"/>
                        </a:cubicBez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07" name="Freeform: Shape 106">
                    <a:extLst>
                      <a:ext uri="{FF2B5EF4-FFF2-40B4-BE49-F238E27FC236}">
                        <a16:creationId xmlns:a16="http://schemas.microsoft.com/office/drawing/2014/main" id="{15C1591B-B188-9D9C-C487-57B63F0B392A}"/>
                      </a:ext>
                    </a:extLst>
                  </p:cNvPr>
                  <p:cNvSpPr/>
                  <p:nvPr/>
                </p:nvSpPr>
                <p:spPr>
                  <a:xfrm>
                    <a:off x="2575393" y="2587977"/>
                    <a:ext cx="138347" cy="226911"/>
                  </a:xfrm>
                  <a:custGeom>
                    <a:avLst/>
                    <a:gdLst>
                      <a:gd name="connsiteX0" fmla="*/ 121355 w 138347"/>
                      <a:gd name="connsiteY0" fmla="*/ 53169 h 226911"/>
                      <a:gd name="connsiteX1" fmla="*/ 100725 w 138347"/>
                      <a:gd name="connsiteY1" fmla="*/ 10644 h 226911"/>
                      <a:gd name="connsiteX2" fmla="*/ 54607 w 138347"/>
                      <a:gd name="connsiteY2" fmla="*/ 2142 h 226911"/>
                      <a:gd name="connsiteX3" fmla="*/ 16992 w 138347"/>
                      <a:gd name="connsiteY3" fmla="*/ 53169 h 226911"/>
                      <a:gd name="connsiteX4" fmla="*/ 16992 w 138347"/>
                      <a:gd name="connsiteY4" fmla="*/ 68967 h 226911"/>
                      <a:gd name="connsiteX5" fmla="*/ 0 w 138347"/>
                      <a:gd name="connsiteY5" fmla="*/ 76256 h 226911"/>
                      <a:gd name="connsiteX6" fmla="*/ 0 w 138347"/>
                      <a:gd name="connsiteY6" fmla="*/ 139430 h 226911"/>
                      <a:gd name="connsiteX7" fmla="*/ 64316 w 138347"/>
                      <a:gd name="connsiteY7" fmla="*/ 224479 h 226911"/>
                      <a:gd name="connsiteX8" fmla="*/ 69174 w 138347"/>
                      <a:gd name="connsiteY8" fmla="*/ 226911 h 226911"/>
                      <a:gd name="connsiteX9" fmla="*/ 74025 w 138347"/>
                      <a:gd name="connsiteY9" fmla="*/ 224479 h 226911"/>
                      <a:gd name="connsiteX10" fmla="*/ 138347 w 138347"/>
                      <a:gd name="connsiteY10" fmla="*/ 139430 h 226911"/>
                      <a:gd name="connsiteX11" fmla="*/ 138347 w 138347"/>
                      <a:gd name="connsiteY11" fmla="*/ 75037 h 226911"/>
                      <a:gd name="connsiteX12" fmla="*/ 121355 w 138347"/>
                      <a:gd name="connsiteY12" fmla="*/ 68967 h 226911"/>
                      <a:gd name="connsiteX13" fmla="*/ 121355 w 138347"/>
                      <a:gd name="connsiteY13" fmla="*/ 53169 h 226911"/>
                      <a:gd name="connsiteX14" fmla="*/ 37622 w 138347"/>
                      <a:gd name="connsiteY14" fmla="*/ 53169 h 226911"/>
                      <a:gd name="connsiteX15" fmla="*/ 60678 w 138347"/>
                      <a:gd name="connsiteY15" fmla="*/ 21579 h 226911"/>
                      <a:gd name="connsiteX16" fmla="*/ 88591 w 138347"/>
                      <a:gd name="connsiteY16" fmla="*/ 26442 h 226911"/>
                      <a:gd name="connsiteX17" fmla="*/ 101938 w 138347"/>
                      <a:gd name="connsiteY17" fmla="*/ 51956 h 226911"/>
                      <a:gd name="connsiteX18" fmla="*/ 101938 w 138347"/>
                      <a:gd name="connsiteY18" fmla="*/ 59245 h 226911"/>
                      <a:gd name="connsiteX19" fmla="*/ 70386 w 138347"/>
                      <a:gd name="connsiteY19" fmla="*/ 45879 h 226911"/>
                      <a:gd name="connsiteX20" fmla="*/ 37622 w 138347"/>
                      <a:gd name="connsiteY20" fmla="*/ 59245 h 226911"/>
                      <a:gd name="connsiteX21" fmla="*/ 37622 w 138347"/>
                      <a:gd name="connsiteY21" fmla="*/ 54580 h 226911"/>
                      <a:gd name="connsiteX22" fmla="*/ 37622 w 138347"/>
                      <a:gd name="connsiteY22" fmla="*/ 53169 h 226911"/>
                      <a:gd name="connsiteX23" fmla="*/ 116504 w 138347"/>
                      <a:gd name="connsiteY23" fmla="*/ 139430 h 226911"/>
                      <a:gd name="connsiteX24" fmla="*/ 67961 w 138347"/>
                      <a:gd name="connsiteY24" fmla="*/ 203823 h 226911"/>
                      <a:gd name="connsiteX25" fmla="*/ 19417 w 138347"/>
                      <a:gd name="connsiteY25" fmla="*/ 139430 h 226911"/>
                      <a:gd name="connsiteX26" fmla="*/ 19417 w 138347"/>
                      <a:gd name="connsiteY26" fmla="*/ 90836 h 226911"/>
                      <a:gd name="connsiteX27" fmla="*/ 67961 w 138347"/>
                      <a:gd name="connsiteY27" fmla="*/ 70180 h 226911"/>
                      <a:gd name="connsiteX28" fmla="*/ 115291 w 138347"/>
                      <a:gd name="connsiteY28" fmla="*/ 90836 h 226911"/>
                      <a:gd name="connsiteX29" fmla="*/ 115291 w 138347"/>
                      <a:gd name="connsiteY29" fmla="*/ 139430 h 226911"/>
                      <a:gd name="connsiteX30" fmla="*/ 116504 w 138347"/>
                      <a:gd name="connsiteY30" fmla="*/ 139430 h 2269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</a:cxnLst>
                    <a:rect l="l" t="t" r="r" b="b"/>
                    <a:pathLst>
                      <a:path w="138347" h="226911">
                        <a:moveTo>
                          <a:pt x="121355" y="53169"/>
                        </a:moveTo>
                        <a:cubicBezTo>
                          <a:pt x="121355" y="37377"/>
                          <a:pt x="112860" y="21579"/>
                          <a:pt x="100725" y="10644"/>
                        </a:cubicBezTo>
                        <a:cubicBezTo>
                          <a:pt x="87378" y="929"/>
                          <a:pt x="70386" y="-2716"/>
                          <a:pt x="54607" y="2142"/>
                        </a:cubicBezTo>
                        <a:cubicBezTo>
                          <a:pt x="32764" y="8219"/>
                          <a:pt x="16992" y="30087"/>
                          <a:pt x="16992" y="53169"/>
                        </a:cubicBezTo>
                        <a:lnTo>
                          <a:pt x="16992" y="68967"/>
                        </a:lnTo>
                        <a:lnTo>
                          <a:pt x="0" y="76256"/>
                        </a:lnTo>
                        <a:lnTo>
                          <a:pt x="0" y="139430"/>
                        </a:lnTo>
                        <a:cubicBezTo>
                          <a:pt x="2426" y="173452"/>
                          <a:pt x="25481" y="205043"/>
                          <a:pt x="64316" y="224479"/>
                        </a:cubicBezTo>
                        <a:lnTo>
                          <a:pt x="69174" y="226911"/>
                        </a:lnTo>
                        <a:lnTo>
                          <a:pt x="74025" y="224479"/>
                        </a:lnTo>
                        <a:cubicBezTo>
                          <a:pt x="112860" y="205043"/>
                          <a:pt x="135922" y="174665"/>
                          <a:pt x="138347" y="139430"/>
                        </a:cubicBezTo>
                        <a:lnTo>
                          <a:pt x="138347" y="75037"/>
                        </a:lnTo>
                        <a:lnTo>
                          <a:pt x="121355" y="68967"/>
                        </a:lnTo>
                        <a:lnTo>
                          <a:pt x="121355" y="53169"/>
                        </a:lnTo>
                        <a:close/>
                        <a:moveTo>
                          <a:pt x="37622" y="53169"/>
                        </a:moveTo>
                        <a:cubicBezTo>
                          <a:pt x="37622" y="38590"/>
                          <a:pt x="47331" y="25230"/>
                          <a:pt x="60678" y="21579"/>
                        </a:cubicBezTo>
                        <a:cubicBezTo>
                          <a:pt x="70386" y="19153"/>
                          <a:pt x="80095" y="20366"/>
                          <a:pt x="88591" y="26442"/>
                        </a:cubicBezTo>
                        <a:cubicBezTo>
                          <a:pt x="97087" y="32519"/>
                          <a:pt x="101938" y="42234"/>
                          <a:pt x="101938" y="51956"/>
                        </a:cubicBezTo>
                        <a:lnTo>
                          <a:pt x="101938" y="59245"/>
                        </a:lnTo>
                        <a:lnTo>
                          <a:pt x="70386" y="45879"/>
                        </a:lnTo>
                        <a:lnTo>
                          <a:pt x="37622" y="59245"/>
                        </a:lnTo>
                        <a:lnTo>
                          <a:pt x="37622" y="54580"/>
                        </a:lnTo>
                        <a:lnTo>
                          <a:pt x="37622" y="53169"/>
                        </a:lnTo>
                        <a:close/>
                        <a:moveTo>
                          <a:pt x="116504" y="139430"/>
                        </a:moveTo>
                        <a:cubicBezTo>
                          <a:pt x="115291" y="164950"/>
                          <a:pt x="97087" y="188031"/>
                          <a:pt x="67961" y="203823"/>
                        </a:cubicBezTo>
                        <a:cubicBezTo>
                          <a:pt x="38835" y="188031"/>
                          <a:pt x="21843" y="164950"/>
                          <a:pt x="19417" y="139430"/>
                        </a:cubicBezTo>
                        <a:lnTo>
                          <a:pt x="19417" y="90836"/>
                        </a:lnTo>
                        <a:lnTo>
                          <a:pt x="67961" y="70180"/>
                        </a:lnTo>
                        <a:lnTo>
                          <a:pt x="115291" y="90836"/>
                        </a:lnTo>
                        <a:lnTo>
                          <a:pt x="115291" y="139430"/>
                        </a:lnTo>
                        <a:lnTo>
                          <a:pt x="116504" y="139430"/>
                        </a:ln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08" name="Freeform: Shape 107">
                    <a:extLst>
                      <a:ext uri="{FF2B5EF4-FFF2-40B4-BE49-F238E27FC236}">
                        <a16:creationId xmlns:a16="http://schemas.microsoft.com/office/drawing/2014/main" id="{0854C24D-EA17-51B3-F4D7-019ACCF62725}"/>
                      </a:ext>
                    </a:extLst>
                  </p:cNvPr>
                  <p:cNvSpPr/>
                  <p:nvPr/>
                </p:nvSpPr>
                <p:spPr>
                  <a:xfrm>
                    <a:off x="2627574" y="2701894"/>
                    <a:ext cx="31551" cy="49807"/>
                  </a:xfrm>
                  <a:custGeom>
                    <a:avLst/>
                    <a:gdLst>
                      <a:gd name="connsiteX0" fmla="*/ 0 w 31551"/>
                      <a:gd name="connsiteY0" fmla="*/ 15792 h 49807"/>
                      <a:gd name="connsiteX1" fmla="*/ 8496 w 31551"/>
                      <a:gd name="connsiteY1" fmla="*/ 29158 h 49807"/>
                      <a:gd name="connsiteX2" fmla="*/ 4851 w 31551"/>
                      <a:gd name="connsiteY2" fmla="*/ 49808 h 49807"/>
                      <a:gd name="connsiteX3" fmla="*/ 25488 w 31551"/>
                      <a:gd name="connsiteY3" fmla="*/ 49808 h 49807"/>
                      <a:gd name="connsiteX4" fmla="*/ 23056 w 31551"/>
                      <a:gd name="connsiteY4" fmla="*/ 29158 h 49807"/>
                      <a:gd name="connsiteX5" fmla="*/ 31552 w 31551"/>
                      <a:gd name="connsiteY5" fmla="*/ 15792 h 49807"/>
                      <a:gd name="connsiteX6" fmla="*/ 15779 w 31551"/>
                      <a:gd name="connsiteY6" fmla="*/ 0 h 49807"/>
                      <a:gd name="connsiteX7" fmla="*/ 0 w 31551"/>
                      <a:gd name="connsiteY7" fmla="*/ 15792 h 4980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1551" h="49807">
                        <a:moveTo>
                          <a:pt x="0" y="15792"/>
                        </a:moveTo>
                        <a:cubicBezTo>
                          <a:pt x="0" y="21869"/>
                          <a:pt x="3638" y="26726"/>
                          <a:pt x="8496" y="29158"/>
                        </a:cubicBezTo>
                        <a:lnTo>
                          <a:pt x="4851" y="49808"/>
                        </a:lnTo>
                        <a:lnTo>
                          <a:pt x="25488" y="49808"/>
                        </a:lnTo>
                        <a:lnTo>
                          <a:pt x="23056" y="29158"/>
                        </a:lnTo>
                        <a:cubicBezTo>
                          <a:pt x="27913" y="26726"/>
                          <a:pt x="31552" y="21869"/>
                          <a:pt x="31552" y="15792"/>
                        </a:cubicBezTo>
                        <a:cubicBezTo>
                          <a:pt x="31552" y="7290"/>
                          <a:pt x="24269" y="0"/>
                          <a:pt x="15779" y="0"/>
                        </a:cubicBezTo>
                        <a:cubicBezTo>
                          <a:pt x="7283" y="0"/>
                          <a:pt x="0" y="7290"/>
                          <a:pt x="0" y="15792"/>
                        </a:cubicBez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</p:grpSp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0654FB79-AAA0-376D-03CB-68753295E684}"/>
                  </a:ext>
                </a:extLst>
              </p:cNvPr>
              <p:cNvSpPr txBox="1"/>
              <p:nvPr/>
            </p:nvSpPr>
            <p:spPr>
              <a:xfrm>
                <a:off x="2212206" y="2785332"/>
                <a:ext cx="772969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Data Safe</a:t>
                </a:r>
              </a:p>
            </p:txBody>
          </p:sp>
        </p:grpSp>
        <p:grpSp>
          <p:nvGrpSpPr>
            <p:cNvPr id="111" name="Graphic 3">
              <a:extLst>
                <a:ext uri="{FF2B5EF4-FFF2-40B4-BE49-F238E27FC236}">
                  <a16:creationId xmlns:a16="http://schemas.microsoft.com/office/drawing/2014/main" id="{507658FD-8693-9A14-0168-5BDBC85C9FF4}"/>
                </a:ext>
              </a:extLst>
            </p:cNvPr>
            <p:cNvGrpSpPr/>
            <p:nvPr/>
          </p:nvGrpSpPr>
          <p:grpSpPr>
            <a:xfrm>
              <a:off x="8405140" y="2300583"/>
              <a:ext cx="888833" cy="771627"/>
              <a:chOff x="4403510" y="3005642"/>
              <a:chExt cx="888833" cy="771627"/>
            </a:xfrm>
          </p:grpSpPr>
          <p:grpSp>
            <p:nvGrpSpPr>
              <p:cNvPr id="112" name="Graphic 3">
                <a:extLst>
                  <a:ext uri="{FF2B5EF4-FFF2-40B4-BE49-F238E27FC236}">
                    <a16:creationId xmlns:a16="http://schemas.microsoft.com/office/drawing/2014/main" id="{B4094996-1D4B-A2C2-61B4-9524B8D4C099}"/>
                  </a:ext>
                </a:extLst>
              </p:cNvPr>
              <p:cNvGrpSpPr/>
              <p:nvPr/>
            </p:nvGrpSpPr>
            <p:grpSpPr>
              <a:xfrm>
                <a:off x="4581875" y="3005642"/>
                <a:ext cx="492916" cy="513347"/>
                <a:chOff x="4581875" y="3005642"/>
                <a:chExt cx="492916" cy="513347"/>
              </a:xfrm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A3C3876B-2730-7854-B85D-C963AB078241}"/>
                    </a:ext>
                  </a:extLst>
                </p:cNvPr>
                <p:cNvSpPr/>
                <p:nvPr/>
              </p:nvSpPr>
              <p:spPr>
                <a:xfrm>
                  <a:off x="4836008" y="3353178"/>
                  <a:ext cx="124011" cy="141189"/>
                </a:xfrm>
                <a:custGeom>
                  <a:avLst/>
                  <a:gdLst>
                    <a:gd name="connsiteX0" fmla="*/ 109651 w 124011"/>
                    <a:gd name="connsiteY0" fmla="*/ 22568 h 141189"/>
                    <a:gd name="connsiteX1" fmla="*/ 73742 w 124011"/>
                    <a:gd name="connsiteY1" fmla="*/ 108875 h 141189"/>
                    <a:gd name="connsiteX2" fmla="*/ 61557 w 124011"/>
                    <a:gd name="connsiteY2" fmla="*/ 91562 h 141189"/>
                    <a:gd name="connsiteX3" fmla="*/ 89900 w 124011"/>
                    <a:gd name="connsiteY3" fmla="*/ 23595 h 141189"/>
                    <a:gd name="connsiteX4" fmla="*/ 75411 w 124011"/>
                    <a:gd name="connsiteY4" fmla="*/ 17569 h 141189"/>
                    <a:gd name="connsiteX5" fmla="*/ 47453 w 124011"/>
                    <a:gd name="connsiteY5" fmla="*/ 85023 h 141189"/>
                    <a:gd name="connsiteX6" fmla="*/ 25398 w 124011"/>
                    <a:gd name="connsiteY6" fmla="*/ 88739 h 141189"/>
                    <a:gd name="connsiteX7" fmla="*/ 59766 w 124011"/>
                    <a:gd name="connsiteY7" fmla="*/ 6025 h 141189"/>
                    <a:gd name="connsiteX8" fmla="*/ 45271 w 124011"/>
                    <a:gd name="connsiteY8" fmla="*/ 0 h 141189"/>
                    <a:gd name="connsiteX9" fmla="*/ 0 w 124011"/>
                    <a:gd name="connsiteY9" fmla="*/ 109003 h 141189"/>
                    <a:gd name="connsiteX10" fmla="*/ 48864 w 124011"/>
                    <a:gd name="connsiteY10" fmla="*/ 100668 h 141189"/>
                    <a:gd name="connsiteX11" fmla="*/ 77329 w 124011"/>
                    <a:gd name="connsiteY11" fmla="*/ 141190 h 141189"/>
                    <a:gd name="connsiteX12" fmla="*/ 124012 w 124011"/>
                    <a:gd name="connsiteY12" fmla="*/ 28594 h 141189"/>
                    <a:gd name="connsiteX13" fmla="*/ 109651 w 124011"/>
                    <a:gd name="connsiteY13" fmla="*/ 22568 h 1411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24011" h="141189">
                      <a:moveTo>
                        <a:pt x="109651" y="22568"/>
                      </a:moveTo>
                      <a:lnTo>
                        <a:pt x="73742" y="108875"/>
                      </a:lnTo>
                      <a:lnTo>
                        <a:pt x="61557" y="91562"/>
                      </a:lnTo>
                      <a:lnTo>
                        <a:pt x="89900" y="23595"/>
                      </a:lnTo>
                      <a:lnTo>
                        <a:pt x="75411" y="17569"/>
                      </a:lnTo>
                      <a:lnTo>
                        <a:pt x="47453" y="85023"/>
                      </a:lnTo>
                      <a:lnTo>
                        <a:pt x="25398" y="88739"/>
                      </a:lnTo>
                      <a:lnTo>
                        <a:pt x="59766" y="6025"/>
                      </a:lnTo>
                      <a:lnTo>
                        <a:pt x="45271" y="0"/>
                      </a:lnTo>
                      <a:lnTo>
                        <a:pt x="0" y="109003"/>
                      </a:lnTo>
                      <a:lnTo>
                        <a:pt x="48864" y="100668"/>
                      </a:lnTo>
                      <a:lnTo>
                        <a:pt x="77329" y="141190"/>
                      </a:lnTo>
                      <a:lnTo>
                        <a:pt x="124012" y="28594"/>
                      </a:lnTo>
                      <a:lnTo>
                        <a:pt x="109651" y="22568"/>
                      </a:lnTo>
                      <a:close/>
                    </a:path>
                  </a:pathLst>
                </a:custGeom>
                <a:solidFill>
                  <a:srgbClr val="2C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CD67DB2E-4B5E-F176-2EE7-EB6A32DB8272}"/>
                    </a:ext>
                  </a:extLst>
                </p:cNvPr>
                <p:cNvSpPr/>
                <p:nvPr/>
              </p:nvSpPr>
              <p:spPr>
                <a:xfrm>
                  <a:off x="4951941" y="3353178"/>
                  <a:ext cx="103875" cy="141189"/>
                </a:xfrm>
                <a:custGeom>
                  <a:avLst/>
                  <a:gdLst>
                    <a:gd name="connsiteX0" fmla="*/ 58605 w 103875"/>
                    <a:gd name="connsiteY0" fmla="*/ 0 h 141189"/>
                    <a:gd name="connsiteX1" fmla="*/ 44116 w 103875"/>
                    <a:gd name="connsiteY1" fmla="*/ 6025 h 141189"/>
                    <a:gd name="connsiteX2" fmla="*/ 78484 w 103875"/>
                    <a:gd name="connsiteY2" fmla="*/ 88739 h 141189"/>
                    <a:gd name="connsiteX3" fmla="*/ 56423 w 103875"/>
                    <a:gd name="connsiteY3" fmla="*/ 85023 h 141189"/>
                    <a:gd name="connsiteX4" fmla="*/ 28215 w 103875"/>
                    <a:gd name="connsiteY4" fmla="*/ 16414 h 141189"/>
                    <a:gd name="connsiteX5" fmla="*/ 13719 w 103875"/>
                    <a:gd name="connsiteY5" fmla="*/ 22311 h 141189"/>
                    <a:gd name="connsiteX6" fmla="*/ 42319 w 103875"/>
                    <a:gd name="connsiteY6" fmla="*/ 91562 h 141189"/>
                    <a:gd name="connsiteX7" fmla="*/ 30140 w 103875"/>
                    <a:gd name="connsiteY7" fmla="*/ 108875 h 141189"/>
                    <a:gd name="connsiteX8" fmla="*/ 8464 w 103875"/>
                    <a:gd name="connsiteY8" fmla="*/ 56680 h 141189"/>
                    <a:gd name="connsiteX9" fmla="*/ 0 w 103875"/>
                    <a:gd name="connsiteY9" fmla="*/ 77073 h 141189"/>
                    <a:gd name="connsiteX10" fmla="*/ 26546 w 103875"/>
                    <a:gd name="connsiteY10" fmla="*/ 141190 h 141189"/>
                    <a:gd name="connsiteX11" fmla="*/ 55018 w 103875"/>
                    <a:gd name="connsiteY11" fmla="*/ 100668 h 141189"/>
                    <a:gd name="connsiteX12" fmla="*/ 103876 w 103875"/>
                    <a:gd name="connsiteY12" fmla="*/ 109003 h 141189"/>
                    <a:gd name="connsiteX13" fmla="*/ 58605 w 103875"/>
                    <a:gd name="connsiteY13" fmla="*/ 0 h 1411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03875" h="141189">
                      <a:moveTo>
                        <a:pt x="58605" y="0"/>
                      </a:moveTo>
                      <a:lnTo>
                        <a:pt x="44116" y="6025"/>
                      </a:lnTo>
                      <a:lnTo>
                        <a:pt x="78484" y="88739"/>
                      </a:lnTo>
                      <a:lnTo>
                        <a:pt x="56423" y="85023"/>
                      </a:lnTo>
                      <a:lnTo>
                        <a:pt x="28215" y="16414"/>
                      </a:lnTo>
                      <a:lnTo>
                        <a:pt x="13719" y="22311"/>
                      </a:lnTo>
                      <a:lnTo>
                        <a:pt x="42319" y="91562"/>
                      </a:lnTo>
                      <a:lnTo>
                        <a:pt x="30140" y="108875"/>
                      </a:lnTo>
                      <a:lnTo>
                        <a:pt x="8464" y="56680"/>
                      </a:lnTo>
                      <a:lnTo>
                        <a:pt x="0" y="77073"/>
                      </a:lnTo>
                      <a:lnTo>
                        <a:pt x="26546" y="141190"/>
                      </a:lnTo>
                      <a:lnTo>
                        <a:pt x="55018" y="100668"/>
                      </a:lnTo>
                      <a:lnTo>
                        <a:pt x="103876" y="109003"/>
                      </a:lnTo>
                      <a:lnTo>
                        <a:pt x="58605" y="0"/>
                      </a:lnTo>
                      <a:close/>
                    </a:path>
                  </a:pathLst>
                </a:custGeom>
                <a:solidFill>
                  <a:srgbClr val="2C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826E0291-1B3E-235E-BE3A-905B4AA6910A}"/>
                    </a:ext>
                  </a:extLst>
                </p:cNvPr>
                <p:cNvSpPr/>
                <p:nvPr/>
              </p:nvSpPr>
              <p:spPr>
                <a:xfrm>
                  <a:off x="4581875" y="3005642"/>
                  <a:ext cx="492916" cy="513347"/>
                </a:xfrm>
                <a:custGeom>
                  <a:avLst/>
                  <a:gdLst>
                    <a:gd name="connsiteX0" fmla="*/ 484709 w 492916"/>
                    <a:gd name="connsiteY0" fmla="*/ 452048 h 513347"/>
                    <a:gd name="connsiteX1" fmla="*/ 444700 w 492916"/>
                    <a:gd name="connsiteY1" fmla="*/ 355609 h 513347"/>
                    <a:gd name="connsiteX2" fmla="*/ 470349 w 492916"/>
                    <a:gd name="connsiteY2" fmla="*/ 287494 h 513347"/>
                    <a:gd name="connsiteX3" fmla="*/ 445984 w 492916"/>
                    <a:gd name="connsiteY3" fmla="*/ 218904 h 513347"/>
                    <a:gd name="connsiteX4" fmla="*/ 406405 w 492916"/>
                    <a:gd name="connsiteY4" fmla="*/ 96118 h 513347"/>
                    <a:gd name="connsiteX5" fmla="*/ 305449 w 492916"/>
                    <a:gd name="connsiteY5" fmla="*/ 15799 h 513347"/>
                    <a:gd name="connsiteX6" fmla="*/ 176913 w 492916"/>
                    <a:gd name="connsiteY6" fmla="*/ 4819 h 513347"/>
                    <a:gd name="connsiteX7" fmla="*/ 63797 w 492916"/>
                    <a:gd name="connsiteY7" fmla="*/ 66851 h 513347"/>
                    <a:gd name="connsiteX8" fmla="*/ 3966 w 492916"/>
                    <a:gd name="connsiteY8" fmla="*/ 181148 h 513347"/>
                    <a:gd name="connsiteX9" fmla="*/ 17435 w 492916"/>
                    <a:gd name="connsiteY9" fmla="*/ 309452 h 513347"/>
                    <a:gd name="connsiteX10" fmla="*/ 99699 w 492916"/>
                    <a:gd name="connsiteY10" fmla="*/ 408830 h 513347"/>
                    <a:gd name="connsiteX11" fmla="*/ 223230 w 492916"/>
                    <a:gd name="connsiteY11" fmla="*/ 446022 h 513347"/>
                    <a:gd name="connsiteX12" fmla="*/ 246439 w 492916"/>
                    <a:gd name="connsiteY12" fmla="*/ 444867 h 513347"/>
                    <a:gd name="connsiteX13" fmla="*/ 243366 w 492916"/>
                    <a:gd name="connsiteY13" fmla="*/ 452048 h 513347"/>
                    <a:gd name="connsiteX14" fmla="*/ 235158 w 492916"/>
                    <a:gd name="connsiteY14" fmla="*/ 471799 h 513347"/>
                    <a:gd name="connsiteX15" fmla="*/ 256571 w 492916"/>
                    <a:gd name="connsiteY15" fmla="*/ 468077 h 513347"/>
                    <a:gd name="connsiteX16" fmla="*/ 297607 w 492916"/>
                    <a:gd name="connsiteY16" fmla="*/ 461538 h 513347"/>
                    <a:gd name="connsiteX17" fmla="*/ 321843 w 492916"/>
                    <a:gd name="connsiteY17" fmla="*/ 495907 h 513347"/>
                    <a:gd name="connsiteX18" fmla="*/ 334671 w 492916"/>
                    <a:gd name="connsiteY18" fmla="*/ 513348 h 513347"/>
                    <a:gd name="connsiteX19" fmla="*/ 342750 w 492916"/>
                    <a:gd name="connsiteY19" fmla="*/ 493725 h 513347"/>
                    <a:gd name="connsiteX20" fmla="*/ 364547 w 492916"/>
                    <a:gd name="connsiteY20" fmla="*/ 441274 h 513347"/>
                    <a:gd name="connsiteX21" fmla="*/ 386352 w 492916"/>
                    <a:gd name="connsiteY21" fmla="*/ 493725 h 513347"/>
                    <a:gd name="connsiteX22" fmla="*/ 393917 w 492916"/>
                    <a:gd name="connsiteY22" fmla="*/ 512834 h 513347"/>
                    <a:gd name="connsiteX23" fmla="*/ 406745 w 492916"/>
                    <a:gd name="connsiteY23" fmla="*/ 495393 h 513347"/>
                    <a:gd name="connsiteX24" fmla="*/ 430468 w 492916"/>
                    <a:gd name="connsiteY24" fmla="*/ 461538 h 513347"/>
                    <a:gd name="connsiteX25" fmla="*/ 471888 w 492916"/>
                    <a:gd name="connsiteY25" fmla="*/ 468590 h 513347"/>
                    <a:gd name="connsiteX26" fmla="*/ 492916 w 492916"/>
                    <a:gd name="connsiteY26" fmla="*/ 472312 h 513347"/>
                    <a:gd name="connsiteX27" fmla="*/ 484709 w 492916"/>
                    <a:gd name="connsiteY27" fmla="*/ 452048 h 5133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492916" h="513347">
                      <a:moveTo>
                        <a:pt x="484709" y="452048"/>
                      </a:moveTo>
                      <a:lnTo>
                        <a:pt x="444700" y="355609"/>
                      </a:lnTo>
                      <a:cubicBezTo>
                        <a:pt x="461025" y="336647"/>
                        <a:pt x="470111" y="312513"/>
                        <a:pt x="470349" y="287494"/>
                      </a:cubicBezTo>
                      <a:cubicBezTo>
                        <a:pt x="470580" y="262468"/>
                        <a:pt x="461949" y="238174"/>
                        <a:pt x="445984" y="218904"/>
                      </a:cubicBezTo>
                      <a:cubicBezTo>
                        <a:pt x="445175" y="174975"/>
                        <a:pt x="431404" y="132258"/>
                        <a:pt x="406405" y="96118"/>
                      </a:cubicBezTo>
                      <a:cubicBezTo>
                        <a:pt x="381398" y="59985"/>
                        <a:pt x="346279" y="32040"/>
                        <a:pt x="305449" y="15799"/>
                      </a:cubicBezTo>
                      <a:cubicBezTo>
                        <a:pt x="264618" y="-449"/>
                        <a:pt x="219906" y="-4267"/>
                        <a:pt x="176913" y="4819"/>
                      </a:cubicBezTo>
                      <a:cubicBezTo>
                        <a:pt x="133920" y="13899"/>
                        <a:pt x="94565" y="35485"/>
                        <a:pt x="63797" y="66851"/>
                      </a:cubicBezTo>
                      <a:cubicBezTo>
                        <a:pt x="33028" y="98223"/>
                        <a:pt x="12212" y="137988"/>
                        <a:pt x="3966" y="181148"/>
                      </a:cubicBezTo>
                      <a:cubicBezTo>
                        <a:pt x="-4286" y="224308"/>
                        <a:pt x="404" y="268943"/>
                        <a:pt x="17435" y="309452"/>
                      </a:cubicBezTo>
                      <a:cubicBezTo>
                        <a:pt x="34465" y="349956"/>
                        <a:pt x="63084" y="384530"/>
                        <a:pt x="99699" y="408830"/>
                      </a:cubicBezTo>
                      <a:cubicBezTo>
                        <a:pt x="136313" y="433124"/>
                        <a:pt x="179287" y="446067"/>
                        <a:pt x="223230" y="446022"/>
                      </a:cubicBezTo>
                      <a:cubicBezTo>
                        <a:pt x="231052" y="446022"/>
                        <a:pt x="238745" y="446022"/>
                        <a:pt x="246439" y="444867"/>
                      </a:cubicBezTo>
                      <a:lnTo>
                        <a:pt x="243366" y="452048"/>
                      </a:lnTo>
                      <a:lnTo>
                        <a:pt x="235158" y="471799"/>
                      </a:lnTo>
                      <a:lnTo>
                        <a:pt x="256571" y="468077"/>
                      </a:lnTo>
                      <a:lnTo>
                        <a:pt x="297607" y="461538"/>
                      </a:lnTo>
                      <a:lnTo>
                        <a:pt x="321843" y="495907"/>
                      </a:lnTo>
                      <a:lnTo>
                        <a:pt x="334671" y="513348"/>
                      </a:lnTo>
                      <a:lnTo>
                        <a:pt x="342750" y="493725"/>
                      </a:lnTo>
                      <a:lnTo>
                        <a:pt x="364547" y="441274"/>
                      </a:lnTo>
                      <a:lnTo>
                        <a:pt x="386352" y="493725"/>
                      </a:lnTo>
                      <a:lnTo>
                        <a:pt x="393917" y="512834"/>
                      </a:lnTo>
                      <a:lnTo>
                        <a:pt x="406745" y="495393"/>
                      </a:lnTo>
                      <a:lnTo>
                        <a:pt x="430468" y="461538"/>
                      </a:lnTo>
                      <a:lnTo>
                        <a:pt x="471888" y="468590"/>
                      </a:lnTo>
                      <a:lnTo>
                        <a:pt x="492916" y="472312"/>
                      </a:lnTo>
                      <a:lnTo>
                        <a:pt x="484709" y="45204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EB588A06-4E92-73DB-44E5-EE4B071034C7}"/>
                    </a:ext>
                  </a:extLst>
                </p:cNvPr>
                <p:cNvSpPr/>
                <p:nvPr/>
              </p:nvSpPr>
              <p:spPr>
                <a:xfrm>
                  <a:off x="4593859" y="3017312"/>
                  <a:ext cx="422070" cy="422679"/>
                </a:xfrm>
                <a:custGeom>
                  <a:avLst/>
                  <a:gdLst>
                    <a:gd name="connsiteX0" fmla="*/ 246641 w 422070"/>
                    <a:gd name="connsiteY0" fmla="*/ 403705 h 422679"/>
                    <a:gd name="connsiteX1" fmla="*/ 218939 w 422070"/>
                    <a:gd name="connsiteY1" fmla="*/ 406779 h 422679"/>
                    <a:gd name="connsiteX2" fmla="*/ 218939 w 422070"/>
                    <a:gd name="connsiteY2" fmla="*/ 219035 h 422679"/>
                    <a:gd name="connsiteX3" fmla="*/ 261771 w 422070"/>
                    <a:gd name="connsiteY3" fmla="*/ 219035 h 422679"/>
                    <a:gd name="connsiteX4" fmla="*/ 273572 w 422070"/>
                    <a:gd name="connsiteY4" fmla="*/ 203519 h 422679"/>
                    <a:gd name="connsiteX5" fmla="*/ 218939 w 422070"/>
                    <a:gd name="connsiteY5" fmla="*/ 203519 h 422679"/>
                    <a:gd name="connsiteX6" fmla="*/ 218939 w 422070"/>
                    <a:gd name="connsiteY6" fmla="*/ 15775 h 422679"/>
                    <a:gd name="connsiteX7" fmla="*/ 275497 w 422070"/>
                    <a:gd name="connsiteY7" fmla="*/ 26677 h 422679"/>
                    <a:gd name="connsiteX8" fmla="*/ 314608 w 422070"/>
                    <a:gd name="connsiteY8" fmla="*/ 175433 h 422679"/>
                    <a:gd name="connsiteX9" fmla="*/ 329867 w 422070"/>
                    <a:gd name="connsiteY9" fmla="*/ 170947 h 422679"/>
                    <a:gd name="connsiteX10" fmla="*/ 295884 w 422070"/>
                    <a:gd name="connsiteY10" fmla="*/ 34628 h 422679"/>
                    <a:gd name="connsiteX11" fmla="*/ 368843 w 422070"/>
                    <a:gd name="connsiteY11" fmla="*/ 94978 h 422679"/>
                    <a:gd name="connsiteX12" fmla="*/ 405015 w 422070"/>
                    <a:gd name="connsiteY12" fmla="*/ 182485 h 422679"/>
                    <a:gd name="connsiteX13" fmla="*/ 422071 w 422070"/>
                    <a:gd name="connsiteY13" fmla="*/ 195312 h 422679"/>
                    <a:gd name="connsiteX14" fmla="*/ 378892 w 422070"/>
                    <a:gd name="connsiteY14" fmla="*/ 82530 h 422679"/>
                    <a:gd name="connsiteX15" fmla="*/ 280997 w 422070"/>
                    <a:gd name="connsiteY15" fmla="*/ 11809 h 422679"/>
                    <a:gd name="connsiteX16" fmla="*/ 160360 w 422070"/>
                    <a:gd name="connsiteY16" fmla="*/ 6240 h 422679"/>
                    <a:gd name="connsiteX17" fmla="*/ 56368 w 422070"/>
                    <a:gd name="connsiteY17" fmla="*/ 67642 h 422679"/>
                    <a:gd name="connsiteX18" fmla="*/ 2980 w 422070"/>
                    <a:gd name="connsiteY18" fmla="*/ 175971 h 422679"/>
                    <a:gd name="connsiteX19" fmla="*/ 17630 w 422070"/>
                    <a:gd name="connsiteY19" fmla="*/ 295845 h 422679"/>
                    <a:gd name="connsiteX20" fmla="*/ 95530 w 422070"/>
                    <a:gd name="connsiteY20" fmla="*/ 388125 h 422679"/>
                    <a:gd name="connsiteX21" fmla="*/ 211246 w 422070"/>
                    <a:gd name="connsiteY21" fmla="*/ 422680 h 422679"/>
                    <a:gd name="connsiteX22" fmla="*/ 239589 w 422070"/>
                    <a:gd name="connsiteY22" fmla="*/ 420505 h 422679"/>
                    <a:gd name="connsiteX23" fmla="*/ 246641 w 422070"/>
                    <a:gd name="connsiteY23" fmla="*/ 403705 h 422679"/>
                    <a:gd name="connsiteX24" fmla="*/ 130072 w 422070"/>
                    <a:gd name="connsiteY24" fmla="*/ 33216 h 422679"/>
                    <a:gd name="connsiteX25" fmla="*/ 93137 w 422070"/>
                    <a:gd name="connsiteY25" fmla="*/ 203519 h 422679"/>
                    <a:gd name="connsiteX26" fmla="*/ 16193 w 422070"/>
                    <a:gd name="connsiteY26" fmla="*/ 203519 h 422679"/>
                    <a:gd name="connsiteX27" fmla="*/ 49117 w 422070"/>
                    <a:gd name="connsiteY27" fmla="*/ 102313 h 422679"/>
                    <a:gd name="connsiteX28" fmla="*/ 130072 w 422070"/>
                    <a:gd name="connsiteY28" fmla="*/ 33216 h 422679"/>
                    <a:gd name="connsiteX29" fmla="*/ 15679 w 422070"/>
                    <a:gd name="connsiteY29" fmla="*/ 219035 h 422679"/>
                    <a:gd name="connsiteX30" fmla="*/ 92624 w 422070"/>
                    <a:gd name="connsiteY30" fmla="*/ 219035 h 422679"/>
                    <a:gd name="connsiteX31" fmla="*/ 129687 w 422070"/>
                    <a:gd name="connsiteY31" fmla="*/ 389466 h 422679"/>
                    <a:gd name="connsiteX32" fmla="*/ 48610 w 422070"/>
                    <a:gd name="connsiteY32" fmla="*/ 320357 h 422679"/>
                    <a:gd name="connsiteX33" fmla="*/ 15679 w 422070"/>
                    <a:gd name="connsiteY33" fmla="*/ 219035 h 422679"/>
                    <a:gd name="connsiteX34" fmla="*/ 203423 w 422070"/>
                    <a:gd name="connsiteY34" fmla="*/ 406779 h 422679"/>
                    <a:gd name="connsiteX35" fmla="*/ 149945 w 422070"/>
                    <a:gd name="connsiteY35" fmla="*/ 397160 h 422679"/>
                    <a:gd name="connsiteX36" fmla="*/ 108653 w 422070"/>
                    <a:gd name="connsiteY36" fmla="*/ 219035 h 422679"/>
                    <a:gd name="connsiteX37" fmla="*/ 203423 w 422070"/>
                    <a:gd name="connsiteY37" fmla="*/ 219035 h 422679"/>
                    <a:gd name="connsiteX38" fmla="*/ 203423 w 422070"/>
                    <a:gd name="connsiteY38" fmla="*/ 406779 h 422679"/>
                    <a:gd name="connsiteX39" fmla="*/ 203423 w 422070"/>
                    <a:gd name="connsiteY39" fmla="*/ 203519 h 422679"/>
                    <a:gd name="connsiteX40" fmla="*/ 108653 w 422070"/>
                    <a:gd name="connsiteY40" fmla="*/ 203519 h 422679"/>
                    <a:gd name="connsiteX41" fmla="*/ 149945 w 422070"/>
                    <a:gd name="connsiteY41" fmla="*/ 25394 h 422679"/>
                    <a:gd name="connsiteX42" fmla="*/ 169311 w 422070"/>
                    <a:gd name="connsiteY42" fmla="*/ 20132 h 422679"/>
                    <a:gd name="connsiteX43" fmla="*/ 196371 w 422070"/>
                    <a:gd name="connsiteY43" fmla="*/ 16160 h 422679"/>
                    <a:gd name="connsiteX44" fmla="*/ 203423 w 422070"/>
                    <a:gd name="connsiteY44" fmla="*/ 16160 h 422679"/>
                    <a:gd name="connsiteX45" fmla="*/ 203423 w 422070"/>
                    <a:gd name="connsiteY45" fmla="*/ 203519 h 4226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</a:cxnLst>
                  <a:rect l="l" t="t" r="r" b="b"/>
                  <a:pathLst>
                    <a:path w="422070" h="422679">
                      <a:moveTo>
                        <a:pt x="246641" y="403705"/>
                      </a:moveTo>
                      <a:cubicBezTo>
                        <a:pt x="237490" y="405380"/>
                        <a:pt x="228237" y="406413"/>
                        <a:pt x="218939" y="406779"/>
                      </a:cubicBezTo>
                      <a:lnTo>
                        <a:pt x="218939" y="219035"/>
                      </a:lnTo>
                      <a:lnTo>
                        <a:pt x="261771" y="219035"/>
                      </a:lnTo>
                      <a:cubicBezTo>
                        <a:pt x="265230" y="213517"/>
                        <a:pt x="269176" y="208325"/>
                        <a:pt x="273572" y="203519"/>
                      </a:cubicBezTo>
                      <a:lnTo>
                        <a:pt x="218939" y="203519"/>
                      </a:lnTo>
                      <a:lnTo>
                        <a:pt x="218939" y="15775"/>
                      </a:lnTo>
                      <a:cubicBezTo>
                        <a:pt x="238222" y="16609"/>
                        <a:pt x="257280" y="20286"/>
                        <a:pt x="275497" y="26677"/>
                      </a:cubicBezTo>
                      <a:cubicBezTo>
                        <a:pt x="295704" y="74091"/>
                        <a:pt x="308878" y="124207"/>
                        <a:pt x="314608" y="175433"/>
                      </a:cubicBezTo>
                      <a:cubicBezTo>
                        <a:pt x="319574" y="173552"/>
                        <a:pt x="324676" y="172051"/>
                        <a:pt x="329867" y="170947"/>
                      </a:cubicBezTo>
                      <a:cubicBezTo>
                        <a:pt x="324561" y="124213"/>
                        <a:pt x="313138" y="78384"/>
                        <a:pt x="295884" y="34628"/>
                      </a:cubicBezTo>
                      <a:cubicBezTo>
                        <a:pt x="324772" y="48482"/>
                        <a:pt x="349823" y="69202"/>
                        <a:pt x="368843" y="94978"/>
                      </a:cubicBezTo>
                      <a:cubicBezTo>
                        <a:pt x="387869" y="120755"/>
                        <a:pt x="400292" y="150798"/>
                        <a:pt x="405015" y="182485"/>
                      </a:cubicBezTo>
                      <a:cubicBezTo>
                        <a:pt x="411143" y="186142"/>
                        <a:pt x="416860" y="190442"/>
                        <a:pt x="422071" y="195312"/>
                      </a:cubicBezTo>
                      <a:cubicBezTo>
                        <a:pt x="418952" y="154315"/>
                        <a:pt x="403949" y="115121"/>
                        <a:pt x="378892" y="82530"/>
                      </a:cubicBezTo>
                      <a:cubicBezTo>
                        <a:pt x="353834" y="49938"/>
                        <a:pt x="319812" y="25362"/>
                        <a:pt x="280997" y="11809"/>
                      </a:cubicBezTo>
                      <a:cubicBezTo>
                        <a:pt x="242181" y="-1743"/>
                        <a:pt x="200260" y="-3674"/>
                        <a:pt x="160360" y="6240"/>
                      </a:cubicBezTo>
                      <a:cubicBezTo>
                        <a:pt x="120460" y="16160"/>
                        <a:pt x="84320" y="37496"/>
                        <a:pt x="56368" y="67642"/>
                      </a:cubicBezTo>
                      <a:cubicBezTo>
                        <a:pt x="28417" y="97795"/>
                        <a:pt x="9865" y="135436"/>
                        <a:pt x="2980" y="175971"/>
                      </a:cubicBezTo>
                      <a:cubicBezTo>
                        <a:pt x="-3898" y="216500"/>
                        <a:pt x="1190" y="258158"/>
                        <a:pt x="17630" y="295845"/>
                      </a:cubicBezTo>
                      <a:cubicBezTo>
                        <a:pt x="34070" y="333524"/>
                        <a:pt x="61143" y="365596"/>
                        <a:pt x="95530" y="388125"/>
                      </a:cubicBezTo>
                      <a:cubicBezTo>
                        <a:pt x="129918" y="410655"/>
                        <a:pt x="170133" y="422661"/>
                        <a:pt x="211246" y="422680"/>
                      </a:cubicBezTo>
                      <a:cubicBezTo>
                        <a:pt x="220729" y="422609"/>
                        <a:pt x="230201" y="421878"/>
                        <a:pt x="239589" y="420505"/>
                      </a:cubicBezTo>
                      <a:lnTo>
                        <a:pt x="246641" y="403705"/>
                      </a:lnTo>
                      <a:close/>
                      <a:moveTo>
                        <a:pt x="130072" y="33216"/>
                      </a:moveTo>
                      <a:cubicBezTo>
                        <a:pt x="107697" y="87323"/>
                        <a:pt x="95191" y="145004"/>
                        <a:pt x="93137" y="203519"/>
                      </a:cubicBezTo>
                      <a:lnTo>
                        <a:pt x="16193" y="203519"/>
                      </a:lnTo>
                      <a:cubicBezTo>
                        <a:pt x="17630" y="167392"/>
                        <a:pt x="29020" y="132369"/>
                        <a:pt x="49117" y="102313"/>
                      </a:cubicBezTo>
                      <a:cubicBezTo>
                        <a:pt x="69215" y="72256"/>
                        <a:pt x="97231" y="48347"/>
                        <a:pt x="130072" y="33216"/>
                      </a:cubicBezTo>
                      <a:close/>
                      <a:moveTo>
                        <a:pt x="15679" y="219035"/>
                      </a:moveTo>
                      <a:lnTo>
                        <a:pt x="92624" y="219035"/>
                      </a:lnTo>
                      <a:cubicBezTo>
                        <a:pt x="94979" y="277569"/>
                        <a:pt x="107517" y="335244"/>
                        <a:pt x="129687" y="389466"/>
                      </a:cubicBezTo>
                      <a:cubicBezTo>
                        <a:pt x="96795" y="374361"/>
                        <a:pt x="68734" y="350439"/>
                        <a:pt x="48610" y="320357"/>
                      </a:cubicBezTo>
                      <a:cubicBezTo>
                        <a:pt x="28487" y="290268"/>
                        <a:pt x="17091" y="255200"/>
                        <a:pt x="15679" y="219035"/>
                      </a:cubicBezTo>
                      <a:close/>
                      <a:moveTo>
                        <a:pt x="203423" y="406779"/>
                      </a:moveTo>
                      <a:cubicBezTo>
                        <a:pt x="185225" y="406157"/>
                        <a:pt x="167219" y="402922"/>
                        <a:pt x="149945" y="397160"/>
                      </a:cubicBezTo>
                      <a:cubicBezTo>
                        <a:pt x="125401" y="340814"/>
                        <a:pt x="111406" y="280438"/>
                        <a:pt x="108653" y="219035"/>
                      </a:cubicBezTo>
                      <a:lnTo>
                        <a:pt x="203423" y="219035"/>
                      </a:lnTo>
                      <a:lnTo>
                        <a:pt x="203423" y="406779"/>
                      </a:lnTo>
                      <a:close/>
                      <a:moveTo>
                        <a:pt x="203423" y="203519"/>
                      </a:moveTo>
                      <a:lnTo>
                        <a:pt x="108653" y="203519"/>
                      </a:lnTo>
                      <a:cubicBezTo>
                        <a:pt x="111149" y="142084"/>
                        <a:pt x="125157" y="81657"/>
                        <a:pt x="149945" y="25394"/>
                      </a:cubicBezTo>
                      <a:cubicBezTo>
                        <a:pt x="156304" y="23308"/>
                        <a:pt x="162773" y="21557"/>
                        <a:pt x="169311" y="20132"/>
                      </a:cubicBezTo>
                      <a:cubicBezTo>
                        <a:pt x="178224" y="18169"/>
                        <a:pt x="187266" y="16834"/>
                        <a:pt x="196371" y="16160"/>
                      </a:cubicBezTo>
                      <a:cubicBezTo>
                        <a:pt x="198720" y="16025"/>
                        <a:pt x="201075" y="16025"/>
                        <a:pt x="203423" y="16160"/>
                      </a:cubicBezTo>
                      <a:lnTo>
                        <a:pt x="203423" y="203519"/>
                      </a:lnTo>
                      <a:close/>
                    </a:path>
                  </a:pathLst>
                </a:custGeom>
                <a:solidFill>
                  <a:srgbClr val="2C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85B9A25F-81F9-624E-F5F3-87A18EBE4123}"/>
                    </a:ext>
                  </a:extLst>
                </p:cNvPr>
                <p:cNvSpPr/>
                <p:nvPr/>
              </p:nvSpPr>
              <p:spPr>
                <a:xfrm>
                  <a:off x="4836008" y="3197583"/>
                  <a:ext cx="219808" cy="297170"/>
                </a:xfrm>
                <a:custGeom>
                  <a:avLst/>
                  <a:gdLst>
                    <a:gd name="connsiteX0" fmla="*/ 176848 w 219808"/>
                    <a:gd name="connsiteY0" fmla="*/ 161236 h 297170"/>
                    <a:gd name="connsiteX1" fmla="*/ 202624 w 219808"/>
                    <a:gd name="connsiteY1" fmla="*/ 112840 h 297170"/>
                    <a:gd name="connsiteX2" fmla="*/ 197196 w 219808"/>
                    <a:gd name="connsiteY2" fmla="*/ 58271 h 297170"/>
                    <a:gd name="connsiteX3" fmla="*/ 162384 w 219808"/>
                    <a:gd name="connsiteY3" fmla="*/ 15907 h 297170"/>
                    <a:gd name="connsiteX4" fmla="*/ 109908 w 219808"/>
                    <a:gd name="connsiteY4" fmla="*/ 0 h 297170"/>
                    <a:gd name="connsiteX5" fmla="*/ 57431 w 219808"/>
                    <a:gd name="connsiteY5" fmla="*/ 15907 h 297170"/>
                    <a:gd name="connsiteX6" fmla="*/ 22620 w 219808"/>
                    <a:gd name="connsiteY6" fmla="*/ 58271 h 297170"/>
                    <a:gd name="connsiteX7" fmla="*/ 17184 w 219808"/>
                    <a:gd name="connsiteY7" fmla="*/ 112840 h 297170"/>
                    <a:gd name="connsiteX8" fmla="*/ 42961 w 219808"/>
                    <a:gd name="connsiteY8" fmla="*/ 161236 h 297170"/>
                    <a:gd name="connsiteX9" fmla="*/ 0 w 219808"/>
                    <a:gd name="connsiteY9" fmla="*/ 264598 h 297170"/>
                    <a:gd name="connsiteX10" fmla="*/ 48864 w 219808"/>
                    <a:gd name="connsiteY10" fmla="*/ 256776 h 297170"/>
                    <a:gd name="connsiteX11" fmla="*/ 77329 w 219808"/>
                    <a:gd name="connsiteY11" fmla="*/ 297170 h 297170"/>
                    <a:gd name="connsiteX12" fmla="*/ 122343 w 219808"/>
                    <a:gd name="connsiteY12" fmla="*/ 188674 h 297170"/>
                    <a:gd name="connsiteX13" fmla="*/ 133117 w 219808"/>
                    <a:gd name="connsiteY13" fmla="*/ 186756 h 297170"/>
                    <a:gd name="connsiteX14" fmla="*/ 158766 w 219808"/>
                    <a:gd name="connsiteY14" fmla="*/ 247671 h 297170"/>
                    <a:gd name="connsiteX15" fmla="*/ 146067 w 219808"/>
                    <a:gd name="connsiteY15" fmla="*/ 264470 h 297170"/>
                    <a:gd name="connsiteX16" fmla="*/ 124397 w 219808"/>
                    <a:gd name="connsiteY16" fmla="*/ 212276 h 297170"/>
                    <a:gd name="connsiteX17" fmla="*/ 115933 w 219808"/>
                    <a:gd name="connsiteY17" fmla="*/ 232662 h 297170"/>
                    <a:gd name="connsiteX18" fmla="*/ 142479 w 219808"/>
                    <a:gd name="connsiteY18" fmla="*/ 296785 h 297170"/>
                    <a:gd name="connsiteX19" fmla="*/ 170951 w 219808"/>
                    <a:gd name="connsiteY19" fmla="*/ 256776 h 297170"/>
                    <a:gd name="connsiteX20" fmla="*/ 219809 w 219808"/>
                    <a:gd name="connsiteY20" fmla="*/ 265112 h 297170"/>
                    <a:gd name="connsiteX21" fmla="*/ 176848 w 219808"/>
                    <a:gd name="connsiteY21" fmla="*/ 161236 h 297170"/>
                    <a:gd name="connsiteX22" fmla="*/ 47453 w 219808"/>
                    <a:gd name="connsiteY22" fmla="*/ 240612 h 297170"/>
                    <a:gd name="connsiteX23" fmla="*/ 25398 w 219808"/>
                    <a:gd name="connsiteY23" fmla="*/ 243949 h 297170"/>
                    <a:gd name="connsiteX24" fmla="*/ 55531 w 219808"/>
                    <a:gd name="connsiteY24" fmla="*/ 171362 h 297170"/>
                    <a:gd name="connsiteX25" fmla="*/ 72074 w 219808"/>
                    <a:gd name="connsiteY25" fmla="*/ 180724 h 297170"/>
                    <a:gd name="connsiteX26" fmla="*/ 47453 w 219808"/>
                    <a:gd name="connsiteY26" fmla="*/ 240612 h 297170"/>
                    <a:gd name="connsiteX27" fmla="*/ 73100 w 219808"/>
                    <a:gd name="connsiteY27" fmla="*/ 264470 h 297170"/>
                    <a:gd name="connsiteX28" fmla="*/ 60915 w 219808"/>
                    <a:gd name="connsiteY28" fmla="*/ 247157 h 297170"/>
                    <a:gd name="connsiteX29" fmla="*/ 86563 w 219808"/>
                    <a:gd name="connsiteY29" fmla="*/ 186242 h 297170"/>
                    <a:gd name="connsiteX30" fmla="*/ 104774 w 219808"/>
                    <a:gd name="connsiteY30" fmla="*/ 188931 h 297170"/>
                    <a:gd name="connsiteX31" fmla="*/ 73100 w 219808"/>
                    <a:gd name="connsiteY31" fmla="*/ 264470 h 297170"/>
                    <a:gd name="connsiteX32" fmla="*/ 109266 w 219808"/>
                    <a:gd name="connsiteY32" fmla="*/ 173415 h 297170"/>
                    <a:gd name="connsiteX33" fmla="*/ 65362 w 219808"/>
                    <a:gd name="connsiteY33" fmla="*/ 160094 h 297170"/>
                    <a:gd name="connsiteX34" fmla="*/ 36268 w 219808"/>
                    <a:gd name="connsiteY34" fmla="*/ 124621 h 297170"/>
                    <a:gd name="connsiteX35" fmla="*/ 31796 w 219808"/>
                    <a:gd name="connsiteY35" fmla="*/ 78959 h 297170"/>
                    <a:gd name="connsiteX36" fmla="*/ 53452 w 219808"/>
                    <a:gd name="connsiteY36" fmla="*/ 38514 h 297170"/>
                    <a:gd name="connsiteX37" fmla="*/ 93930 w 219808"/>
                    <a:gd name="connsiteY37" fmla="*/ 16928 h 297170"/>
                    <a:gd name="connsiteX38" fmla="*/ 139586 w 219808"/>
                    <a:gd name="connsiteY38" fmla="*/ 21477 h 297170"/>
                    <a:gd name="connsiteX39" fmla="*/ 175007 w 219808"/>
                    <a:gd name="connsiteY39" fmla="*/ 50629 h 297170"/>
                    <a:gd name="connsiteX40" fmla="*/ 188257 w 219808"/>
                    <a:gd name="connsiteY40" fmla="*/ 94546 h 297170"/>
                    <a:gd name="connsiteX41" fmla="*/ 165304 w 219808"/>
                    <a:gd name="connsiteY41" fmla="*/ 150096 h 297170"/>
                    <a:gd name="connsiteX42" fmla="*/ 109908 w 219808"/>
                    <a:gd name="connsiteY42" fmla="*/ 173415 h 297170"/>
                    <a:gd name="connsiteX43" fmla="*/ 109266 w 219808"/>
                    <a:gd name="connsiteY43" fmla="*/ 173415 h 297170"/>
                    <a:gd name="connsiteX44" fmla="*/ 147735 w 219808"/>
                    <a:gd name="connsiteY44" fmla="*/ 181109 h 297170"/>
                    <a:gd name="connsiteX45" fmla="*/ 164149 w 219808"/>
                    <a:gd name="connsiteY45" fmla="*/ 171747 h 297170"/>
                    <a:gd name="connsiteX46" fmla="*/ 194802 w 219808"/>
                    <a:gd name="connsiteY46" fmla="*/ 243949 h 297170"/>
                    <a:gd name="connsiteX47" fmla="*/ 172741 w 219808"/>
                    <a:gd name="connsiteY47" fmla="*/ 240099 h 297170"/>
                    <a:gd name="connsiteX48" fmla="*/ 147735 w 219808"/>
                    <a:gd name="connsiteY48" fmla="*/ 181109 h 2971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219808" h="297170">
                      <a:moveTo>
                        <a:pt x="176848" y="161236"/>
                      </a:moveTo>
                      <a:cubicBezTo>
                        <a:pt x="190035" y="148004"/>
                        <a:pt x="199006" y="131160"/>
                        <a:pt x="202624" y="112840"/>
                      </a:cubicBezTo>
                      <a:cubicBezTo>
                        <a:pt x="206250" y="94514"/>
                        <a:pt x="204357" y="75526"/>
                        <a:pt x="197196" y="58271"/>
                      </a:cubicBezTo>
                      <a:cubicBezTo>
                        <a:pt x="190035" y="41023"/>
                        <a:pt x="177920" y="26277"/>
                        <a:pt x="162384" y="15907"/>
                      </a:cubicBezTo>
                      <a:cubicBezTo>
                        <a:pt x="146843" y="5538"/>
                        <a:pt x="128587" y="0"/>
                        <a:pt x="109908" y="0"/>
                      </a:cubicBezTo>
                      <a:cubicBezTo>
                        <a:pt x="91228" y="0"/>
                        <a:pt x="72966" y="5538"/>
                        <a:pt x="57431" y="15907"/>
                      </a:cubicBezTo>
                      <a:cubicBezTo>
                        <a:pt x="41896" y="26277"/>
                        <a:pt x="29781" y="41023"/>
                        <a:pt x="22620" y="58271"/>
                      </a:cubicBezTo>
                      <a:cubicBezTo>
                        <a:pt x="15452" y="75526"/>
                        <a:pt x="13565" y="94514"/>
                        <a:pt x="17184" y="112840"/>
                      </a:cubicBezTo>
                      <a:cubicBezTo>
                        <a:pt x="20810" y="131160"/>
                        <a:pt x="29774" y="148004"/>
                        <a:pt x="42961" y="161236"/>
                      </a:cubicBezTo>
                      <a:lnTo>
                        <a:pt x="0" y="264598"/>
                      </a:lnTo>
                      <a:lnTo>
                        <a:pt x="48864" y="256776"/>
                      </a:lnTo>
                      <a:lnTo>
                        <a:pt x="77329" y="297170"/>
                      </a:lnTo>
                      <a:lnTo>
                        <a:pt x="122343" y="188674"/>
                      </a:lnTo>
                      <a:cubicBezTo>
                        <a:pt x="125969" y="188244"/>
                        <a:pt x="129569" y="187603"/>
                        <a:pt x="133117" y="186756"/>
                      </a:cubicBezTo>
                      <a:lnTo>
                        <a:pt x="158766" y="247671"/>
                      </a:lnTo>
                      <a:lnTo>
                        <a:pt x="146067" y="264470"/>
                      </a:lnTo>
                      <a:lnTo>
                        <a:pt x="124397" y="212276"/>
                      </a:lnTo>
                      <a:lnTo>
                        <a:pt x="115933" y="232662"/>
                      </a:lnTo>
                      <a:lnTo>
                        <a:pt x="142479" y="296785"/>
                      </a:lnTo>
                      <a:lnTo>
                        <a:pt x="170951" y="256776"/>
                      </a:lnTo>
                      <a:lnTo>
                        <a:pt x="219809" y="265112"/>
                      </a:lnTo>
                      <a:lnTo>
                        <a:pt x="176848" y="161236"/>
                      </a:lnTo>
                      <a:close/>
                      <a:moveTo>
                        <a:pt x="47453" y="240612"/>
                      </a:moveTo>
                      <a:lnTo>
                        <a:pt x="25398" y="243949"/>
                      </a:lnTo>
                      <a:lnTo>
                        <a:pt x="55531" y="171362"/>
                      </a:lnTo>
                      <a:cubicBezTo>
                        <a:pt x="60735" y="175007"/>
                        <a:pt x="66273" y="178138"/>
                        <a:pt x="72074" y="180724"/>
                      </a:cubicBezTo>
                      <a:lnTo>
                        <a:pt x="47453" y="240612"/>
                      </a:lnTo>
                      <a:close/>
                      <a:moveTo>
                        <a:pt x="73100" y="264470"/>
                      </a:moveTo>
                      <a:lnTo>
                        <a:pt x="60915" y="247157"/>
                      </a:lnTo>
                      <a:lnTo>
                        <a:pt x="86563" y="186242"/>
                      </a:lnTo>
                      <a:cubicBezTo>
                        <a:pt x="92544" y="187667"/>
                        <a:pt x="98640" y="188565"/>
                        <a:pt x="104774" y="188931"/>
                      </a:cubicBezTo>
                      <a:lnTo>
                        <a:pt x="73100" y="264470"/>
                      </a:lnTo>
                      <a:close/>
                      <a:moveTo>
                        <a:pt x="109266" y="173415"/>
                      </a:moveTo>
                      <a:cubicBezTo>
                        <a:pt x="93634" y="173415"/>
                        <a:pt x="78356" y="168782"/>
                        <a:pt x="65362" y="160094"/>
                      </a:cubicBezTo>
                      <a:cubicBezTo>
                        <a:pt x="52368" y="151412"/>
                        <a:pt x="42242" y="139066"/>
                        <a:pt x="36268" y="124621"/>
                      </a:cubicBezTo>
                      <a:cubicBezTo>
                        <a:pt x="30294" y="110177"/>
                        <a:pt x="28734" y="94289"/>
                        <a:pt x="31796" y="78959"/>
                      </a:cubicBezTo>
                      <a:cubicBezTo>
                        <a:pt x="34856" y="63636"/>
                        <a:pt x="42390" y="49557"/>
                        <a:pt x="53452" y="38514"/>
                      </a:cubicBezTo>
                      <a:cubicBezTo>
                        <a:pt x="64508" y="27471"/>
                        <a:pt x="78600" y="19963"/>
                        <a:pt x="93930" y="16928"/>
                      </a:cubicBezTo>
                      <a:cubicBezTo>
                        <a:pt x="109266" y="13893"/>
                        <a:pt x="125154" y="15477"/>
                        <a:pt x="139586" y="21477"/>
                      </a:cubicBezTo>
                      <a:cubicBezTo>
                        <a:pt x="154017" y="27471"/>
                        <a:pt x="166344" y="37616"/>
                        <a:pt x="175007" y="50629"/>
                      </a:cubicBezTo>
                      <a:cubicBezTo>
                        <a:pt x="183676" y="63636"/>
                        <a:pt x="188283" y="78921"/>
                        <a:pt x="188257" y="94546"/>
                      </a:cubicBezTo>
                      <a:cubicBezTo>
                        <a:pt x="188225" y="115368"/>
                        <a:pt x="179979" y="135331"/>
                        <a:pt x="165304" y="150096"/>
                      </a:cubicBezTo>
                      <a:cubicBezTo>
                        <a:pt x="150635" y="164868"/>
                        <a:pt x="130724" y="173248"/>
                        <a:pt x="109908" y="173415"/>
                      </a:cubicBezTo>
                      <a:lnTo>
                        <a:pt x="109266" y="173415"/>
                      </a:lnTo>
                      <a:close/>
                      <a:moveTo>
                        <a:pt x="147735" y="181109"/>
                      </a:moveTo>
                      <a:cubicBezTo>
                        <a:pt x="153523" y="178574"/>
                        <a:pt x="159022" y="175436"/>
                        <a:pt x="164149" y="171747"/>
                      </a:cubicBezTo>
                      <a:lnTo>
                        <a:pt x="194802" y="243949"/>
                      </a:lnTo>
                      <a:lnTo>
                        <a:pt x="172741" y="240099"/>
                      </a:lnTo>
                      <a:lnTo>
                        <a:pt x="147735" y="181109"/>
                      </a:lnTo>
                      <a:close/>
                    </a:path>
                  </a:pathLst>
                </a:custGeom>
                <a:solidFill>
                  <a:srgbClr val="2C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19" name="Freeform: Shape 118">
                  <a:extLst>
                    <a:ext uri="{FF2B5EF4-FFF2-40B4-BE49-F238E27FC236}">
                      <a16:creationId xmlns:a16="http://schemas.microsoft.com/office/drawing/2014/main" id="{8AE42ED1-A17A-2739-242F-F847062C9630}"/>
                    </a:ext>
                  </a:extLst>
                </p:cNvPr>
                <p:cNvSpPr/>
                <p:nvPr/>
              </p:nvSpPr>
              <p:spPr>
                <a:xfrm>
                  <a:off x="4887439" y="3266872"/>
                  <a:ext cx="40137" cy="49756"/>
                </a:xfrm>
                <a:custGeom>
                  <a:avLst/>
                  <a:gdLst>
                    <a:gd name="connsiteX0" fmla="*/ 0 w 40137"/>
                    <a:gd name="connsiteY0" fmla="*/ 9106 h 49756"/>
                    <a:gd name="connsiteX1" fmla="*/ 14746 w 40137"/>
                    <a:gd name="connsiteY1" fmla="*/ 9106 h 49756"/>
                    <a:gd name="connsiteX2" fmla="*/ 14746 w 40137"/>
                    <a:gd name="connsiteY2" fmla="*/ 49756 h 49756"/>
                    <a:gd name="connsiteX3" fmla="*/ 25391 w 40137"/>
                    <a:gd name="connsiteY3" fmla="*/ 49756 h 49756"/>
                    <a:gd name="connsiteX4" fmla="*/ 25391 w 40137"/>
                    <a:gd name="connsiteY4" fmla="*/ 9106 h 49756"/>
                    <a:gd name="connsiteX5" fmla="*/ 40137 w 40137"/>
                    <a:gd name="connsiteY5" fmla="*/ 9106 h 49756"/>
                    <a:gd name="connsiteX6" fmla="*/ 40137 w 40137"/>
                    <a:gd name="connsiteY6" fmla="*/ 0 h 49756"/>
                    <a:gd name="connsiteX7" fmla="*/ 0 w 40137"/>
                    <a:gd name="connsiteY7" fmla="*/ 0 h 49756"/>
                    <a:gd name="connsiteX8" fmla="*/ 0 w 40137"/>
                    <a:gd name="connsiteY8" fmla="*/ 9106 h 497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0137" h="49756">
                      <a:moveTo>
                        <a:pt x="0" y="9106"/>
                      </a:moveTo>
                      <a:lnTo>
                        <a:pt x="14746" y="9106"/>
                      </a:lnTo>
                      <a:lnTo>
                        <a:pt x="14746" y="49756"/>
                      </a:lnTo>
                      <a:lnTo>
                        <a:pt x="25391" y="49756"/>
                      </a:lnTo>
                      <a:lnTo>
                        <a:pt x="25391" y="9106"/>
                      </a:lnTo>
                      <a:lnTo>
                        <a:pt x="40137" y="9106"/>
                      </a:lnTo>
                      <a:lnTo>
                        <a:pt x="40137" y="0"/>
                      </a:lnTo>
                      <a:lnTo>
                        <a:pt x="0" y="0"/>
                      </a:lnTo>
                      <a:lnTo>
                        <a:pt x="0" y="9106"/>
                      </a:lnTo>
                      <a:close/>
                    </a:path>
                  </a:pathLst>
                </a:custGeom>
                <a:solidFill>
                  <a:srgbClr val="2C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20" name="Freeform: Shape 119">
                  <a:extLst>
                    <a:ext uri="{FF2B5EF4-FFF2-40B4-BE49-F238E27FC236}">
                      <a16:creationId xmlns:a16="http://schemas.microsoft.com/office/drawing/2014/main" id="{19F0CAA1-B629-DDE7-7822-3AF3ACDD73C8}"/>
                    </a:ext>
                  </a:extLst>
                </p:cNvPr>
                <p:cNvSpPr/>
                <p:nvPr/>
              </p:nvSpPr>
              <p:spPr>
                <a:xfrm>
                  <a:off x="4934756" y="3266872"/>
                  <a:ext cx="32443" cy="49756"/>
                </a:xfrm>
                <a:custGeom>
                  <a:avLst/>
                  <a:gdLst>
                    <a:gd name="connsiteX0" fmla="*/ 10646 w 32443"/>
                    <a:gd name="connsiteY0" fmla="*/ 0 h 49756"/>
                    <a:gd name="connsiteX1" fmla="*/ 0 w 32443"/>
                    <a:gd name="connsiteY1" fmla="*/ 0 h 49756"/>
                    <a:gd name="connsiteX2" fmla="*/ 0 w 32443"/>
                    <a:gd name="connsiteY2" fmla="*/ 49756 h 49756"/>
                    <a:gd name="connsiteX3" fmla="*/ 32444 w 32443"/>
                    <a:gd name="connsiteY3" fmla="*/ 49756 h 49756"/>
                    <a:gd name="connsiteX4" fmla="*/ 32444 w 32443"/>
                    <a:gd name="connsiteY4" fmla="*/ 40266 h 49756"/>
                    <a:gd name="connsiteX5" fmla="*/ 10646 w 32443"/>
                    <a:gd name="connsiteY5" fmla="*/ 40266 h 49756"/>
                    <a:gd name="connsiteX6" fmla="*/ 10646 w 32443"/>
                    <a:gd name="connsiteY6" fmla="*/ 0 h 497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443" h="49756">
                      <a:moveTo>
                        <a:pt x="10646" y="0"/>
                      </a:moveTo>
                      <a:lnTo>
                        <a:pt x="0" y="0"/>
                      </a:lnTo>
                      <a:lnTo>
                        <a:pt x="0" y="49756"/>
                      </a:lnTo>
                      <a:lnTo>
                        <a:pt x="32444" y="49756"/>
                      </a:lnTo>
                      <a:lnTo>
                        <a:pt x="32444" y="40266"/>
                      </a:lnTo>
                      <a:lnTo>
                        <a:pt x="10646" y="40266"/>
                      </a:lnTo>
                      <a:lnTo>
                        <a:pt x="10646" y="0"/>
                      </a:lnTo>
                      <a:close/>
                    </a:path>
                  </a:pathLst>
                </a:custGeom>
                <a:solidFill>
                  <a:srgbClr val="2C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121" name="Freeform: Shape 120">
                  <a:extLst>
                    <a:ext uri="{FF2B5EF4-FFF2-40B4-BE49-F238E27FC236}">
                      <a16:creationId xmlns:a16="http://schemas.microsoft.com/office/drawing/2014/main" id="{17376B5D-61EB-1AF5-77E3-331016A3644D}"/>
                    </a:ext>
                  </a:extLst>
                </p:cNvPr>
                <p:cNvSpPr/>
                <p:nvPr/>
              </p:nvSpPr>
              <p:spPr>
                <a:xfrm>
                  <a:off x="4971583" y="3265968"/>
                  <a:ext cx="36283" cy="51381"/>
                </a:xfrm>
                <a:custGeom>
                  <a:avLst/>
                  <a:gdLst>
                    <a:gd name="connsiteX0" fmla="*/ 36268 w 36283"/>
                    <a:gd name="connsiteY0" fmla="*/ 36556 h 51381"/>
                    <a:gd name="connsiteX1" fmla="*/ 33451 w 36283"/>
                    <a:gd name="connsiteY1" fmla="*/ 27579 h 51381"/>
                    <a:gd name="connsiteX2" fmla="*/ 23961 w 36283"/>
                    <a:gd name="connsiteY2" fmla="*/ 21932 h 51381"/>
                    <a:gd name="connsiteX3" fmla="*/ 18705 w 36283"/>
                    <a:gd name="connsiteY3" fmla="*/ 20135 h 51381"/>
                    <a:gd name="connsiteX4" fmla="*/ 12673 w 36283"/>
                    <a:gd name="connsiteY4" fmla="*/ 17447 h 51381"/>
                    <a:gd name="connsiteX5" fmla="*/ 11454 w 36283"/>
                    <a:gd name="connsiteY5" fmla="*/ 16112 h 51381"/>
                    <a:gd name="connsiteX6" fmla="*/ 11005 w 36283"/>
                    <a:gd name="connsiteY6" fmla="*/ 14366 h 51381"/>
                    <a:gd name="connsiteX7" fmla="*/ 19597 w 36283"/>
                    <a:gd name="connsiteY7" fmla="*/ 9368 h 51381"/>
                    <a:gd name="connsiteX8" fmla="*/ 26271 w 36283"/>
                    <a:gd name="connsiteY8" fmla="*/ 10138 h 51381"/>
                    <a:gd name="connsiteX9" fmla="*/ 33323 w 36283"/>
                    <a:gd name="connsiteY9" fmla="*/ 12185 h 51381"/>
                    <a:gd name="connsiteX10" fmla="*/ 33323 w 36283"/>
                    <a:gd name="connsiteY10" fmla="*/ 2701 h 51381"/>
                    <a:gd name="connsiteX11" fmla="*/ 26912 w 36283"/>
                    <a:gd name="connsiteY11" fmla="*/ 647 h 51381"/>
                    <a:gd name="connsiteX12" fmla="*/ 19597 w 36283"/>
                    <a:gd name="connsiteY12" fmla="*/ 5 h 51381"/>
                    <a:gd name="connsiteX13" fmla="*/ 9343 w 36283"/>
                    <a:gd name="connsiteY13" fmla="*/ 1802 h 51381"/>
                    <a:gd name="connsiteX14" fmla="*/ 2670 w 36283"/>
                    <a:gd name="connsiteY14" fmla="*/ 6929 h 51381"/>
                    <a:gd name="connsiteX15" fmla="*/ 0 w 36283"/>
                    <a:gd name="connsiteY15" fmla="*/ 15393 h 51381"/>
                    <a:gd name="connsiteX16" fmla="*/ 2670 w 36283"/>
                    <a:gd name="connsiteY16" fmla="*/ 23857 h 51381"/>
                    <a:gd name="connsiteX17" fmla="*/ 11903 w 36283"/>
                    <a:gd name="connsiteY17" fmla="*/ 29497 h 51381"/>
                    <a:gd name="connsiteX18" fmla="*/ 17165 w 36283"/>
                    <a:gd name="connsiteY18" fmla="*/ 31294 h 51381"/>
                    <a:gd name="connsiteX19" fmla="*/ 23191 w 36283"/>
                    <a:gd name="connsiteY19" fmla="*/ 33989 h 51381"/>
                    <a:gd name="connsiteX20" fmla="*/ 24320 w 36283"/>
                    <a:gd name="connsiteY20" fmla="*/ 35272 h 51381"/>
                    <a:gd name="connsiteX21" fmla="*/ 24731 w 36283"/>
                    <a:gd name="connsiteY21" fmla="*/ 36941 h 51381"/>
                    <a:gd name="connsiteX22" fmla="*/ 24069 w 36283"/>
                    <a:gd name="connsiteY22" fmla="*/ 39264 h 51381"/>
                    <a:gd name="connsiteX23" fmla="*/ 22292 w 36283"/>
                    <a:gd name="connsiteY23" fmla="*/ 40913 h 51381"/>
                    <a:gd name="connsiteX24" fmla="*/ 15497 w 36283"/>
                    <a:gd name="connsiteY24" fmla="*/ 42325 h 51381"/>
                    <a:gd name="connsiteX25" fmla="*/ 366 w 36283"/>
                    <a:gd name="connsiteY25" fmla="*/ 39373 h 51381"/>
                    <a:gd name="connsiteX26" fmla="*/ 366 w 36283"/>
                    <a:gd name="connsiteY26" fmla="*/ 48863 h 51381"/>
                    <a:gd name="connsiteX27" fmla="*/ 4723 w 36283"/>
                    <a:gd name="connsiteY27" fmla="*/ 50275 h 51381"/>
                    <a:gd name="connsiteX28" fmla="*/ 10620 w 36283"/>
                    <a:gd name="connsiteY28" fmla="*/ 51302 h 51381"/>
                    <a:gd name="connsiteX29" fmla="*/ 16780 w 36283"/>
                    <a:gd name="connsiteY29" fmla="*/ 51302 h 51381"/>
                    <a:gd name="connsiteX30" fmla="*/ 31269 w 36283"/>
                    <a:gd name="connsiteY30" fmla="*/ 47323 h 51381"/>
                    <a:gd name="connsiteX31" fmla="*/ 35094 w 36283"/>
                    <a:gd name="connsiteY31" fmla="*/ 42556 h 51381"/>
                    <a:gd name="connsiteX32" fmla="*/ 36268 w 36283"/>
                    <a:gd name="connsiteY32" fmla="*/ 36556 h 51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</a:cxnLst>
                  <a:rect l="l" t="t" r="r" b="b"/>
                  <a:pathLst>
                    <a:path w="36283" h="51381">
                      <a:moveTo>
                        <a:pt x="36268" y="36556"/>
                      </a:moveTo>
                      <a:cubicBezTo>
                        <a:pt x="36409" y="33322"/>
                        <a:pt x="35408" y="30145"/>
                        <a:pt x="33451" y="27579"/>
                      </a:cubicBezTo>
                      <a:cubicBezTo>
                        <a:pt x="30820" y="24909"/>
                        <a:pt x="27554" y="22971"/>
                        <a:pt x="23961" y="21932"/>
                      </a:cubicBezTo>
                      <a:lnTo>
                        <a:pt x="18705" y="20135"/>
                      </a:lnTo>
                      <a:cubicBezTo>
                        <a:pt x="16588" y="19506"/>
                        <a:pt x="14560" y="18602"/>
                        <a:pt x="12673" y="17447"/>
                      </a:cubicBezTo>
                      <a:cubicBezTo>
                        <a:pt x="12166" y="17106"/>
                        <a:pt x="11749" y="16651"/>
                        <a:pt x="11454" y="16112"/>
                      </a:cubicBezTo>
                      <a:cubicBezTo>
                        <a:pt x="11165" y="15579"/>
                        <a:pt x="11011" y="14976"/>
                        <a:pt x="11005" y="14366"/>
                      </a:cubicBezTo>
                      <a:cubicBezTo>
                        <a:pt x="11005" y="11036"/>
                        <a:pt x="13828" y="9368"/>
                        <a:pt x="19597" y="9368"/>
                      </a:cubicBezTo>
                      <a:cubicBezTo>
                        <a:pt x="21843" y="9393"/>
                        <a:pt x="24076" y="9650"/>
                        <a:pt x="26271" y="10138"/>
                      </a:cubicBezTo>
                      <a:cubicBezTo>
                        <a:pt x="28683" y="10561"/>
                        <a:pt x="31051" y="11254"/>
                        <a:pt x="33323" y="12185"/>
                      </a:cubicBezTo>
                      <a:lnTo>
                        <a:pt x="33323" y="2701"/>
                      </a:lnTo>
                      <a:cubicBezTo>
                        <a:pt x="31276" y="1751"/>
                        <a:pt x="29126" y="1058"/>
                        <a:pt x="26912" y="647"/>
                      </a:cubicBezTo>
                      <a:cubicBezTo>
                        <a:pt x="24493" y="243"/>
                        <a:pt x="22048" y="25"/>
                        <a:pt x="19597" y="5"/>
                      </a:cubicBezTo>
                      <a:cubicBezTo>
                        <a:pt x="16093" y="-65"/>
                        <a:pt x="12616" y="545"/>
                        <a:pt x="9343" y="1802"/>
                      </a:cubicBezTo>
                      <a:cubicBezTo>
                        <a:pt x="6654" y="2803"/>
                        <a:pt x="4331" y="4594"/>
                        <a:pt x="2670" y="6929"/>
                      </a:cubicBezTo>
                      <a:cubicBezTo>
                        <a:pt x="937" y="9413"/>
                        <a:pt x="0" y="12364"/>
                        <a:pt x="0" y="15393"/>
                      </a:cubicBezTo>
                      <a:cubicBezTo>
                        <a:pt x="0" y="18422"/>
                        <a:pt x="937" y="21380"/>
                        <a:pt x="2670" y="23857"/>
                      </a:cubicBezTo>
                      <a:cubicBezTo>
                        <a:pt x="5204" y="26514"/>
                        <a:pt x="8387" y="28458"/>
                        <a:pt x="11903" y="29497"/>
                      </a:cubicBezTo>
                      <a:lnTo>
                        <a:pt x="17165" y="31294"/>
                      </a:lnTo>
                      <a:cubicBezTo>
                        <a:pt x="19321" y="31814"/>
                        <a:pt x="21368" y="32725"/>
                        <a:pt x="23191" y="33989"/>
                      </a:cubicBezTo>
                      <a:cubicBezTo>
                        <a:pt x="23665" y="34316"/>
                        <a:pt x="24057" y="34759"/>
                        <a:pt x="24320" y="35272"/>
                      </a:cubicBezTo>
                      <a:cubicBezTo>
                        <a:pt x="24590" y="35786"/>
                        <a:pt x="24731" y="36357"/>
                        <a:pt x="24731" y="36941"/>
                      </a:cubicBezTo>
                      <a:cubicBezTo>
                        <a:pt x="24724" y="37762"/>
                        <a:pt x="24499" y="38564"/>
                        <a:pt x="24069" y="39264"/>
                      </a:cubicBezTo>
                      <a:cubicBezTo>
                        <a:pt x="23640" y="39970"/>
                        <a:pt x="23024" y="40534"/>
                        <a:pt x="22292" y="40913"/>
                      </a:cubicBezTo>
                      <a:cubicBezTo>
                        <a:pt x="20181" y="41940"/>
                        <a:pt x="17845" y="42427"/>
                        <a:pt x="15497" y="42325"/>
                      </a:cubicBezTo>
                      <a:cubicBezTo>
                        <a:pt x="10318" y="42228"/>
                        <a:pt x="5198" y="41227"/>
                        <a:pt x="366" y="39373"/>
                      </a:cubicBezTo>
                      <a:lnTo>
                        <a:pt x="366" y="48863"/>
                      </a:lnTo>
                      <a:cubicBezTo>
                        <a:pt x="1739" y="49544"/>
                        <a:pt x="3208" y="50018"/>
                        <a:pt x="4723" y="50275"/>
                      </a:cubicBezTo>
                      <a:cubicBezTo>
                        <a:pt x="6661" y="50763"/>
                        <a:pt x="8637" y="51103"/>
                        <a:pt x="10620" y="51302"/>
                      </a:cubicBezTo>
                      <a:lnTo>
                        <a:pt x="16780" y="51302"/>
                      </a:lnTo>
                      <a:cubicBezTo>
                        <a:pt x="21926" y="51745"/>
                        <a:pt x="27066" y="50339"/>
                        <a:pt x="31269" y="47323"/>
                      </a:cubicBezTo>
                      <a:cubicBezTo>
                        <a:pt x="32912" y="46066"/>
                        <a:pt x="34221" y="44429"/>
                        <a:pt x="35094" y="42556"/>
                      </a:cubicBezTo>
                      <a:cubicBezTo>
                        <a:pt x="35966" y="40676"/>
                        <a:pt x="36371" y="38616"/>
                        <a:pt x="36268" y="36556"/>
                      </a:cubicBezTo>
                      <a:close/>
                    </a:path>
                  </a:pathLst>
                </a:custGeom>
                <a:solidFill>
                  <a:srgbClr val="2C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</p:grpSp>
          <p:sp>
            <p:nvSpPr>
              <p:cNvPr id="113" name="TextBox 112">
                <a:extLst>
                  <a:ext uri="{FF2B5EF4-FFF2-40B4-BE49-F238E27FC236}">
                    <a16:creationId xmlns:a16="http://schemas.microsoft.com/office/drawing/2014/main" id="{8FD342A5-6ED3-76D0-A78C-40735AB72058}"/>
                  </a:ext>
                </a:extLst>
              </p:cNvPr>
              <p:cNvSpPr txBox="1"/>
              <p:nvPr/>
            </p:nvSpPr>
            <p:spPr>
              <a:xfrm>
                <a:off x="4403510" y="3500270"/>
                <a:ext cx="888833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Certificates</a:t>
                </a:r>
              </a:p>
            </p:txBody>
          </p:sp>
        </p:grpSp>
        <p:grpSp>
          <p:nvGrpSpPr>
            <p:cNvPr id="228" name="Graphic 3">
              <a:extLst>
                <a:ext uri="{FF2B5EF4-FFF2-40B4-BE49-F238E27FC236}">
                  <a16:creationId xmlns:a16="http://schemas.microsoft.com/office/drawing/2014/main" id="{2B8B2FC5-E237-2AC8-1624-0B022ACC6363}"/>
                </a:ext>
              </a:extLst>
            </p:cNvPr>
            <p:cNvGrpSpPr/>
            <p:nvPr/>
          </p:nvGrpSpPr>
          <p:grpSpPr>
            <a:xfrm>
              <a:off x="4082817" y="2190341"/>
              <a:ext cx="1021946" cy="897984"/>
              <a:chOff x="9496953" y="3052530"/>
              <a:chExt cx="1021946" cy="897984"/>
            </a:xfrm>
          </p:grpSpPr>
          <p:grpSp>
            <p:nvGrpSpPr>
              <p:cNvPr id="229" name="Graphic 3">
                <a:extLst>
                  <a:ext uri="{FF2B5EF4-FFF2-40B4-BE49-F238E27FC236}">
                    <a16:creationId xmlns:a16="http://schemas.microsoft.com/office/drawing/2014/main" id="{F6169427-CFA5-92F7-4E5F-50D499FEE6D2}"/>
                  </a:ext>
                </a:extLst>
              </p:cNvPr>
              <p:cNvGrpSpPr/>
              <p:nvPr/>
            </p:nvGrpSpPr>
            <p:grpSpPr>
              <a:xfrm>
                <a:off x="9654138" y="3052530"/>
                <a:ext cx="513347" cy="466286"/>
                <a:chOff x="9654138" y="3052530"/>
                <a:chExt cx="513347" cy="466286"/>
              </a:xfrm>
            </p:grpSpPr>
            <p:grpSp>
              <p:nvGrpSpPr>
                <p:cNvPr id="233" name="Graphic 3">
                  <a:extLst>
                    <a:ext uri="{FF2B5EF4-FFF2-40B4-BE49-F238E27FC236}">
                      <a16:creationId xmlns:a16="http://schemas.microsoft.com/office/drawing/2014/main" id="{4DAD9779-7B49-712E-1559-E6B2E8EC8567}"/>
                    </a:ext>
                  </a:extLst>
                </p:cNvPr>
                <p:cNvGrpSpPr/>
                <p:nvPr/>
              </p:nvGrpSpPr>
              <p:grpSpPr>
                <a:xfrm>
                  <a:off x="9654138" y="3052530"/>
                  <a:ext cx="513347" cy="466286"/>
                  <a:chOff x="9654138" y="3052530"/>
                  <a:chExt cx="513347" cy="466286"/>
                </a:xfrm>
                <a:solidFill>
                  <a:srgbClr val="FFFFFF"/>
                </a:solidFill>
              </p:grpSpPr>
              <p:sp>
                <p:nvSpPr>
                  <p:cNvPr id="243" name="Freeform: Shape 242">
                    <a:extLst>
                      <a:ext uri="{FF2B5EF4-FFF2-40B4-BE49-F238E27FC236}">
                        <a16:creationId xmlns:a16="http://schemas.microsoft.com/office/drawing/2014/main" id="{3B9ED39C-882C-12A5-DB1C-4365833DC738}"/>
                      </a:ext>
                    </a:extLst>
                  </p:cNvPr>
                  <p:cNvSpPr/>
                  <p:nvPr/>
                </p:nvSpPr>
                <p:spPr>
                  <a:xfrm>
                    <a:off x="9659657" y="3058035"/>
                    <a:ext cx="501219" cy="453061"/>
                  </a:xfrm>
                  <a:custGeom>
                    <a:avLst/>
                    <a:gdLst>
                      <a:gd name="connsiteX0" fmla="*/ 324949 w 501219"/>
                      <a:gd name="connsiteY0" fmla="*/ 450860 h 453061"/>
                      <a:gd name="connsiteX1" fmla="*/ 159715 w 501219"/>
                      <a:gd name="connsiteY1" fmla="*/ 248030 h 453061"/>
                      <a:gd name="connsiteX2" fmla="*/ 158624 w 501219"/>
                      <a:gd name="connsiteY2" fmla="*/ 234799 h 453061"/>
                      <a:gd name="connsiteX3" fmla="*/ 158624 w 501219"/>
                      <a:gd name="connsiteY3" fmla="*/ 209446 h 453061"/>
                      <a:gd name="connsiteX4" fmla="*/ 150924 w 501219"/>
                      <a:gd name="connsiteY4" fmla="*/ 209446 h 453061"/>
                      <a:gd name="connsiteX5" fmla="*/ 150924 w 501219"/>
                      <a:gd name="connsiteY5" fmla="*/ 238110 h 453061"/>
                      <a:gd name="connsiteX6" fmla="*/ 123396 w 501219"/>
                      <a:gd name="connsiteY6" fmla="*/ 238110 h 453061"/>
                      <a:gd name="connsiteX7" fmla="*/ 123396 w 501219"/>
                      <a:gd name="connsiteY7" fmla="*/ 209446 h 453061"/>
                      <a:gd name="connsiteX8" fmla="*/ 83740 w 501219"/>
                      <a:gd name="connsiteY8" fmla="*/ 209446 h 453061"/>
                      <a:gd name="connsiteX9" fmla="*/ 42929 w 501219"/>
                      <a:gd name="connsiteY9" fmla="*/ 238110 h 453061"/>
                      <a:gd name="connsiteX10" fmla="*/ 0 w 501219"/>
                      <a:gd name="connsiteY10" fmla="*/ 195117 h 453061"/>
                      <a:gd name="connsiteX11" fmla="*/ 42929 w 501219"/>
                      <a:gd name="connsiteY11" fmla="*/ 152124 h 453061"/>
                      <a:gd name="connsiteX12" fmla="*/ 83740 w 501219"/>
                      <a:gd name="connsiteY12" fmla="*/ 182989 h 453061"/>
                      <a:gd name="connsiteX13" fmla="*/ 157534 w 501219"/>
                      <a:gd name="connsiteY13" fmla="*/ 182989 h 453061"/>
                      <a:gd name="connsiteX14" fmla="*/ 157534 w 501219"/>
                      <a:gd name="connsiteY14" fmla="*/ 73858 h 453061"/>
                      <a:gd name="connsiteX15" fmla="*/ 329376 w 501219"/>
                      <a:gd name="connsiteY15" fmla="*/ 0 h 453061"/>
                      <a:gd name="connsiteX16" fmla="*/ 501219 w 501219"/>
                      <a:gd name="connsiteY16" fmla="*/ 73858 h 453061"/>
                      <a:gd name="connsiteX17" fmla="*/ 501219 w 501219"/>
                      <a:gd name="connsiteY17" fmla="*/ 234799 h 453061"/>
                      <a:gd name="connsiteX18" fmla="*/ 334895 w 501219"/>
                      <a:gd name="connsiteY18" fmla="*/ 449756 h 453061"/>
                      <a:gd name="connsiteX19" fmla="*/ 329376 w 501219"/>
                      <a:gd name="connsiteY19" fmla="*/ 453061 h 453061"/>
                      <a:gd name="connsiteX20" fmla="*/ 324949 w 501219"/>
                      <a:gd name="connsiteY20" fmla="*/ 450860 h 4530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501219" h="453061">
                        <a:moveTo>
                          <a:pt x="324949" y="450860"/>
                        </a:moveTo>
                        <a:cubicBezTo>
                          <a:pt x="229145" y="402355"/>
                          <a:pt x="169662" y="328497"/>
                          <a:pt x="159715" y="248030"/>
                        </a:cubicBezTo>
                        <a:lnTo>
                          <a:pt x="158624" y="234799"/>
                        </a:lnTo>
                        <a:lnTo>
                          <a:pt x="158624" y="209446"/>
                        </a:lnTo>
                        <a:lnTo>
                          <a:pt x="150924" y="209446"/>
                        </a:lnTo>
                        <a:lnTo>
                          <a:pt x="150924" y="238110"/>
                        </a:lnTo>
                        <a:lnTo>
                          <a:pt x="123396" y="238110"/>
                        </a:lnTo>
                        <a:lnTo>
                          <a:pt x="123396" y="209446"/>
                        </a:lnTo>
                        <a:lnTo>
                          <a:pt x="83740" y="209446"/>
                        </a:lnTo>
                        <a:cubicBezTo>
                          <a:pt x="77131" y="225982"/>
                          <a:pt x="61666" y="238110"/>
                          <a:pt x="42929" y="238110"/>
                        </a:cubicBezTo>
                        <a:cubicBezTo>
                          <a:pt x="18737" y="238110"/>
                          <a:pt x="0" y="218263"/>
                          <a:pt x="0" y="195117"/>
                        </a:cubicBezTo>
                        <a:cubicBezTo>
                          <a:pt x="0" y="170861"/>
                          <a:pt x="19828" y="152124"/>
                          <a:pt x="42929" y="152124"/>
                        </a:cubicBezTo>
                        <a:cubicBezTo>
                          <a:pt x="61666" y="152124"/>
                          <a:pt x="78222" y="164252"/>
                          <a:pt x="83740" y="182989"/>
                        </a:cubicBezTo>
                        <a:lnTo>
                          <a:pt x="157534" y="182989"/>
                        </a:lnTo>
                        <a:lnTo>
                          <a:pt x="157534" y="73858"/>
                        </a:lnTo>
                        <a:lnTo>
                          <a:pt x="329376" y="0"/>
                        </a:lnTo>
                        <a:lnTo>
                          <a:pt x="501219" y="73858"/>
                        </a:lnTo>
                        <a:lnTo>
                          <a:pt x="501219" y="234799"/>
                        </a:lnTo>
                        <a:cubicBezTo>
                          <a:pt x="495701" y="321888"/>
                          <a:pt x="435126" y="400154"/>
                          <a:pt x="334895" y="449756"/>
                        </a:cubicBezTo>
                        <a:lnTo>
                          <a:pt x="329376" y="453061"/>
                        </a:lnTo>
                        <a:lnTo>
                          <a:pt x="324949" y="45086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44" name="Freeform: Shape 243">
                    <a:extLst>
                      <a:ext uri="{FF2B5EF4-FFF2-40B4-BE49-F238E27FC236}">
                        <a16:creationId xmlns:a16="http://schemas.microsoft.com/office/drawing/2014/main" id="{F7952F1B-1A74-AD6F-3024-F1EAD7874B85}"/>
                      </a:ext>
                    </a:extLst>
                  </p:cNvPr>
                  <p:cNvSpPr/>
                  <p:nvPr/>
                </p:nvSpPr>
                <p:spPr>
                  <a:xfrm>
                    <a:off x="9654138" y="3052530"/>
                    <a:ext cx="513347" cy="466286"/>
                  </a:xfrm>
                  <a:custGeom>
                    <a:avLst/>
                    <a:gdLst>
                      <a:gd name="connsiteX0" fmla="*/ 335986 w 513347"/>
                      <a:gd name="connsiteY0" fmla="*/ 12121 h 466286"/>
                      <a:gd name="connsiteX1" fmla="*/ 502311 w 513347"/>
                      <a:gd name="connsiteY1" fmla="*/ 83778 h 466286"/>
                      <a:gd name="connsiteX2" fmla="*/ 502311 w 513347"/>
                      <a:gd name="connsiteY2" fmla="*/ 240311 h 466286"/>
                      <a:gd name="connsiteX3" fmla="*/ 339323 w 513347"/>
                      <a:gd name="connsiteY3" fmla="*/ 450854 h 466286"/>
                      <a:gd name="connsiteX4" fmla="*/ 335986 w 513347"/>
                      <a:gd name="connsiteY4" fmla="*/ 453061 h 466286"/>
                      <a:gd name="connsiteX5" fmla="*/ 332713 w 513347"/>
                      <a:gd name="connsiteY5" fmla="*/ 450854 h 466286"/>
                      <a:gd name="connsiteX6" fmla="*/ 170752 w 513347"/>
                      <a:gd name="connsiteY6" fmla="*/ 252432 h 466286"/>
                      <a:gd name="connsiteX7" fmla="*/ 169661 w 513347"/>
                      <a:gd name="connsiteY7" fmla="*/ 240311 h 466286"/>
                      <a:gd name="connsiteX8" fmla="*/ 169661 w 513347"/>
                      <a:gd name="connsiteY8" fmla="*/ 209446 h 466286"/>
                      <a:gd name="connsiteX9" fmla="*/ 157534 w 513347"/>
                      <a:gd name="connsiteY9" fmla="*/ 209446 h 466286"/>
                      <a:gd name="connsiteX10" fmla="*/ 150924 w 513347"/>
                      <a:gd name="connsiteY10" fmla="*/ 209446 h 466286"/>
                      <a:gd name="connsiteX11" fmla="*/ 150924 w 513347"/>
                      <a:gd name="connsiteY11" fmla="*/ 238103 h 466286"/>
                      <a:gd name="connsiteX12" fmla="*/ 134368 w 513347"/>
                      <a:gd name="connsiteY12" fmla="*/ 238103 h 466286"/>
                      <a:gd name="connsiteX13" fmla="*/ 134368 w 513347"/>
                      <a:gd name="connsiteY13" fmla="*/ 209446 h 466286"/>
                      <a:gd name="connsiteX14" fmla="*/ 84830 w 513347"/>
                      <a:gd name="connsiteY14" fmla="*/ 209446 h 466286"/>
                      <a:gd name="connsiteX15" fmla="*/ 48447 w 513347"/>
                      <a:gd name="connsiteY15" fmla="*/ 238103 h 466286"/>
                      <a:gd name="connsiteX16" fmla="*/ 11037 w 513347"/>
                      <a:gd name="connsiteY16" fmla="*/ 200623 h 466286"/>
                      <a:gd name="connsiteX17" fmla="*/ 48447 w 513347"/>
                      <a:gd name="connsiteY17" fmla="*/ 163148 h 466286"/>
                      <a:gd name="connsiteX18" fmla="*/ 84830 w 513347"/>
                      <a:gd name="connsiteY18" fmla="*/ 194013 h 466286"/>
                      <a:gd name="connsiteX19" fmla="*/ 156443 w 513347"/>
                      <a:gd name="connsiteY19" fmla="*/ 194013 h 466286"/>
                      <a:gd name="connsiteX20" fmla="*/ 168571 w 513347"/>
                      <a:gd name="connsiteY20" fmla="*/ 194013 h 466286"/>
                      <a:gd name="connsiteX21" fmla="*/ 168571 w 513347"/>
                      <a:gd name="connsiteY21" fmla="*/ 83778 h 466286"/>
                      <a:gd name="connsiteX22" fmla="*/ 335986 w 513347"/>
                      <a:gd name="connsiteY22" fmla="*/ 12121 h 466286"/>
                      <a:gd name="connsiteX23" fmla="*/ 335986 w 513347"/>
                      <a:gd name="connsiteY23" fmla="*/ 0 h 466286"/>
                      <a:gd name="connsiteX24" fmla="*/ 331559 w 513347"/>
                      <a:gd name="connsiteY24" fmla="*/ 2201 h 466286"/>
                      <a:gd name="connsiteX25" fmla="*/ 165234 w 513347"/>
                      <a:gd name="connsiteY25" fmla="*/ 73858 h 466286"/>
                      <a:gd name="connsiteX26" fmla="*/ 158624 w 513347"/>
                      <a:gd name="connsiteY26" fmla="*/ 77162 h 466286"/>
                      <a:gd name="connsiteX27" fmla="*/ 158624 w 513347"/>
                      <a:gd name="connsiteY27" fmla="*/ 84882 h 466286"/>
                      <a:gd name="connsiteX28" fmla="*/ 158624 w 513347"/>
                      <a:gd name="connsiteY28" fmla="*/ 184093 h 466286"/>
                      <a:gd name="connsiteX29" fmla="*/ 157534 w 513347"/>
                      <a:gd name="connsiteY29" fmla="*/ 184093 h 466286"/>
                      <a:gd name="connsiteX30" fmla="*/ 93622 w 513347"/>
                      <a:gd name="connsiteY30" fmla="*/ 184093 h 466286"/>
                      <a:gd name="connsiteX31" fmla="*/ 48447 w 513347"/>
                      <a:gd name="connsiteY31" fmla="*/ 153221 h 466286"/>
                      <a:gd name="connsiteX32" fmla="*/ 0 w 513347"/>
                      <a:gd name="connsiteY32" fmla="*/ 201726 h 466286"/>
                      <a:gd name="connsiteX33" fmla="*/ 48447 w 513347"/>
                      <a:gd name="connsiteY33" fmla="*/ 250231 h 466286"/>
                      <a:gd name="connsiteX34" fmla="*/ 92531 w 513347"/>
                      <a:gd name="connsiteY34" fmla="*/ 221567 h 466286"/>
                      <a:gd name="connsiteX35" fmla="*/ 123396 w 513347"/>
                      <a:gd name="connsiteY35" fmla="*/ 221567 h 466286"/>
                      <a:gd name="connsiteX36" fmla="*/ 123396 w 513347"/>
                      <a:gd name="connsiteY36" fmla="*/ 239207 h 466286"/>
                      <a:gd name="connsiteX37" fmla="*/ 123396 w 513347"/>
                      <a:gd name="connsiteY37" fmla="*/ 250231 h 466286"/>
                      <a:gd name="connsiteX38" fmla="*/ 134368 w 513347"/>
                      <a:gd name="connsiteY38" fmla="*/ 250231 h 466286"/>
                      <a:gd name="connsiteX39" fmla="*/ 150924 w 513347"/>
                      <a:gd name="connsiteY39" fmla="*/ 250231 h 466286"/>
                      <a:gd name="connsiteX40" fmla="*/ 158624 w 513347"/>
                      <a:gd name="connsiteY40" fmla="*/ 250231 h 466286"/>
                      <a:gd name="connsiteX41" fmla="*/ 158624 w 513347"/>
                      <a:gd name="connsiteY41" fmla="*/ 254640 h 466286"/>
                      <a:gd name="connsiteX42" fmla="*/ 326104 w 513347"/>
                      <a:gd name="connsiteY42" fmla="*/ 461878 h 466286"/>
                      <a:gd name="connsiteX43" fmla="*/ 329376 w 513347"/>
                      <a:gd name="connsiteY43" fmla="*/ 464085 h 466286"/>
                      <a:gd name="connsiteX44" fmla="*/ 334895 w 513347"/>
                      <a:gd name="connsiteY44" fmla="*/ 466286 h 466286"/>
                      <a:gd name="connsiteX45" fmla="*/ 341504 w 513347"/>
                      <a:gd name="connsiteY45" fmla="*/ 462982 h 466286"/>
                      <a:gd name="connsiteX46" fmla="*/ 344777 w 513347"/>
                      <a:gd name="connsiteY46" fmla="*/ 460781 h 466286"/>
                      <a:gd name="connsiteX47" fmla="*/ 513347 w 513347"/>
                      <a:gd name="connsiteY47" fmla="*/ 241414 h 466286"/>
                      <a:gd name="connsiteX48" fmla="*/ 513347 w 513347"/>
                      <a:gd name="connsiteY48" fmla="*/ 83778 h 466286"/>
                      <a:gd name="connsiteX49" fmla="*/ 513347 w 513347"/>
                      <a:gd name="connsiteY49" fmla="*/ 76059 h 466286"/>
                      <a:gd name="connsiteX50" fmla="*/ 506738 w 513347"/>
                      <a:gd name="connsiteY50" fmla="*/ 72754 h 466286"/>
                      <a:gd name="connsiteX51" fmla="*/ 340414 w 513347"/>
                      <a:gd name="connsiteY51" fmla="*/ 2201 h 466286"/>
                      <a:gd name="connsiteX52" fmla="*/ 335986 w 513347"/>
                      <a:gd name="connsiteY52" fmla="*/ 0 h 4662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</a:cxnLst>
                    <a:rect l="l" t="t" r="r" b="b"/>
                    <a:pathLst>
                      <a:path w="513347" h="466286">
                        <a:moveTo>
                          <a:pt x="335986" y="12121"/>
                        </a:moveTo>
                        <a:lnTo>
                          <a:pt x="502311" y="83778"/>
                        </a:lnTo>
                        <a:lnTo>
                          <a:pt x="502311" y="240311"/>
                        </a:lnTo>
                        <a:cubicBezTo>
                          <a:pt x="497947" y="324089"/>
                          <a:pt x="438463" y="401252"/>
                          <a:pt x="339323" y="450854"/>
                        </a:cubicBezTo>
                        <a:lnTo>
                          <a:pt x="335986" y="453061"/>
                        </a:lnTo>
                        <a:lnTo>
                          <a:pt x="332713" y="450854"/>
                        </a:lnTo>
                        <a:cubicBezTo>
                          <a:pt x="239027" y="403459"/>
                          <a:pt x="180634" y="331802"/>
                          <a:pt x="170752" y="252432"/>
                        </a:cubicBezTo>
                        <a:lnTo>
                          <a:pt x="169661" y="240311"/>
                        </a:lnTo>
                        <a:lnTo>
                          <a:pt x="169661" y="209446"/>
                        </a:lnTo>
                        <a:lnTo>
                          <a:pt x="157534" y="209446"/>
                        </a:lnTo>
                        <a:lnTo>
                          <a:pt x="150924" y="209446"/>
                        </a:lnTo>
                        <a:lnTo>
                          <a:pt x="150924" y="238103"/>
                        </a:lnTo>
                        <a:lnTo>
                          <a:pt x="134368" y="238103"/>
                        </a:lnTo>
                        <a:lnTo>
                          <a:pt x="134368" y="209446"/>
                        </a:lnTo>
                        <a:lnTo>
                          <a:pt x="84830" y="209446"/>
                        </a:lnTo>
                        <a:cubicBezTo>
                          <a:pt x="80403" y="225982"/>
                          <a:pt x="66094" y="238103"/>
                          <a:pt x="48447" y="238103"/>
                        </a:cubicBezTo>
                        <a:cubicBezTo>
                          <a:pt x="27529" y="238103"/>
                          <a:pt x="11037" y="221567"/>
                          <a:pt x="11037" y="200623"/>
                        </a:cubicBezTo>
                        <a:cubicBezTo>
                          <a:pt x="11037" y="179678"/>
                          <a:pt x="27529" y="163148"/>
                          <a:pt x="48447" y="163148"/>
                        </a:cubicBezTo>
                        <a:cubicBezTo>
                          <a:pt x="67184" y="163148"/>
                          <a:pt x="82649" y="176373"/>
                          <a:pt x="84830" y="194013"/>
                        </a:cubicBezTo>
                        <a:lnTo>
                          <a:pt x="156443" y="194013"/>
                        </a:lnTo>
                        <a:lnTo>
                          <a:pt x="168571" y="194013"/>
                        </a:lnTo>
                        <a:lnTo>
                          <a:pt x="168571" y="83778"/>
                        </a:lnTo>
                        <a:lnTo>
                          <a:pt x="335986" y="12121"/>
                        </a:lnTo>
                        <a:close/>
                        <a:moveTo>
                          <a:pt x="335986" y="0"/>
                        </a:moveTo>
                        <a:lnTo>
                          <a:pt x="331559" y="2201"/>
                        </a:lnTo>
                        <a:lnTo>
                          <a:pt x="165234" y="73858"/>
                        </a:lnTo>
                        <a:lnTo>
                          <a:pt x="158624" y="77162"/>
                        </a:lnTo>
                        <a:lnTo>
                          <a:pt x="158624" y="84882"/>
                        </a:lnTo>
                        <a:lnTo>
                          <a:pt x="158624" y="184093"/>
                        </a:lnTo>
                        <a:lnTo>
                          <a:pt x="157534" y="184093"/>
                        </a:lnTo>
                        <a:lnTo>
                          <a:pt x="93622" y="184093"/>
                        </a:lnTo>
                        <a:cubicBezTo>
                          <a:pt x="85922" y="166453"/>
                          <a:pt x="68275" y="153221"/>
                          <a:pt x="48447" y="153221"/>
                        </a:cubicBezTo>
                        <a:cubicBezTo>
                          <a:pt x="22010" y="153221"/>
                          <a:pt x="0" y="175270"/>
                          <a:pt x="0" y="201726"/>
                        </a:cubicBezTo>
                        <a:cubicBezTo>
                          <a:pt x="0" y="228183"/>
                          <a:pt x="22010" y="250231"/>
                          <a:pt x="48447" y="250231"/>
                        </a:cubicBezTo>
                        <a:cubicBezTo>
                          <a:pt x="68275" y="250231"/>
                          <a:pt x="84830" y="239207"/>
                          <a:pt x="92531" y="221567"/>
                        </a:cubicBezTo>
                        <a:lnTo>
                          <a:pt x="123396" y="221567"/>
                        </a:lnTo>
                        <a:lnTo>
                          <a:pt x="123396" y="239207"/>
                        </a:lnTo>
                        <a:lnTo>
                          <a:pt x="123396" y="250231"/>
                        </a:lnTo>
                        <a:lnTo>
                          <a:pt x="134368" y="250231"/>
                        </a:lnTo>
                        <a:lnTo>
                          <a:pt x="150924" y="250231"/>
                        </a:lnTo>
                        <a:lnTo>
                          <a:pt x="158624" y="250231"/>
                        </a:lnTo>
                        <a:lnTo>
                          <a:pt x="158624" y="254640"/>
                        </a:lnTo>
                        <a:cubicBezTo>
                          <a:pt x="168571" y="338418"/>
                          <a:pt x="230236" y="413380"/>
                          <a:pt x="326104" y="461878"/>
                        </a:cubicBezTo>
                        <a:lnTo>
                          <a:pt x="329376" y="464085"/>
                        </a:lnTo>
                        <a:lnTo>
                          <a:pt x="334895" y="466286"/>
                        </a:lnTo>
                        <a:lnTo>
                          <a:pt x="341504" y="462982"/>
                        </a:lnTo>
                        <a:lnTo>
                          <a:pt x="344777" y="460781"/>
                        </a:lnTo>
                        <a:cubicBezTo>
                          <a:pt x="447254" y="408965"/>
                          <a:pt x="508920" y="329601"/>
                          <a:pt x="513347" y="241414"/>
                        </a:cubicBezTo>
                        <a:lnTo>
                          <a:pt x="513347" y="83778"/>
                        </a:lnTo>
                        <a:lnTo>
                          <a:pt x="513347" y="76059"/>
                        </a:lnTo>
                        <a:lnTo>
                          <a:pt x="506738" y="72754"/>
                        </a:lnTo>
                        <a:lnTo>
                          <a:pt x="340414" y="2201"/>
                        </a:lnTo>
                        <a:lnTo>
                          <a:pt x="335986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  <p:grpSp>
              <p:nvGrpSpPr>
                <p:cNvPr id="234" name="Graphic 3">
                  <a:extLst>
                    <a:ext uri="{FF2B5EF4-FFF2-40B4-BE49-F238E27FC236}">
                      <a16:creationId xmlns:a16="http://schemas.microsoft.com/office/drawing/2014/main" id="{FE36D832-C231-A443-A23F-D7FA19337ED9}"/>
                    </a:ext>
                  </a:extLst>
                </p:cNvPr>
                <p:cNvGrpSpPr/>
                <p:nvPr/>
              </p:nvGrpSpPr>
              <p:grpSpPr>
                <a:xfrm>
                  <a:off x="9665175" y="3064645"/>
                  <a:ext cx="491273" cy="440939"/>
                  <a:chOff x="9665175" y="3064645"/>
                  <a:chExt cx="491273" cy="440939"/>
                </a:xfrm>
                <a:solidFill>
                  <a:srgbClr val="2D5967"/>
                </a:solidFill>
              </p:grpSpPr>
              <p:sp>
                <p:nvSpPr>
                  <p:cNvPr id="235" name="Freeform: Shape 234">
                    <a:extLst>
                      <a:ext uri="{FF2B5EF4-FFF2-40B4-BE49-F238E27FC236}">
                        <a16:creationId xmlns:a16="http://schemas.microsoft.com/office/drawing/2014/main" id="{BB0DC7B1-C4A7-472C-0A62-7E9B83E8BEAF}"/>
                      </a:ext>
                    </a:extLst>
                  </p:cNvPr>
                  <p:cNvSpPr/>
                  <p:nvPr/>
                </p:nvSpPr>
                <p:spPr>
                  <a:xfrm>
                    <a:off x="9823799" y="3064645"/>
                    <a:ext cx="332649" cy="440939"/>
                  </a:xfrm>
                  <a:custGeom>
                    <a:avLst/>
                    <a:gdLst>
                      <a:gd name="connsiteX0" fmla="*/ 166325 w 332649"/>
                      <a:gd name="connsiteY0" fmla="*/ 0 h 440939"/>
                      <a:gd name="connsiteX1" fmla="*/ 0 w 332649"/>
                      <a:gd name="connsiteY1" fmla="*/ 71657 h 440939"/>
                      <a:gd name="connsiteX2" fmla="*/ 0 w 332649"/>
                      <a:gd name="connsiteY2" fmla="*/ 169764 h 440939"/>
                      <a:gd name="connsiteX3" fmla="*/ 16492 w 332649"/>
                      <a:gd name="connsiteY3" fmla="*/ 169764 h 440939"/>
                      <a:gd name="connsiteX4" fmla="*/ 16492 w 332649"/>
                      <a:gd name="connsiteY4" fmla="*/ 81577 h 440939"/>
                      <a:gd name="connsiteX5" fmla="*/ 166325 w 332649"/>
                      <a:gd name="connsiteY5" fmla="*/ 17640 h 440939"/>
                      <a:gd name="connsiteX6" fmla="*/ 316158 w 332649"/>
                      <a:gd name="connsiteY6" fmla="*/ 81577 h 440939"/>
                      <a:gd name="connsiteX7" fmla="*/ 316158 w 332649"/>
                      <a:gd name="connsiteY7" fmla="*/ 227086 h 440939"/>
                      <a:gd name="connsiteX8" fmla="*/ 166325 w 332649"/>
                      <a:gd name="connsiteY8" fmla="*/ 422196 h 440939"/>
                      <a:gd name="connsiteX9" fmla="*/ 17583 w 332649"/>
                      <a:gd name="connsiteY9" fmla="*/ 240311 h 440939"/>
                      <a:gd name="connsiteX10" fmla="*/ 16492 w 332649"/>
                      <a:gd name="connsiteY10" fmla="*/ 240311 h 440939"/>
                      <a:gd name="connsiteX11" fmla="*/ 1091 w 332649"/>
                      <a:gd name="connsiteY11" fmla="*/ 240311 h 440939"/>
                      <a:gd name="connsiteX12" fmla="*/ 163052 w 332649"/>
                      <a:gd name="connsiteY12" fmla="*/ 438732 h 440939"/>
                      <a:gd name="connsiteX13" fmla="*/ 166325 w 332649"/>
                      <a:gd name="connsiteY13" fmla="*/ 440940 h 440939"/>
                      <a:gd name="connsiteX14" fmla="*/ 169662 w 332649"/>
                      <a:gd name="connsiteY14" fmla="*/ 438732 h 440939"/>
                      <a:gd name="connsiteX15" fmla="*/ 332650 w 332649"/>
                      <a:gd name="connsiteY15" fmla="*/ 228189 h 440939"/>
                      <a:gd name="connsiteX16" fmla="*/ 332650 w 332649"/>
                      <a:gd name="connsiteY16" fmla="*/ 71657 h 440939"/>
                      <a:gd name="connsiteX17" fmla="*/ 166325 w 332649"/>
                      <a:gd name="connsiteY17" fmla="*/ 0 h 44093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332649" h="440939">
                        <a:moveTo>
                          <a:pt x="166325" y="0"/>
                        </a:moveTo>
                        <a:lnTo>
                          <a:pt x="0" y="71657"/>
                        </a:lnTo>
                        <a:lnTo>
                          <a:pt x="0" y="169764"/>
                        </a:lnTo>
                        <a:lnTo>
                          <a:pt x="16492" y="169764"/>
                        </a:lnTo>
                        <a:lnTo>
                          <a:pt x="16492" y="81577"/>
                        </a:lnTo>
                        <a:lnTo>
                          <a:pt x="166325" y="17640"/>
                        </a:lnTo>
                        <a:lnTo>
                          <a:pt x="316158" y="81577"/>
                        </a:lnTo>
                        <a:lnTo>
                          <a:pt x="316158" y="227086"/>
                        </a:lnTo>
                        <a:cubicBezTo>
                          <a:pt x="311731" y="304248"/>
                          <a:pt x="256674" y="374795"/>
                          <a:pt x="166325" y="422196"/>
                        </a:cubicBezTo>
                        <a:cubicBezTo>
                          <a:pt x="80403" y="378106"/>
                          <a:pt x="26438" y="311961"/>
                          <a:pt x="17583" y="240311"/>
                        </a:cubicBezTo>
                        <a:lnTo>
                          <a:pt x="16492" y="240311"/>
                        </a:lnTo>
                        <a:lnTo>
                          <a:pt x="1091" y="240311"/>
                        </a:lnTo>
                        <a:cubicBezTo>
                          <a:pt x="10973" y="319681"/>
                          <a:pt x="69366" y="391331"/>
                          <a:pt x="163052" y="438732"/>
                        </a:cubicBezTo>
                        <a:lnTo>
                          <a:pt x="166325" y="440940"/>
                        </a:lnTo>
                        <a:lnTo>
                          <a:pt x="169662" y="438732"/>
                        </a:lnTo>
                        <a:cubicBezTo>
                          <a:pt x="268802" y="389130"/>
                          <a:pt x="328286" y="311961"/>
                          <a:pt x="332650" y="228189"/>
                        </a:cubicBezTo>
                        <a:lnTo>
                          <a:pt x="332650" y="71657"/>
                        </a:lnTo>
                        <a:lnTo>
                          <a:pt x="166325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36" name="Freeform: Shape 235">
                    <a:extLst>
                      <a:ext uri="{FF2B5EF4-FFF2-40B4-BE49-F238E27FC236}">
                        <a16:creationId xmlns:a16="http://schemas.microsoft.com/office/drawing/2014/main" id="{7B65780C-6B9F-774B-C7C0-D973FBB6549B}"/>
                      </a:ext>
                    </a:extLst>
                  </p:cNvPr>
                  <p:cNvSpPr/>
                  <p:nvPr/>
                </p:nvSpPr>
                <p:spPr>
                  <a:xfrm>
                    <a:off x="9998915" y="3139613"/>
                    <a:ext cx="69430" cy="57321"/>
                  </a:xfrm>
                  <a:custGeom>
                    <a:avLst/>
                    <a:gdLst>
                      <a:gd name="connsiteX0" fmla="*/ 69431 w 69430"/>
                      <a:gd name="connsiteY0" fmla="*/ 12121 h 57321"/>
                      <a:gd name="connsiteX1" fmla="*/ 58393 w 69430"/>
                      <a:gd name="connsiteY1" fmla="*/ 0 h 57321"/>
                      <a:gd name="connsiteX2" fmla="*/ 24256 w 69430"/>
                      <a:gd name="connsiteY2" fmla="*/ 34170 h 57321"/>
                      <a:gd name="connsiteX3" fmla="*/ 11037 w 69430"/>
                      <a:gd name="connsiteY3" fmla="*/ 22042 h 57321"/>
                      <a:gd name="connsiteX4" fmla="*/ 0 w 69430"/>
                      <a:gd name="connsiteY4" fmla="*/ 33066 h 57321"/>
                      <a:gd name="connsiteX5" fmla="*/ 24256 w 69430"/>
                      <a:gd name="connsiteY5" fmla="*/ 57322 h 57321"/>
                      <a:gd name="connsiteX6" fmla="*/ 69431 w 69430"/>
                      <a:gd name="connsiteY6" fmla="*/ 12121 h 573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9430" h="57321">
                        <a:moveTo>
                          <a:pt x="69431" y="12121"/>
                        </a:moveTo>
                        <a:lnTo>
                          <a:pt x="58393" y="0"/>
                        </a:lnTo>
                        <a:lnTo>
                          <a:pt x="24256" y="34170"/>
                        </a:lnTo>
                        <a:lnTo>
                          <a:pt x="11037" y="22042"/>
                        </a:lnTo>
                        <a:lnTo>
                          <a:pt x="0" y="33066"/>
                        </a:lnTo>
                        <a:lnTo>
                          <a:pt x="24256" y="57322"/>
                        </a:lnTo>
                        <a:lnTo>
                          <a:pt x="69431" y="12121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37" name="Freeform: Shape 236">
                    <a:extLst>
                      <a:ext uri="{FF2B5EF4-FFF2-40B4-BE49-F238E27FC236}">
                        <a16:creationId xmlns:a16="http://schemas.microsoft.com/office/drawing/2014/main" id="{7C1618D5-7313-2A17-A0F5-2077F5B17863}"/>
                      </a:ext>
                    </a:extLst>
                  </p:cNvPr>
                  <p:cNvSpPr/>
                  <p:nvPr/>
                </p:nvSpPr>
                <p:spPr>
                  <a:xfrm>
                    <a:off x="10011043" y="3344644"/>
                    <a:ext cx="45174" cy="39688"/>
                  </a:xfrm>
                  <a:custGeom>
                    <a:avLst/>
                    <a:gdLst>
                      <a:gd name="connsiteX0" fmla="*/ 0 w 45174"/>
                      <a:gd name="connsiteY0" fmla="*/ 39688 h 39688"/>
                      <a:gd name="connsiteX1" fmla="*/ 45175 w 45174"/>
                      <a:gd name="connsiteY1" fmla="*/ 39688 h 39688"/>
                      <a:gd name="connsiteX2" fmla="*/ 22074 w 45174"/>
                      <a:gd name="connsiteY2" fmla="*/ 0 h 39688"/>
                      <a:gd name="connsiteX3" fmla="*/ 0 w 45174"/>
                      <a:gd name="connsiteY3" fmla="*/ 39688 h 396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5174" h="39688">
                        <a:moveTo>
                          <a:pt x="0" y="39688"/>
                        </a:moveTo>
                        <a:lnTo>
                          <a:pt x="45175" y="39688"/>
                        </a:lnTo>
                        <a:lnTo>
                          <a:pt x="22074" y="0"/>
                        </a:lnTo>
                        <a:lnTo>
                          <a:pt x="0" y="39688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38" name="Freeform: Shape 237">
                    <a:extLst>
                      <a:ext uri="{FF2B5EF4-FFF2-40B4-BE49-F238E27FC236}">
                        <a16:creationId xmlns:a16="http://schemas.microsoft.com/office/drawing/2014/main" id="{107C391F-4DA2-B3DB-49D3-CC9628FDE3DE}"/>
                      </a:ext>
                    </a:extLst>
                  </p:cNvPr>
                  <p:cNvSpPr/>
                  <p:nvPr/>
                </p:nvSpPr>
                <p:spPr>
                  <a:xfrm>
                    <a:off x="9922072" y="3345328"/>
                    <a:ext cx="40272" cy="39859"/>
                  </a:xfrm>
                  <a:custGeom>
                    <a:avLst/>
                    <a:gdLst>
                      <a:gd name="connsiteX0" fmla="*/ 15177 w 40272"/>
                      <a:gd name="connsiteY0" fmla="*/ 426 h 39859"/>
                      <a:gd name="connsiteX1" fmla="*/ 868 w 40272"/>
                      <a:gd name="connsiteY1" fmla="*/ 24675 h 39859"/>
                      <a:gd name="connsiteX2" fmla="*/ 25124 w 40272"/>
                      <a:gd name="connsiteY2" fmla="*/ 39004 h 39859"/>
                      <a:gd name="connsiteX3" fmla="*/ 39433 w 40272"/>
                      <a:gd name="connsiteY3" fmla="*/ 14754 h 39859"/>
                      <a:gd name="connsiteX4" fmla="*/ 15177 w 40272"/>
                      <a:gd name="connsiteY4" fmla="*/ 426 h 398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0272" h="39859">
                        <a:moveTo>
                          <a:pt x="15177" y="426"/>
                        </a:moveTo>
                        <a:cubicBezTo>
                          <a:pt x="4140" y="2627"/>
                          <a:pt x="-2469" y="13651"/>
                          <a:pt x="868" y="24675"/>
                        </a:cubicBezTo>
                        <a:cubicBezTo>
                          <a:pt x="4140" y="35699"/>
                          <a:pt x="14086" y="42315"/>
                          <a:pt x="25124" y="39004"/>
                        </a:cubicBezTo>
                        <a:cubicBezTo>
                          <a:pt x="36096" y="35699"/>
                          <a:pt x="42706" y="25779"/>
                          <a:pt x="39433" y="14754"/>
                        </a:cubicBezTo>
                        <a:cubicBezTo>
                          <a:pt x="37187" y="4834"/>
                          <a:pt x="26214" y="-1782"/>
                          <a:pt x="15177" y="426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39" name="Freeform: Shape 238">
                    <a:extLst>
                      <a:ext uri="{FF2B5EF4-FFF2-40B4-BE49-F238E27FC236}">
                        <a16:creationId xmlns:a16="http://schemas.microsoft.com/office/drawing/2014/main" id="{D45E9110-6A8A-CFBF-741F-57A4425D7304}"/>
                      </a:ext>
                    </a:extLst>
                  </p:cNvPr>
                  <p:cNvSpPr/>
                  <p:nvPr/>
                </p:nvSpPr>
                <p:spPr>
                  <a:xfrm>
                    <a:off x="9879947" y="3213464"/>
                    <a:ext cx="220354" cy="110234"/>
                  </a:xfrm>
                  <a:custGeom>
                    <a:avLst/>
                    <a:gdLst>
                      <a:gd name="connsiteX0" fmla="*/ 220355 w 220354"/>
                      <a:gd name="connsiteY0" fmla="*/ 0 h 110234"/>
                      <a:gd name="connsiteX1" fmla="*/ 0 w 220354"/>
                      <a:gd name="connsiteY1" fmla="*/ 0 h 110234"/>
                      <a:gd name="connsiteX2" fmla="*/ 0 w 220354"/>
                      <a:gd name="connsiteY2" fmla="*/ 110235 h 110234"/>
                      <a:gd name="connsiteX3" fmla="*/ 219264 w 220354"/>
                      <a:gd name="connsiteY3" fmla="*/ 110235 h 110234"/>
                      <a:gd name="connsiteX4" fmla="*/ 220355 w 220354"/>
                      <a:gd name="connsiteY4" fmla="*/ 0 h 110234"/>
                      <a:gd name="connsiteX5" fmla="*/ 203799 w 220354"/>
                      <a:gd name="connsiteY5" fmla="*/ 93699 h 110234"/>
                      <a:gd name="connsiteX6" fmla="*/ 16556 w 220354"/>
                      <a:gd name="connsiteY6" fmla="*/ 93699 h 110234"/>
                      <a:gd name="connsiteX7" fmla="*/ 16556 w 220354"/>
                      <a:gd name="connsiteY7" fmla="*/ 16536 h 110234"/>
                      <a:gd name="connsiteX8" fmla="*/ 203799 w 220354"/>
                      <a:gd name="connsiteY8" fmla="*/ 16536 h 110234"/>
                      <a:gd name="connsiteX9" fmla="*/ 203799 w 220354"/>
                      <a:gd name="connsiteY9" fmla="*/ 93699 h 1102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20354" h="110234">
                        <a:moveTo>
                          <a:pt x="220355" y="0"/>
                        </a:moveTo>
                        <a:lnTo>
                          <a:pt x="0" y="0"/>
                        </a:lnTo>
                        <a:lnTo>
                          <a:pt x="0" y="110235"/>
                        </a:lnTo>
                        <a:lnTo>
                          <a:pt x="219264" y="110235"/>
                        </a:lnTo>
                        <a:lnTo>
                          <a:pt x="220355" y="0"/>
                        </a:lnTo>
                        <a:close/>
                        <a:moveTo>
                          <a:pt x="203799" y="93699"/>
                        </a:moveTo>
                        <a:lnTo>
                          <a:pt x="16556" y="93699"/>
                        </a:lnTo>
                        <a:lnTo>
                          <a:pt x="16556" y="16536"/>
                        </a:lnTo>
                        <a:lnTo>
                          <a:pt x="203799" y="16536"/>
                        </a:lnTo>
                        <a:lnTo>
                          <a:pt x="203799" y="93699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40" name="Freeform: Shape 239">
                    <a:extLst>
                      <a:ext uri="{FF2B5EF4-FFF2-40B4-BE49-F238E27FC236}">
                        <a16:creationId xmlns:a16="http://schemas.microsoft.com/office/drawing/2014/main" id="{3631469B-F998-9318-1698-B68041F2304E}"/>
                      </a:ext>
                    </a:extLst>
                  </p:cNvPr>
                  <p:cNvSpPr/>
                  <p:nvPr/>
                </p:nvSpPr>
                <p:spPr>
                  <a:xfrm>
                    <a:off x="10024262" y="3252049"/>
                    <a:ext cx="30864" cy="30864"/>
                  </a:xfrm>
                  <a:custGeom>
                    <a:avLst/>
                    <a:gdLst>
                      <a:gd name="connsiteX0" fmla="*/ 15464 w 30864"/>
                      <a:gd name="connsiteY0" fmla="*/ 30865 h 30864"/>
                      <a:gd name="connsiteX1" fmla="*/ 30865 w 30864"/>
                      <a:gd name="connsiteY1" fmla="*/ 15432 h 30864"/>
                      <a:gd name="connsiteX2" fmla="*/ 15464 w 30864"/>
                      <a:gd name="connsiteY2" fmla="*/ 0 h 30864"/>
                      <a:gd name="connsiteX3" fmla="*/ 0 w 30864"/>
                      <a:gd name="connsiteY3" fmla="*/ 15432 h 30864"/>
                      <a:gd name="connsiteX4" fmla="*/ 15464 w 30864"/>
                      <a:gd name="connsiteY4" fmla="*/ 30865 h 308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0864" h="30864">
                        <a:moveTo>
                          <a:pt x="15464" y="30865"/>
                        </a:moveTo>
                        <a:cubicBezTo>
                          <a:pt x="23935" y="30865"/>
                          <a:pt x="30865" y="23954"/>
                          <a:pt x="30865" y="15432"/>
                        </a:cubicBezTo>
                        <a:cubicBezTo>
                          <a:pt x="30865" y="6911"/>
                          <a:pt x="23935" y="0"/>
                          <a:pt x="15464" y="0"/>
                        </a:cubicBezTo>
                        <a:cubicBezTo>
                          <a:pt x="6930" y="0"/>
                          <a:pt x="0" y="6911"/>
                          <a:pt x="0" y="15432"/>
                        </a:cubicBezTo>
                        <a:cubicBezTo>
                          <a:pt x="0" y="23954"/>
                          <a:pt x="6930" y="30865"/>
                          <a:pt x="15464" y="30865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41" name="Freeform: Shape 240">
                    <a:extLst>
                      <a:ext uri="{FF2B5EF4-FFF2-40B4-BE49-F238E27FC236}">
                        <a16:creationId xmlns:a16="http://schemas.microsoft.com/office/drawing/2014/main" id="{562CF329-BBA5-199B-5D25-65973D421155}"/>
                      </a:ext>
                    </a:extLst>
                  </p:cNvPr>
                  <p:cNvSpPr/>
                  <p:nvPr/>
                </p:nvSpPr>
                <p:spPr>
                  <a:xfrm>
                    <a:off x="9919603" y="3169374"/>
                    <a:ext cx="46265" cy="16523"/>
                  </a:xfrm>
                  <a:custGeom>
                    <a:avLst/>
                    <a:gdLst>
                      <a:gd name="connsiteX0" fmla="*/ 46265 w 46265"/>
                      <a:gd name="connsiteY0" fmla="*/ 0 h 16523"/>
                      <a:gd name="connsiteX1" fmla="*/ 0 w 46265"/>
                      <a:gd name="connsiteY1" fmla="*/ 0 h 16523"/>
                      <a:gd name="connsiteX2" fmla="*/ 0 w 46265"/>
                      <a:gd name="connsiteY2" fmla="*/ 16523 h 16523"/>
                      <a:gd name="connsiteX3" fmla="*/ 46265 w 46265"/>
                      <a:gd name="connsiteY3" fmla="*/ 16523 h 16523"/>
                      <a:gd name="connsiteX4" fmla="*/ 46265 w 46265"/>
                      <a:gd name="connsiteY4" fmla="*/ 0 h 165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6265" h="16523">
                        <a:moveTo>
                          <a:pt x="46265" y="0"/>
                        </a:moveTo>
                        <a:lnTo>
                          <a:pt x="0" y="0"/>
                        </a:lnTo>
                        <a:lnTo>
                          <a:pt x="0" y="16523"/>
                        </a:lnTo>
                        <a:lnTo>
                          <a:pt x="46265" y="16523"/>
                        </a:lnTo>
                        <a:lnTo>
                          <a:pt x="46265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42" name="Freeform: Shape 241">
                    <a:extLst>
                      <a:ext uri="{FF2B5EF4-FFF2-40B4-BE49-F238E27FC236}">
                        <a16:creationId xmlns:a16="http://schemas.microsoft.com/office/drawing/2014/main" id="{24F2BC37-583D-8D4C-813B-A96608A7BD7E}"/>
                      </a:ext>
                    </a:extLst>
                  </p:cNvPr>
                  <p:cNvSpPr/>
                  <p:nvPr/>
                </p:nvSpPr>
                <p:spPr>
                  <a:xfrm>
                    <a:off x="9665175" y="3213464"/>
                    <a:ext cx="175115" cy="78266"/>
                  </a:xfrm>
                  <a:custGeom>
                    <a:avLst/>
                    <a:gdLst>
                      <a:gd name="connsiteX0" fmla="*/ 158624 w 175115"/>
                      <a:gd name="connsiteY0" fmla="*/ 48505 h 78266"/>
                      <a:gd name="connsiteX1" fmla="*/ 158624 w 175115"/>
                      <a:gd name="connsiteY1" fmla="*/ 78266 h 78266"/>
                      <a:gd name="connsiteX2" fmla="*/ 175116 w 175115"/>
                      <a:gd name="connsiteY2" fmla="*/ 78266 h 78266"/>
                      <a:gd name="connsiteX3" fmla="*/ 175116 w 175115"/>
                      <a:gd name="connsiteY3" fmla="*/ 77162 h 78266"/>
                      <a:gd name="connsiteX4" fmla="*/ 175116 w 175115"/>
                      <a:gd name="connsiteY4" fmla="*/ 30865 h 78266"/>
                      <a:gd name="connsiteX5" fmla="*/ 146497 w 175115"/>
                      <a:gd name="connsiteY5" fmla="*/ 30865 h 78266"/>
                      <a:gd name="connsiteX6" fmla="*/ 74885 w 175115"/>
                      <a:gd name="connsiteY6" fmla="*/ 30865 h 78266"/>
                      <a:gd name="connsiteX7" fmla="*/ 37411 w 175115"/>
                      <a:gd name="connsiteY7" fmla="*/ 0 h 78266"/>
                      <a:gd name="connsiteX8" fmla="*/ 0 w 175115"/>
                      <a:gd name="connsiteY8" fmla="*/ 37481 h 78266"/>
                      <a:gd name="connsiteX9" fmla="*/ 37411 w 175115"/>
                      <a:gd name="connsiteY9" fmla="*/ 74961 h 78266"/>
                      <a:gd name="connsiteX10" fmla="*/ 73794 w 175115"/>
                      <a:gd name="connsiteY10" fmla="*/ 46297 h 78266"/>
                      <a:gd name="connsiteX11" fmla="*/ 123332 w 175115"/>
                      <a:gd name="connsiteY11" fmla="*/ 46297 h 78266"/>
                      <a:gd name="connsiteX12" fmla="*/ 123332 w 175115"/>
                      <a:gd name="connsiteY12" fmla="*/ 74961 h 78266"/>
                      <a:gd name="connsiteX13" fmla="*/ 139887 w 175115"/>
                      <a:gd name="connsiteY13" fmla="*/ 74961 h 78266"/>
                      <a:gd name="connsiteX14" fmla="*/ 139887 w 175115"/>
                      <a:gd name="connsiteY14" fmla="*/ 48505 h 78266"/>
                      <a:gd name="connsiteX15" fmla="*/ 146497 w 175115"/>
                      <a:gd name="connsiteY15" fmla="*/ 48505 h 78266"/>
                      <a:gd name="connsiteX16" fmla="*/ 158624 w 175115"/>
                      <a:gd name="connsiteY16" fmla="*/ 48505 h 78266"/>
                      <a:gd name="connsiteX17" fmla="*/ 37411 w 175115"/>
                      <a:gd name="connsiteY17" fmla="*/ 60626 h 78266"/>
                      <a:gd name="connsiteX18" fmla="*/ 16492 w 175115"/>
                      <a:gd name="connsiteY18" fmla="*/ 39682 h 78266"/>
                      <a:gd name="connsiteX19" fmla="*/ 37411 w 175115"/>
                      <a:gd name="connsiteY19" fmla="*/ 18737 h 78266"/>
                      <a:gd name="connsiteX20" fmla="*/ 58393 w 175115"/>
                      <a:gd name="connsiteY20" fmla="*/ 39682 h 78266"/>
                      <a:gd name="connsiteX21" fmla="*/ 37411 w 175115"/>
                      <a:gd name="connsiteY21" fmla="*/ 60626 h 782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175115" h="78266">
                        <a:moveTo>
                          <a:pt x="158624" y="48505"/>
                        </a:moveTo>
                        <a:lnTo>
                          <a:pt x="158624" y="78266"/>
                        </a:lnTo>
                        <a:lnTo>
                          <a:pt x="175116" y="78266"/>
                        </a:lnTo>
                        <a:lnTo>
                          <a:pt x="175116" y="77162"/>
                        </a:lnTo>
                        <a:lnTo>
                          <a:pt x="175116" y="30865"/>
                        </a:lnTo>
                        <a:lnTo>
                          <a:pt x="146497" y="30865"/>
                        </a:lnTo>
                        <a:lnTo>
                          <a:pt x="74885" y="30865"/>
                        </a:lnTo>
                        <a:cubicBezTo>
                          <a:pt x="71612" y="13225"/>
                          <a:pt x="56147" y="0"/>
                          <a:pt x="37411" y="0"/>
                        </a:cubicBezTo>
                        <a:cubicBezTo>
                          <a:pt x="16492" y="0"/>
                          <a:pt x="0" y="16536"/>
                          <a:pt x="0" y="37481"/>
                        </a:cubicBezTo>
                        <a:cubicBezTo>
                          <a:pt x="0" y="58425"/>
                          <a:pt x="16492" y="74961"/>
                          <a:pt x="37411" y="74961"/>
                        </a:cubicBezTo>
                        <a:cubicBezTo>
                          <a:pt x="55057" y="74961"/>
                          <a:pt x="69366" y="62834"/>
                          <a:pt x="73794" y="46297"/>
                        </a:cubicBezTo>
                        <a:lnTo>
                          <a:pt x="123332" y="46297"/>
                        </a:lnTo>
                        <a:lnTo>
                          <a:pt x="123332" y="74961"/>
                        </a:lnTo>
                        <a:lnTo>
                          <a:pt x="139887" y="74961"/>
                        </a:lnTo>
                        <a:lnTo>
                          <a:pt x="139887" y="48505"/>
                        </a:lnTo>
                        <a:lnTo>
                          <a:pt x="146497" y="48505"/>
                        </a:lnTo>
                        <a:lnTo>
                          <a:pt x="158624" y="48505"/>
                        </a:lnTo>
                        <a:close/>
                        <a:moveTo>
                          <a:pt x="37411" y="60626"/>
                        </a:moveTo>
                        <a:cubicBezTo>
                          <a:pt x="25347" y="60626"/>
                          <a:pt x="16492" y="50706"/>
                          <a:pt x="16492" y="39682"/>
                        </a:cubicBezTo>
                        <a:cubicBezTo>
                          <a:pt x="16492" y="28658"/>
                          <a:pt x="26437" y="18737"/>
                          <a:pt x="37411" y="18737"/>
                        </a:cubicBezTo>
                        <a:cubicBezTo>
                          <a:pt x="48447" y="18737"/>
                          <a:pt x="58393" y="28658"/>
                          <a:pt x="58393" y="39682"/>
                        </a:cubicBezTo>
                        <a:cubicBezTo>
                          <a:pt x="58393" y="51809"/>
                          <a:pt x="49538" y="60626"/>
                          <a:pt x="37411" y="60626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</p:grpSp>
          <p:sp>
            <p:nvSpPr>
              <p:cNvPr id="231" name="TextBox 230">
                <a:extLst>
                  <a:ext uri="{FF2B5EF4-FFF2-40B4-BE49-F238E27FC236}">
                    <a16:creationId xmlns:a16="http://schemas.microsoft.com/office/drawing/2014/main" id="{75A7D4CA-2EE4-2B2B-1C6D-5215F36356B7}"/>
                  </a:ext>
                </a:extLst>
              </p:cNvPr>
              <p:cNvSpPr txBox="1"/>
              <p:nvPr/>
            </p:nvSpPr>
            <p:spPr>
              <a:xfrm>
                <a:off x="9496953" y="3488849"/>
                <a:ext cx="1021946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Vault Key</a:t>
                </a:r>
              </a:p>
              <a:p>
                <a:pPr algn="ctr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Management</a:t>
                </a:r>
              </a:p>
            </p:txBody>
          </p:sp>
        </p:grpSp>
      </p:grpSp>
      <p:grpSp>
        <p:nvGrpSpPr>
          <p:cNvPr id="334" name="Group 333">
            <a:extLst>
              <a:ext uri="{FF2B5EF4-FFF2-40B4-BE49-F238E27FC236}">
                <a16:creationId xmlns:a16="http://schemas.microsoft.com/office/drawing/2014/main" id="{071460AF-3C10-BD54-9CBC-1DAE35CBCACA}"/>
              </a:ext>
            </a:extLst>
          </p:cNvPr>
          <p:cNvGrpSpPr/>
          <p:nvPr/>
        </p:nvGrpSpPr>
        <p:grpSpPr>
          <a:xfrm>
            <a:off x="853964" y="5506888"/>
            <a:ext cx="9111479" cy="942960"/>
            <a:chOff x="444062" y="5506888"/>
            <a:chExt cx="9111479" cy="942960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B032282C-D2C7-43EE-92D0-ECD485B0A4D2}"/>
                </a:ext>
              </a:extLst>
            </p:cNvPr>
            <p:cNvSpPr txBox="1"/>
            <p:nvPr/>
          </p:nvSpPr>
          <p:spPr>
            <a:xfrm>
              <a:off x="444062" y="5825361"/>
              <a:ext cx="2806262" cy="3258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 defTabSz="228600">
                <a:spcAft>
                  <a:spcPts val="1200"/>
                </a:spcAft>
              </a:pPr>
              <a:r>
                <a:rPr lang="de-CH" b="1" noProof="0" dirty="0"/>
                <a:t>Infrastructure </a:t>
              </a:r>
              <a:r>
                <a:rPr lang="de-CH" b="1" noProof="0" dirty="0" err="1"/>
                <a:t>Protection</a:t>
              </a:r>
              <a:endParaRPr lang="de-CH" b="1" noProof="0" dirty="0"/>
            </a:p>
          </p:txBody>
        </p:sp>
        <p:grpSp>
          <p:nvGrpSpPr>
            <p:cNvPr id="178" name="Graphic 3">
              <a:extLst>
                <a:ext uri="{FF2B5EF4-FFF2-40B4-BE49-F238E27FC236}">
                  <a16:creationId xmlns:a16="http://schemas.microsoft.com/office/drawing/2014/main" id="{7919D8A2-0E62-AD78-9100-BEF1AAC4A8D6}"/>
                </a:ext>
              </a:extLst>
            </p:cNvPr>
            <p:cNvGrpSpPr/>
            <p:nvPr/>
          </p:nvGrpSpPr>
          <p:grpSpPr>
            <a:xfrm>
              <a:off x="4245983" y="5597902"/>
              <a:ext cx="837730" cy="811169"/>
              <a:chOff x="8745128" y="3046851"/>
              <a:chExt cx="837730" cy="811169"/>
            </a:xfrm>
          </p:grpSpPr>
          <p:grpSp>
            <p:nvGrpSpPr>
              <p:cNvPr id="179" name="Graphic 3">
                <a:extLst>
                  <a:ext uri="{FF2B5EF4-FFF2-40B4-BE49-F238E27FC236}">
                    <a16:creationId xmlns:a16="http://schemas.microsoft.com/office/drawing/2014/main" id="{7FE68F3F-0FB6-6445-BA7D-70D5EE7707FB}"/>
                  </a:ext>
                </a:extLst>
              </p:cNvPr>
              <p:cNvGrpSpPr/>
              <p:nvPr/>
            </p:nvGrpSpPr>
            <p:grpSpPr>
              <a:xfrm>
                <a:off x="8819949" y="3046851"/>
                <a:ext cx="514438" cy="472144"/>
                <a:chOff x="8819949" y="3046851"/>
                <a:chExt cx="514438" cy="472144"/>
              </a:xfrm>
            </p:grpSpPr>
            <p:grpSp>
              <p:nvGrpSpPr>
                <p:cNvPr id="183" name="Graphic 3">
                  <a:extLst>
                    <a:ext uri="{FF2B5EF4-FFF2-40B4-BE49-F238E27FC236}">
                      <a16:creationId xmlns:a16="http://schemas.microsoft.com/office/drawing/2014/main" id="{50774632-7F8C-D8E7-B762-0791317E635A}"/>
                    </a:ext>
                  </a:extLst>
                </p:cNvPr>
                <p:cNvGrpSpPr/>
                <p:nvPr/>
              </p:nvGrpSpPr>
              <p:grpSpPr>
                <a:xfrm>
                  <a:off x="8819949" y="3046851"/>
                  <a:ext cx="514438" cy="472144"/>
                  <a:chOff x="8819949" y="3046851"/>
                  <a:chExt cx="514438" cy="472144"/>
                </a:xfrm>
                <a:solidFill>
                  <a:srgbClr val="FFFFFF"/>
                </a:solidFill>
              </p:grpSpPr>
              <p:grpSp>
                <p:nvGrpSpPr>
                  <p:cNvPr id="191" name="Graphic 3">
                    <a:extLst>
                      <a:ext uri="{FF2B5EF4-FFF2-40B4-BE49-F238E27FC236}">
                        <a16:creationId xmlns:a16="http://schemas.microsoft.com/office/drawing/2014/main" id="{B9B25065-8BCB-7203-794F-E14D934346BE}"/>
                      </a:ext>
                    </a:extLst>
                  </p:cNvPr>
                  <p:cNvGrpSpPr/>
                  <p:nvPr/>
                </p:nvGrpSpPr>
                <p:grpSpPr>
                  <a:xfrm>
                    <a:off x="8881166" y="3046851"/>
                    <a:ext cx="453221" cy="472144"/>
                    <a:chOff x="8881166" y="3046851"/>
                    <a:chExt cx="453221" cy="472144"/>
                  </a:xfrm>
                  <a:solidFill>
                    <a:srgbClr val="FFFFFF"/>
                  </a:solidFill>
                </p:grpSpPr>
                <p:sp>
                  <p:nvSpPr>
                    <p:cNvPr id="201" name="Freeform: Shape 200">
                      <a:extLst>
                        <a:ext uri="{FF2B5EF4-FFF2-40B4-BE49-F238E27FC236}">
                          <a16:creationId xmlns:a16="http://schemas.microsoft.com/office/drawing/2014/main" id="{F0764455-B2DB-D212-E8F3-60036099945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88994" y="3052421"/>
                      <a:ext cx="438719" cy="457668"/>
                    </a:xfrm>
                    <a:custGeom>
                      <a:avLst/>
                      <a:gdLst>
                        <a:gd name="connsiteX0" fmla="*/ 258342 w 438719"/>
                        <a:gd name="connsiteY0" fmla="*/ 455442 h 457668"/>
                        <a:gd name="connsiteX1" fmla="*/ 90220 w 438719"/>
                        <a:gd name="connsiteY1" fmla="*/ 238302 h 457668"/>
                        <a:gd name="connsiteX2" fmla="*/ 90220 w 438719"/>
                        <a:gd name="connsiteY2" fmla="*/ 188193 h 457668"/>
                        <a:gd name="connsiteX3" fmla="*/ 53452 w 438719"/>
                        <a:gd name="connsiteY3" fmla="*/ 188193 h 457668"/>
                        <a:gd name="connsiteX4" fmla="*/ 72382 w 438719"/>
                        <a:gd name="connsiteY4" fmla="*/ 207123 h 457668"/>
                        <a:gd name="connsiteX5" fmla="*/ 53452 w 438719"/>
                        <a:gd name="connsiteY5" fmla="*/ 226052 h 457668"/>
                        <a:gd name="connsiteX6" fmla="*/ 0 w 438719"/>
                        <a:gd name="connsiteY6" fmla="*/ 172600 h 457668"/>
                        <a:gd name="connsiteX7" fmla="*/ 53452 w 438719"/>
                        <a:gd name="connsiteY7" fmla="*/ 119148 h 457668"/>
                        <a:gd name="connsiteX8" fmla="*/ 73473 w 438719"/>
                        <a:gd name="connsiteY8" fmla="*/ 139194 h 457668"/>
                        <a:gd name="connsiteX9" fmla="*/ 53452 w 438719"/>
                        <a:gd name="connsiteY9" fmla="*/ 159240 h 457668"/>
                        <a:gd name="connsiteX10" fmla="*/ 91312 w 438719"/>
                        <a:gd name="connsiteY10" fmla="*/ 159240 h 457668"/>
                        <a:gd name="connsiteX11" fmla="*/ 91312 w 438719"/>
                        <a:gd name="connsiteY11" fmla="*/ 74609 h 457668"/>
                        <a:gd name="connsiteX12" fmla="*/ 265016 w 438719"/>
                        <a:gd name="connsiteY12" fmla="*/ 0 h 457668"/>
                        <a:gd name="connsiteX13" fmla="*/ 438719 w 438719"/>
                        <a:gd name="connsiteY13" fmla="*/ 74609 h 457668"/>
                        <a:gd name="connsiteX14" fmla="*/ 438719 w 438719"/>
                        <a:gd name="connsiteY14" fmla="*/ 237186 h 457668"/>
                        <a:gd name="connsiteX15" fmla="*/ 270599 w 438719"/>
                        <a:gd name="connsiteY15" fmla="*/ 454332 h 457668"/>
                        <a:gd name="connsiteX16" fmla="*/ 265016 w 438719"/>
                        <a:gd name="connsiteY16" fmla="*/ 457668 h 457668"/>
                        <a:gd name="connsiteX17" fmla="*/ 258342 w 438719"/>
                        <a:gd name="connsiteY17" fmla="*/ 455442 h 4576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</a:cxnLst>
                      <a:rect l="l" t="t" r="r" b="b"/>
                      <a:pathLst>
                        <a:path w="438719" h="457668">
                          <a:moveTo>
                            <a:pt x="258342" y="455442"/>
                          </a:moveTo>
                          <a:cubicBezTo>
                            <a:pt x="157020" y="404216"/>
                            <a:pt x="95740" y="325154"/>
                            <a:pt x="90220" y="238302"/>
                          </a:cubicBezTo>
                          <a:lnTo>
                            <a:pt x="90220" y="188193"/>
                          </a:lnTo>
                          <a:lnTo>
                            <a:pt x="53452" y="188193"/>
                          </a:lnTo>
                          <a:lnTo>
                            <a:pt x="72382" y="207123"/>
                          </a:lnTo>
                          <a:lnTo>
                            <a:pt x="53452" y="226052"/>
                          </a:lnTo>
                          <a:lnTo>
                            <a:pt x="0" y="172600"/>
                          </a:lnTo>
                          <a:lnTo>
                            <a:pt x="53452" y="119148"/>
                          </a:lnTo>
                          <a:lnTo>
                            <a:pt x="73473" y="139194"/>
                          </a:lnTo>
                          <a:lnTo>
                            <a:pt x="53452" y="159240"/>
                          </a:lnTo>
                          <a:lnTo>
                            <a:pt x="91312" y="159240"/>
                          </a:lnTo>
                          <a:lnTo>
                            <a:pt x="91312" y="74609"/>
                          </a:lnTo>
                          <a:lnTo>
                            <a:pt x="265016" y="0"/>
                          </a:lnTo>
                          <a:lnTo>
                            <a:pt x="438719" y="74609"/>
                          </a:lnTo>
                          <a:lnTo>
                            <a:pt x="438719" y="237186"/>
                          </a:lnTo>
                          <a:cubicBezTo>
                            <a:pt x="433137" y="325154"/>
                            <a:pt x="373011" y="404216"/>
                            <a:pt x="270599" y="454332"/>
                          </a:cubicBezTo>
                          <a:lnTo>
                            <a:pt x="265016" y="457668"/>
                          </a:lnTo>
                          <a:lnTo>
                            <a:pt x="258342" y="455442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  <p:sp>
                  <p:nvSpPr>
                    <p:cNvPr id="202" name="Freeform: Shape 201">
                      <a:extLst>
                        <a:ext uri="{FF2B5EF4-FFF2-40B4-BE49-F238E27FC236}">
                          <a16:creationId xmlns:a16="http://schemas.microsoft.com/office/drawing/2014/main" id="{50AB2A13-E513-2F8B-A647-EACDE925684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81166" y="3046851"/>
                      <a:ext cx="453221" cy="472144"/>
                    </a:xfrm>
                    <a:custGeom>
                      <a:avLst/>
                      <a:gdLst>
                        <a:gd name="connsiteX0" fmla="*/ 271753 w 453221"/>
                        <a:gd name="connsiteY0" fmla="*/ 12250 h 472144"/>
                        <a:gd name="connsiteX1" fmla="*/ 439874 w 453221"/>
                        <a:gd name="connsiteY1" fmla="*/ 84632 h 472144"/>
                        <a:gd name="connsiteX2" fmla="*/ 439874 w 453221"/>
                        <a:gd name="connsiteY2" fmla="*/ 242756 h 472144"/>
                        <a:gd name="connsiteX3" fmla="*/ 275090 w 453221"/>
                        <a:gd name="connsiteY3" fmla="*/ 455442 h 472144"/>
                        <a:gd name="connsiteX4" fmla="*/ 271753 w 453221"/>
                        <a:gd name="connsiteY4" fmla="*/ 457668 h 472144"/>
                        <a:gd name="connsiteX5" fmla="*/ 268416 w 453221"/>
                        <a:gd name="connsiteY5" fmla="*/ 455442 h 472144"/>
                        <a:gd name="connsiteX6" fmla="*/ 103568 w 453221"/>
                        <a:gd name="connsiteY6" fmla="*/ 242756 h 472144"/>
                        <a:gd name="connsiteX7" fmla="*/ 103568 w 453221"/>
                        <a:gd name="connsiteY7" fmla="*/ 188193 h 472144"/>
                        <a:gd name="connsiteX8" fmla="*/ 47934 w 453221"/>
                        <a:gd name="connsiteY8" fmla="*/ 188193 h 472144"/>
                        <a:gd name="connsiteX9" fmla="*/ 60190 w 453221"/>
                        <a:gd name="connsiteY9" fmla="*/ 200443 h 472144"/>
                        <a:gd name="connsiteX10" fmla="*/ 72381 w 453221"/>
                        <a:gd name="connsiteY10" fmla="*/ 212693 h 472144"/>
                        <a:gd name="connsiteX11" fmla="*/ 61280 w 453221"/>
                        <a:gd name="connsiteY11" fmla="*/ 223826 h 472144"/>
                        <a:gd name="connsiteX12" fmla="*/ 36768 w 453221"/>
                        <a:gd name="connsiteY12" fmla="*/ 200443 h 472144"/>
                        <a:gd name="connsiteX13" fmla="*/ 33431 w 453221"/>
                        <a:gd name="connsiteY13" fmla="*/ 197100 h 472144"/>
                        <a:gd name="connsiteX14" fmla="*/ 15592 w 453221"/>
                        <a:gd name="connsiteY14" fmla="*/ 179286 h 472144"/>
                        <a:gd name="connsiteX15" fmla="*/ 33431 w 453221"/>
                        <a:gd name="connsiteY15" fmla="*/ 161467 h 472144"/>
                        <a:gd name="connsiteX16" fmla="*/ 35677 w 453221"/>
                        <a:gd name="connsiteY16" fmla="*/ 159240 h 472144"/>
                        <a:gd name="connsiteX17" fmla="*/ 61280 w 453221"/>
                        <a:gd name="connsiteY17" fmla="*/ 133631 h 472144"/>
                        <a:gd name="connsiteX18" fmla="*/ 72381 w 453221"/>
                        <a:gd name="connsiteY18" fmla="*/ 144764 h 472144"/>
                        <a:gd name="connsiteX19" fmla="*/ 59035 w 453221"/>
                        <a:gd name="connsiteY19" fmla="*/ 158124 h 472144"/>
                        <a:gd name="connsiteX20" fmla="*/ 46778 w 453221"/>
                        <a:gd name="connsiteY20" fmla="*/ 170374 h 472144"/>
                        <a:gd name="connsiteX21" fmla="*/ 103568 w 453221"/>
                        <a:gd name="connsiteY21" fmla="*/ 170374 h 472144"/>
                        <a:gd name="connsiteX22" fmla="*/ 103568 w 453221"/>
                        <a:gd name="connsiteY22" fmla="*/ 158124 h 472144"/>
                        <a:gd name="connsiteX23" fmla="*/ 103568 w 453221"/>
                        <a:gd name="connsiteY23" fmla="*/ 84632 h 472144"/>
                        <a:gd name="connsiteX24" fmla="*/ 271753 w 453221"/>
                        <a:gd name="connsiteY24" fmla="*/ 12250 h 472144"/>
                        <a:gd name="connsiteX25" fmla="*/ 271753 w 453221"/>
                        <a:gd name="connsiteY25" fmla="*/ 0 h 472144"/>
                        <a:gd name="connsiteX26" fmla="*/ 267261 w 453221"/>
                        <a:gd name="connsiteY26" fmla="*/ 2227 h 472144"/>
                        <a:gd name="connsiteX27" fmla="*/ 99140 w 453221"/>
                        <a:gd name="connsiteY27" fmla="*/ 74609 h 472144"/>
                        <a:gd name="connsiteX28" fmla="*/ 92466 w 453221"/>
                        <a:gd name="connsiteY28" fmla="*/ 77952 h 472144"/>
                        <a:gd name="connsiteX29" fmla="*/ 92466 w 453221"/>
                        <a:gd name="connsiteY29" fmla="*/ 85748 h 472144"/>
                        <a:gd name="connsiteX30" fmla="*/ 92466 w 453221"/>
                        <a:gd name="connsiteY30" fmla="*/ 160350 h 472144"/>
                        <a:gd name="connsiteX31" fmla="*/ 92466 w 453221"/>
                        <a:gd name="connsiteY31" fmla="*/ 161467 h 472144"/>
                        <a:gd name="connsiteX32" fmla="*/ 73537 w 453221"/>
                        <a:gd name="connsiteY32" fmla="*/ 161467 h 472144"/>
                        <a:gd name="connsiteX33" fmla="*/ 80211 w 453221"/>
                        <a:gd name="connsiteY33" fmla="*/ 154787 h 472144"/>
                        <a:gd name="connsiteX34" fmla="*/ 87975 w 453221"/>
                        <a:gd name="connsiteY34" fmla="*/ 146990 h 472144"/>
                        <a:gd name="connsiteX35" fmla="*/ 80211 w 453221"/>
                        <a:gd name="connsiteY35" fmla="*/ 139194 h 472144"/>
                        <a:gd name="connsiteX36" fmla="*/ 69045 w 453221"/>
                        <a:gd name="connsiteY36" fmla="*/ 128061 h 472144"/>
                        <a:gd name="connsiteX37" fmla="*/ 61280 w 453221"/>
                        <a:gd name="connsiteY37" fmla="*/ 118038 h 472144"/>
                        <a:gd name="connsiteX38" fmla="*/ 53452 w 453221"/>
                        <a:gd name="connsiteY38" fmla="*/ 125834 h 472144"/>
                        <a:gd name="connsiteX39" fmla="*/ 27849 w 453221"/>
                        <a:gd name="connsiteY39" fmla="*/ 151444 h 472144"/>
                        <a:gd name="connsiteX40" fmla="*/ 25667 w 453221"/>
                        <a:gd name="connsiteY40" fmla="*/ 153671 h 472144"/>
                        <a:gd name="connsiteX41" fmla="*/ 7828 w 453221"/>
                        <a:gd name="connsiteY41" fmla="*/ 171490 h 472144"/>
                        <a:gd name="connsiteX42" fmla="*/ 0 w 453221"/>
                        <a:gd name="connsiteY42" fmla="*/ 179286 h 472144"/>
                        <a:gd name="connsiteX43" fmla="*/ 7828 w 453221"/>
                        <a:gd name="connsiteY43" fmla="*/ 187077 h 472144"/>
                        <a:gd name="connsiteX44" fmla="*/ 25667 w 453221"/>
                        <a:gd name="connsiteY44" fmla="*/ 204896 h 472144"/>
                        <a:gd name="connsiteX45" fmla="*/ 29004 w 453221"/>
                        <a:gd name="connsiteY45" fmla="*/ 208233 h 472144"/>
                        <a:gd name="connsiteX46" fmla="*/ 53452 w 453221"/>
                        <a:gd name="connsiteY46" fmla="*/ 232732 h 472144"/>
                        <a:gd name="connsiteX47" fmla="*/ 61280 w 453221"/>
                        <a:gd name="connsiteY47" fmla="*/ 240529 h 472144"/>
                        <a:gd name="connsiteX48" fmla="*/ 69045 w 453221"/>
                        <a:gd name="connsiteY48" fmla="*/ 232732 h 472144"/>
                        <a:gd name="connsiteX49" fmla="*/ 80211 w 453221"/>
                        <a:gd name="connsiteY49" fmla="*/ 221599 h 472144"/>
                        <a:gd name="connsiteX50" fmla="*/ 87975 w 453221"/>
                        <a:gd name="connsiteY50" fmla="*/ 213803 h 472144"/>
                        <a:gd name="connsiteX51" fmla="*/ 80211 w 453221"/>
                        <a:gd name="connsiteY51" fmla="*/ 206006 h 472144"/>
                        <a:gd name="connsiteX52" fmla="*/ 74628 w 453221"/>
                        <a:gd name="connsiteY52" fmla="*/ 200443 h 472144"/>
                        <a:gd name="connsiteX53" fmla="*/ 92466 w 453221"/>
                        <a:gd name="connsiteY53" fmla="*/ 200443 h 472144"/>
                        <a:gd name="connsiteX54" fmla="*/ 92466 w 453221"/>
                        <a:gd name="connsiteY54" fmla="*/ 243872 h 472144"/>
                        <a:gd name="connsiteX55" fmla="*/ 92466 w 453221"/>
                        <a:gd name="connsiteY55" fmla="*/ 244982 h 472144"/>
                        <a:gd name="connsiteX56" fmla="*/ 263925 w 453221"/>
                        <a:gd name="connsiteY56" fmla="*/ 467691 h 472144"/>
                        <a:gd name="connsiteX57" fmla="*/ 267261 w 453221"/>
                        <a:gd name="connsiteY57" fmla="*/ 469918 h 472144"/>
                        <a:gd name="connsiteX58" fmla="*/ 272844 w 453221"/>
                        <a:gd name="connsiteY58" fmla="*/ 472145 h 472144"/>
                        <a:gd name="connsiteX59" fmla="*/ 278427 w 453221"/>
                        <a:gd name="connsiteY59" fmla="*/ 469918 h 472144"/>
                        <a:gd name="connsiteX60" fmla="*/ 281763 w 453221"/>
                        <a:gd name="connsiteY60" fmla="*/ 467691 h 472144"/>
                        <a:gd name="connsiteX61" fmla="*/ 453222 w 453221"/>
                        <a:gd name="connsiteY61" fmla="*/ 246099 h 472144"/>
                        <a:gd name="connsiteX62" fmla="*/ 453222 w 453221"/>
                        <a:gd name="connsiteY62" fmla="*/ 84632 h 472144"/>
                        <a:gd name="connsiteX63" fmla="*/ 453222 w 453221"/>
                        <a:gd name="connsiteY63" fmla="*/ 76835 h 472144"/>
                        <a:gd name="connsiteX64" fmla="*/ 446548 w 453221"/>
                        <a:gd name="connsiteY64" fmla="*/ 73498 h 472144"/>
                        <a:gd name="connsiteX65" fmla="*/ 276180 w 453221"/>
                        <a:gd name="connsiteY65" fmla="*/ 2227 h 472144"/>
                        <a:gd name="connsiteX66" fmla="*/ 271753 w 453221"/>
                        <a:gd name="connsiteY66" fmla="*/ 0 h 47214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</a:cxnLst>
                      <a:rect l="l" t="t" r="r" b="b"/>
                      <a:pathLst>
                        <a:path w="453221" h="472144">
                          <a:moveTo>
                            <a:pt x="271753" y="12250"/>
                          </a:moveTo>
                          <a:lnTo>
                            <a:pt x="439874" y="84632"/>
                          </a:lnTo>
                          <a:lnTo>
                            <a:pt x="439874" y="242756"/>
                          </a:lnTo>
                          <a:cubicBezTo>
                            <a:pt x="435447" y="327387"/>
                            <a:pt x="375321" y="405333"/>
                            <a:pt x="275090" y="455442"/>
                          </a:cubicBezTo>
                          <a:lnTo>
                            <a:pt x="271753" y="457668"/>
                          </a:lnTo>
                          <a:lnTo>
                            <a:pt x="268416" y="455442"/>
                          </a:lnTo>
                          <a:cubicBezTo>
                            <a:pt x="168185" y="405333"/>
                            <a:pt x="108059" y="327387"/>
                            <a:pt x="103568" y="242756"/>
                          </a:cubicBezTo>
                          <a:lnTo>
                            <a:pt x="103568" y="188193"/>
                          </a:lnTo>
                          <a:lnTo>
                            <a:pt x="47934" y="188193"/>
                          </a:lnTo>
                          <a:lnTo>
                            <a:pt x="60190" y="200443"/>
                          </a:lnTo>
                          <a:lnTo>
                            <a:pt x="72381" y="212693"/>
                          </a:lnTo>
                          <a:lnTo>
                            <a:pt x="61280" y="223826"/>
                          </a:lnTo>
                          <a:lnTo>
                            <a:pt x="36768" y="200443"/>
                          </a:lnTo>
                          <a:lnTo>
                            <a:pt x="33431" y="197100"/>
                          </a:lnTo>
                          <a:lnTo>
                            <a:pt x="15592" y="179286"/>
                          </a:lnTo>
                          <a:lnTo>
                            <a:pt x="33431" y="161467"/>
                          </a:lnTo>
                          <a:lnTo>
                            <a:pt x="35677" y="159240"/>
                          </a:lnTo>
                          <a:lnTo>
                            <a:pt x="61280" y="133631"/>
                          </a:lnTo>
                          <a:lnTo>
                            <a:pt x="72381" y="144764"/>
                          </a:lnTo>
                          <a:lnTo>
                            <a:pt x="59035" y="158124"/>
                          </a:lnTo>
                          <a:lnTo>
                            <a:pt x="46778" y="170374"/>
                          </a:lnTo>
                          <a:lnTo>
                            <a:pt x="103568" y="170374"/>
                          </a:lnTo>
                          <a:lnTo>
                            <a:pt x="103568" y="158124"/>
                          </a:lnTo>
                          <a:lnTo>
                            <a:pt x="103568" y="84632"/>
                          </a:lnTo>
                          <a:lnTo>
                            <a:pt x="271753" y="12250"/>
                          </a:lnTo>
                          <a:close/>
                          <a:moveTo>
                            <a:pt x="271753" y="0"/>
                          </a:moveTo>
                          <a:lnTo>
                            <a:pt x="267261" y="2227"/>
                          </a:lnTo>
                          <a:lnTo>
                            <a:pt x="99140" y="74609"/>
                          </a:lnTo>
                          <a:lnTo>
                            <a:pt x="92466" y="77952"/>
                          </a:lnTo>
                          <a:lnTo>
                            <a:pt x="92466" y="85748"/>
                          </a:lnTo>
                          <a:lnTo>
                            <a:pt x="92466" y="160350"/>
                          </a:lnTo>
                          <a:lnTo>
                            <a:pt x="92466" y="161467"/>
                          </a:lnTo>
                          <a:lnTo>
                            <a:pt x="73537" y="161467"/>
                          </a:lnTo>
                          <a:lnTo>
                            <a:pt x="80211" y="154787"/>
                          </a:lnTo>
                          <a:lnTo>
                            <a:pt x="87975" y="146990"/>
                          </a:lnTo>
                          <a:lnTo>
                            <a:pt x="80211" y="139194"/>
                          </a:lnTo>
                          <a:lnTo>
                            <a:pt x="69045" y="128061"/>
                          </a:lnTo>
                          <a:lnTo>
                            <a:pt x="61280" y="118038"/>
                          </a:lnTo>
                          <a:lnTo>
                            <a:pt x="53452" y="125834"/>
                          </a:lnTo>
                          <a:lnTo>
                            <a:pt x="27849" y="151444"/>
                          </a:lnTo>
                          <a:lnTo>
                            <a:pt x="25667" y="153671"/>
                          </a:lnTo>
                          <a:lnTo>
                            <a:pt x="7828" y="171490"/>
                          </a:lnTo>
                          <a:lnTo>
                            <a:pt x="0" y="179286"/>
                          </a:lnTo>
                          <a:lnTo>
                            <a:pt x="7828" y="187077"/>
                          </a:lnTo>
                          <a:lnTo>
                            <a:pt x="25667" y="204896"/>
                          </a:lnTo>
                          <a:lnTo>
                            <a:pt x="29004" y="208233"/>
                          </a:lnTo>
                          <a:lnTo>
                            <a:pt x="53452" y="232732"/>
                          </a:lnTo>
                          <a:lnTo>
                            <a:pt x="61280" y="240529"/>
                          </a:lnTo>
                          <a:lnTo>
                            <a:pt x="69045" y="232732"/>
                          </a:lnTo>
                          <a:lnTo>
                            <a:pt x="80211" y="221599"/>
                          </a:lnTo>
                          <a:lnTo>
                            <a:pt x="87975" y="213803"/>
                          </a:lnTo>
                          <a:lnTo>
                            <a:pt x="80211" y="206006"/>
                          </a:lnTo>
                          <a:lnTo>
                            <a:pt x="74628" y="200443"/>
                          </a:lnTo>
                          <a:lnTo>
                            <a:pt x="92466" y="200443"/>
                          </a:lnTo>
                          <a:lnTo>
                            <a:pt x="92466" y="243872"/>
                          </a:lnTo>
                          <a:lnTo>
                            <a:pt x="92466" y="244982"/>
                          </a:lnTo>
                          <a:cubicBezTo>
                            <a:pt x="98049" y="334067"/>
                            <a:pt x="160357" y="415356"/>
                            <a:pt x="263925" y="467691"/>
                          </a:cubicBezTo>
                          <a:lnTo>
                            <a:pt x="267261" y="469918"/>
                          </a:lnTo>
                          <a:lnTo>
                            <a:pt x="272844" y="472145"/>
                          </a:lnTo>
                          <a:lnTo>
                            <a:pt x="278427" y="469918"/>
                          </a:lnTo>
                          <a:lnTo>
                            <a:pt x="281763" y="467691"/>
                          </a:lnTo>
                          <a:cubicBezTo>
                            <a:pt x="385331" y="415356"/>
                            <a:pt x="447703" y="335184"/>
                            <a:pt x="453222" y="246099"/>
                          </a:cubicBezTo>
                          <a:lnTo>
                            <a:pt x="453222" y="84632"/>
                          </a:lnTo>
                          <a:lnTo>
                            <a:pt x="453222" y="76835"/>
                          </a:lnTo>
                          <a:lnTo>
                            <a:pt x="446548" y="73498"/>
                          </a:lnTo>
                          <a:lnTo>
                            <a:pt x="276180" y="2227"/>
                          </a:lnTo>
                          <a:lnTo>
                            <a:pt x="271753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</p:grpSp>
              <p:grpSp>
                <p:nvGrpSpPr>
                  <p:cNvPr id="192" name="Graphic 3">
                    <a:extLst>
                      <a:ext uri="{FF2B5EF4-FFF2-40B4-BE49-F238E27FC236}">
                        <a16:creationId xmlns:a16="http://schemas.microsoft.com/office/drawing/2014/main" id="{8178D31E-F240-C953-7339-5D048BF51B45}"/>
                      </a:ext>
                    </a:extLst>
                  </p:cNvPr>
                  <p:cNvGrpSpPr/>
                  <p:nvPr/>
                </p:nvGrpSpPr>
                <p:grpSpPr>
                  <a:xfrm>
                    <a:off x="8819949" y="3286270"/>
                    <a:ext cx="62371" cy="62358"/>
                    <a:chOff x="8819949" y="3286270"/>
                    <a:chExt cx="62371" cy="62358"/>
                  </a:xfrm>
                  <a:solidFill>
                    <a:srgbClr val="FFFFFF"/>
                  </a:solidFill>
                </p:grpSpPr>
                <p:sp>
                  <p:nvSpPr>
                    <p:cNvPr id="199" name="Freeform: Shape 198">
                      <a:extLst>
                        <a:ext uri="{FF2B5EF4-FFF2-40B4-BE49-F238E27FC236}">
                          <a16:creationId xmlns:a16="http://schemas.microsoft.com/office/drawing/2014/main" id="{D206754C-1B6B-2665-6479-14A611DB76A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25532" y="3291833"/>
                      <a:ext cx="51206" cy="51225"/>
                    </a:xfrm>
                    <a:custGeom>
                      <a:avLst/>
                      <a:gdLst>
                        <a:gd name="connsiteX0" fmla="*/ 25603 w 51206"/>
                        <a:gd name="connsiteY0" fmla="*/ 51226 h 51225"/>
                        <a:gd name="connsiteX1" fmla="*/ 0 w 51206"/>
                        <a:gd name="connsiteY1" fmla="*/ 25616 h 51225"/>
                        <a:gd name="connsiteX2" fmla="*/ 25603 w 51206"/>
                        <a:gd name="connsiteY2" fmla="*/ 0 h 51225"/>
                        <a:gd name="connsiteX3" fmla="*/ 51206 w 51206"/>
                        <a:gd name="connsiteY3" fmla="*/ 25616 h 51225"/>
                        <a:gd name="connsiteX4" fmla="*/ 25603 w 51206"/>
                        <a:gd name="connsiteY4" fmla="*/ 51226 h 512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1206" h="51225">
                          <a:moveTo>
                            <a:pt x="25603" y="51226"/>
                          </a:moveTo>
                          <a:cubicBezTo>
                            <a:pt x="11101" y="51226"/>
                            <a:pt x="0" y="40093"/>
                            <a:pt x="0" y="25616"/>
                          </a:cubicBezTo>
                          <a:cubicBezTo>
                            <a:pt x="0" y="11140"/>
                            <a:pt x="11101" y="0"/>
                            <a:pt x="25603" y="0"/>
                          </a:cubicBezTo>
                          <a:cubicBezTo>
                            <a:pt x="40041" y="0"/>
                            <a:pt x="51206" y="11140"/>
                            <a:pt x="51206" y="25616"/>
                          </a:cubicBezTo>
                          <a:cubicBezTo>
                            <a:pt x="51206" y="40093"/>
                            <a:pt x="40041" y="51226"/>
                            <a:pt x="25603" y="5122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  <p:sp>
                  <p:nvSpPr>
                    <p:cNvPr id="200" name="Freeform: Shape 199">
                      <a:extLst>
                        <a:ext uri="{FF2B5EF4-FFF2-40B4-BE49-F238E27FC236}">
                          <a16:creationId xmlns:a16="http://schemas.microsoft.com/office/drawing/2014/main" id="{DE751BD0-657A-857D-C10D-BCF5552142E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19949" y="3286270"/>
                      <a:ext cx="62371" cy="62358"/>
                    </a:xfrm>
                    <a:custGeom>
                      <a:avLst/>
                      <a:gdLst>
                        <a:gd name="connsiteX0" fmla="*/ 31186 w 62371"/>
                        <a:gd name="connsiteY0" fmla="*/ 11133 h 62358"/>
                        <a:gd name="connsiteX1" fmla="*/ 51206 w 62371"/>
                        <a:gd name="connsiteY1" fmla="*/ 31179 h 62358"/>
                        <a:gd name="connsiteX2" fmla="*/ 31186 w 62371"/>
                        <a:gd name="connsiteY2" fmla="*/ 51219 h 62358"/>
                        <a:gd name="connsiteX3" fmla="*/ 11165 w 62371"/>
                        <a:gd name="connsiteY3" fmla="*/ 31179 h 62358"/>
                        <a:gd name="connsiteX4" fmla="*/ 31186 w 62371"/>
                        <a:gd name="connsiteY4" fmla="*/ 11133 h 62358"/>
                        <a:gd name="connsiteX5" fmla="*/ 31186 w 62371"/>
                        <a:gd name="connsiteY5" fmla="*/ 0 h 62358"/>
                        <a:gd name="connsiteX6" fmla="*/ 0 w 62371"/>
                        <a:gd name="connsiteY6" fmla="*/ 31179 h 62358"/>
                        <a:gd name="connsiteX7" fmla="*/ 31186 w 62371"/>
                        <a:gd name="connsiteY7" fmla="*/ 62359 h 62358"/>
                        <a:gd name="connsiteX8" fmla="*/ 62372 w 62371"/>
                        <a:gd name="connsiteY8" fmla="*/ 31179 h 62358"/>
                        <a:gd name="connsiteX9" fmla="*/ 31186 w 62371"/>
                        <a:gd name="connsiteY9" fmla="*/ 0 h 62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62371" h="62358">
                          <a:moveTo>
                            <a:pt x="31186" y="11133"/>
                          </a:moveTo>
                          <a:cubicBezTo>
                            <a:pt x="42287" y="11133"/>
                            <a:pt x="51206" y="20040"/>
                            <a:pt x="51206" y="31179"/>
                          </a:cubicBezTo>
                          <a:cubicBezTo>
                            <a:pt x="51206" y="42313"/>
                            <a:pt x="42287" y="51219"/>
                            <a:pt x="31186" y="51219"/>
                          </a:cubicBezTo>
                          <a:cubicBezTo>
                            <a:pt x="20021" y="51219"/>
                            <a:pt x="11165" y="42313"/>
                            <a:pt x="11165" y="31179"/>
                          </a:cubicBezTo>
                          <a:cubicBezTo>
                            <a:pt x="11165" y="20040"/>
                            <a:pt x="20021" y="11133"/>
                            <a:pt x="31186" y="11133"/>
                          </a:cubicBezTo>
                          <a:close/>
                          <a:moveTo>
                            <a:pt x="31186" y="0"/>
                          </a:moveTo>
                          <a:cubicBezTo>
                            <a:pt x="14502" y="0"/>
                            <a:pt x="0" y="13360"/>
                            <a:pt x="0" y="31179"/>
                          </a:cubicBezTo>
                          <a:cubicBezTo>
                            <a:pt x="0" y="47883"/>
                            <a:pt x="13347" y="62359"/>
                            <a:pt x="31186" y="62359"/>
                          </a:cubicBezTo>
                          <a:cubicBezTo>
                            <a:pt x="49025" y="62359"/>
                            <a:pt x="62372" y="48993"/>
                            <a:pt x="62372" y="31179"/>
                          </a:cubicBezTo>
                          <a:cubicBezTo>
                            <a:pt x="62372" y="14476"/>
                            <a:pt x="47869" y="0"/>
                            <a:pt x="31186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</p:grpSp>
              <p:grpSp>
                <p:nvGrpSpPr>
                  <p:cNvPr id="193" name="Graphic 3">
                    <a:extLst>
                      <a:ext uri="{FF2B5EF4-FFF2-40B4-BE49-F238E27FC236}">
                        <a16:creationId xmlns:a16="http://schemas.microsoft.com/office/drawing/2014/main" id="{F329D6FB-EEE4-DEE4-7C65-8D34CB04B4C2}"/>
                      </a:ext>
                    </a:extLst>
                  </p:cNvPr>
                  <p:cNvGrpSpPr/>
                  <p:nvPr/>
                </p:nvGrpSpPr>
                <p:grpSpPr>
                  <a:xfrm>
                    <a:off x="8870065" y="3286270"/>
                    <a:ext cx="62371" cy="62358"/>
                    <a:chOff x="8870065" y="3286270"/>
                    <a:chExt cx="62371" cy="62358"/>
                  </a:xfrm>
                  <a:solidFill>
                    <a:srgbClr val="FFFFFF"/>
                  </a:solidFill>
                </p:grpSpPr>
                <p:sp>
                  <p:nvSpPr>
                    <p:cNvPr id="197" name="Freeform: Shape 196">
                      <a:extLst>
                        <a:ext uri="{FF2B5EF4-FFF2-40B4-BE49-F238E27FC236}">
                          <a16:creationId xmlns:a16="http://schemas.microsoft.com/office/drawing/2014/main" id="{41A6289A-30DD-7F2D-E658-4F36EC88285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75648" y="3291833"/>
                      <a:ext cx="51206" cy="51225"/>
                    </a:xfrm>
                    <a:custGeom>
                      <a:avLst/>
                      <a:gdLst>
                        <a:gd name="connsiteX0" fmla="*/ 25603 w 51206"/>
                        <a:gd name="connsiteY0" fmla="*/ 51226 h 51225"/>
                        <a:gd name="connsiteX1" fmla="*/ 0 w 51206"/>
                        <a:gd name="connsiteY1" fmla="*/ 25616 h 51225"/>
                        <a:gd name="connsiteX2" fmla="*/ 25603 w 51206"/>
                        <a:gd name="connsiteY2" fmla="*/ 0 h 51225"/>
                        <a:gd name="connsiteX3" fmla="*/ 51206 w 51206"/>
                        <a:gd name="connsiteY3" fmla="*/ 22273 h 51225"/>
                        <a:gd name="connsiteX4" fmla="*/ 51206 w 51206"/>
                        <a:gd name="connsiteY4" fmla="*/ 25616 h 51225"/>
                        <a:gd name="connsiteX5" fmla="*/ 51206 w 51206"/>
                        <a:gd name="connsiteY5" fmla="*/ 28953 h 51225"/>
                        <a:gd name="connsiteX6" fmla="*/ 25603 w 51206"/>
                        <a:gd name="connsiteY6" fmla="*/ 51226 h 512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51206" h="51225">
                          <a:moveTo>
                            <a:pt x="25603" y="51226"/>
                          </a:moveTo>
                          <a:cubicBezTo>
                            <a:pt x="11101" y="51226"/>
                            <a:pt x="0" y="40093"/>
                            <a:pt x="0" y="25616"/>
                          </a:cubicBezTo>
                          <a:cubicBezTo>
                            <a:pt x="0" y="12250"/>
                            <a:pt x="11101" y="0"/>
                            <a:pt x="25603" y="0"/>
                          </a:cubicBezTo>
                          <a:cubicBezTo>
                            <a:pt x="38950" y="0"/>
                            <a:pt x="48961" y="10023"/>
                            <a:pt x="51206" y="22273"/>
                          </a:cubicBezTo>
                          <a:cubicBezTo>
                            <a:pt x="51206" y="23390"/>
                            <a:pt x="51206" y="24499"/>
                            <a:pt x="51206" y="25616"/>
                          </a:cubicBezTo>
                          <a:cubicBezTo>
                            <a:pt x="51206" y="26726"/>
                            <a:pt x="51206" y="27843"/>
                            <a:pt x="51206" y="28953"/>
                          </a:cubicBezTo>
                          <a:cubicBezTo>
                            <a:pt x="48961" y="42319"/>
                            <a:pt x="37859" y="51226"/>
                            <a:pt x="25603" y="5122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  <p:sp>
                  <p:nvSpPr>
                    <p:cNvPr id="198" name="Freeform: Shape 197">
                      <a:extLst>
                        <a:ext uri="{FF2B5EF4-FFF2-40B4-BE49-F238E27FC236}">
                          <a16:creationId xmlns:a16="http://schemas.microsoft.com/office/drawing/2014/main" id="{DCC96252-0F52-5A65-3092-55656AE97EA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70065" y="3286270"/>
                      <a:ext cx="62371" cy="62358"/>
                    </a:xfrm>
                    <a:custGeom>
                      <a:avLst/>
                      <a:gdLst>
                        <a:gd name="connsiteX0" fmla="*/ 31186 w 62371"/>
                        <a:gd name="connsiteY0" fmla="*/ 11133 h 62358"/>
                        <a:gd name="connsiteX1" fmla="*/ 51206 w 62371"/>
                        <a:gd name="connsiteY1" fmla="*/ 28953 h 62358"/>
                        <a:gd name="connsiteX2" fmla="*/ 51206 w 62371"/>
                        <a:gd name="connsiteY2" fmla="*/ 31179 h 62358"/>
                        <a:gd name="connsiteX3" fmla="*/ 51206 w 62371"/>
                        <a:gd name="connsiteY3" fmla="*/ 33406 h 62358"/>
                        <a:gd name="connsiteX4" fmla="*/ 31186 w 62371"/>
                        <a:gd name="connsiteY4" fmla="*/ 51219 h 62358"/>
                        <a:gd name="connsiteX5" fmla="*/ 11101 w 62371"/>
                        <a:gd name="connsiteY5" fmla="*/ 31179 h 62358"/>
                        <a:gd name="connsiteX6" fmla="*/ 31186 w 62371"/>
                        <a:gd name="connsiteY6" fmla="*/ 11133 h 62358"/>
                        <a:gd name="connsiteX7" fmla="*/ 31186 w 62371"/>
                        <a:gd name="connsiteY7" fmla="*/ 0 h 62358"/>
                        <a:gd name="connsiteX8" fmla="*/ 0 w 62371"/>
                        <a:gd name="connsiteY8" fmla="*/ 31179 h 62358"/>
                        <a:gd name="connsiteX9" fmla="*/ 31186 w 62371"/>
                        <a:gd name="connsiteY9" fmla="*/ 62359 h 62358"/>
                        <a:gd name="connsiteX10" fmla="*/ 62372 w 62371"/>
                        <a:gd name="connsiteY10" fmla="*/ 34516 h 62358"/>
                        <a:gd name="connsiteX11" fmla="*/ 62372 w 62371"/>
                        <a:gd name="connsiteY11" fmla="*/ 31179 h 62358"/>
                        <a:gd name="connsiteX12" fmla="*/ 62372 w 62371"/>
                        <a:gd name="connsiteY12" fmla="*/ 27836 h 62358"/>
                        <a:gd name="connsiteX13" fmla="*/ 31186 w 62371"/>
                        <a:gd name="connsiteY13" fmla="*/ 0 h 62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</a:cxnLst>
                      <a:rect l="l" t="t" r="r" b="b"/>
                      <a:pathLst>
                        <a:path w="62371" h="62358">
                          <a:moveTo>
                            <a:pt x="31186" y="11133"/>
                          </a:moveTo>
                          <a:cubicBezTo>
                            <a:pt x="41196" y="11133"/>
                            <a:pt x="50115" y="18930"/>
                            <a:pt x="51206" y="28953"/>
                          </a:cubicBezTo>
                          <a:cubicBezTo>
                            <a:pt x="51206" y="30063"/>
                            <a:pt x="51206" y="30063"/>
                            <a:pt x="51206" y="31179"/>
                          </a:cubicBezTo>
                          <a:cubicBezTo>
                            <a:pt x="51206" y="32290"/>
                            <a:pt x="51206" y="32290"/>
                            <a:pt x="51206" y="33406"/>
                          </a:cubicBezTo>
                          <a:cubicBezTo>
                            <a:pt x="50115" y="43423"/>
                            <a:pt x="41196" y="51219"/>
                            <a:pt x="31186" y="51219"/>
                          </a:cubicBezTo>
                          <a:cubicBezTo>
                            <a:pt x="20021" y="51219"/>
                            <a:pt x="11101" y="42313"/>
                            <a:pt x="11101" y="31179"/>
                          </a:cubicBezTo>
                          <a:cubicBezTo>
                            <a:pt x="11101" y="20040"/>
                            <a:pt x="20021" y="11133"/>
                            <a:pt x="31186" y="11133"/>
                          </a:cubicBezTo>
                          <a:close/>
                          <a:moveTo>
                            <a:pt x="31186" y="0"/>
                          </a:moveTo>
                          <a:cubicBezTo>
                            <a:pt x="14501" y="0"/>
                            <a:pt x="0" y="13360"/>
                            <a:pt x="0" y="31179"/>
                          </a:cubicBezTo>
                          <a:cubicBezTo>
                            <a:pt x="0" y="48993"/>
                            <a:pt x="13347" y="62359"/>
                            <a:pt x="31186" y="62359"/>
                          </a:cubicBezTo>
                          <a:cubicBezTo>
                            <a:pt x="46778" y="62359"/>
                            <a:pt x="60126" y="50109"/>
                            <a:pt x="62372" y="34516"/>
                          </a:cubicBezTo>
                          <a:cubicBezTo>
                            <a:pt x="62372" y="33406"/>
                            <a:pt x="62372" y="32290"/>
                            <a:pt x="62372" y="31179"/>
                          </a:cubicBezTo>
                          <a:cubicBezTo>
                            <a:pt x="62372" y="30063"/>
                            <a:pt x="62372" y="28953"/>
                            <a:pt x="62372" y="27836"/>
                          </a:cubicBezTo>
                          <a:cubicBezTo>
                            <a:pt x="60126" y="12243"/>
                            <a:pt x="46778" y="0"/>
                            <a:pt x="31186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</p:grpSp>
              <p:grpSp>
                <p:nvGrpSpPr>
                  <p:cNvPr id="194" name="Graphic 3">
                    <a:extLst>
                      <a:ext uri="{FF2B5EF4-FFF2-40B4-BE49-F238E27FC236}">
                        <a16:creationId xmlns:a16="http://schemas.microsoft.com/office/drawing/2014/main" id="{CAD16B08-66C1-48A8-F979-DB63F9566E5E}"/>
                      </a:ext>
                    </a:extLst>
                  </p:cNvPr>
                  <p:cNvGrpSpPr/>
                  <p:nvPr/>
                </p:nvGrpSpPr>
                <p:grpSpPr>
                  <a:xfrm>
                    <a:off x="8920180" y="3286270"/>
                    <a:ext cx="62371" cy="62358"/>
                    <a:chOff x="8920180" y="3286270"/>
                    <a:chExt cx="62371" cy="62358"/>
                  </a:xfrm>
                  <a:solidFill>
                    <a:srgbClr val="FFFFFF"/>
                  </a:solidFill>
                </p:grpSpPr>
                <p:sp>
                  <p:nvSpPr>
                    <p:cNvPr id="195" name="Freeform: Shape 194">
                      <a:extLst>
                        <a:ext uri="{FF2B5EF4-FFF2-40B4-BE49-F238E27FC236}">
                          <a16:creationId xmlns:a16="http://schemas.microsoft.com/office/drawing/2014/main" id="{7F00E0CA-98BE-5595-DC32-1100BC74702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25763" y="3291833"/>
                      <a:ext cx="51206" cy="51225"/>
                    </a:xfrm>
                    <a:custGeom>
                      <a:avLst/>
                      <a:gdLst>
                        <a:gd name="connsiteX0" fmla="*/ 25603 w 51206"/>
                        <a:gd name="connsiteY0" fmla="*/ 51226 h 51225"/>
                        <a:gd name="connsiteX1" fmla="*/ 0 w 51206"/>
                        <a:gd name="connsiteY1" fmla="*/ 25616 h 51225"/>
                        <a:gd name="connsiteX2" fmla="*/ 25603 w 51206"/>
                        <a:gd name="connsiteY2" fmla="*/ 0 h 51225"/>
                        <a:gd name="connsiteX3" fmla="*/ 51206 w 51206"/>
                        <a:gd name="connsiteY3" fmla="*/ 25616 h 51225"/>
                        <a:gd name="connsiteX4" fmla="*/ 25603 w 51206"/>
                        <a:gd name="connsiteY4" fmla="*/ 51226 h 512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1206" h="51225">
                          <a:moveTo>
                            <a:pt x="25603" y="51226"/>
                          </a:moveTo>
                          <a:cubicBezTo>
                            <a:pt x="11101" y="51226"/>
                            <a:pt x="0" y="40093"/>
                            <a:pt x="0" y="25616"/>
                          </a:cubicBezTo>
                          <a:cubicBezTo>
                            <a:pt x="0" y="11140"/>
                            <a:pt x="11101" y="0"/>
                            <a:pt x="25603" y="0"/>
                          </a:cubicBezTo>
                          <a:cubicBezTo>
                            <a:pt x="40041" y="0"/>
                            <a:pt x="51206" y="11140"/>
                            <a:pt x="51206" y="25616"/>
                          </a:cubicBezTo>
                          <a:cubicBezTo>
                            <a:pt x="51206" y="40093"/>
                            <a:pt x="38951" y="51226"/>
                            <a:pt x="25603" y="5122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  <p:sp>
                  <p:nvSpPr>
                    <p:cNvPr id="196" name="Freeform: Shape 195">
                      <a:extLst>
                        <a:ext uri="{FF2B5EF4-FFF2-40B4-BE49-F238E27FC236}">
                          <a16:creationId xmlns:a16="http://schemas.microsoft.com/office/drawing/2014/main" id="{1A53F586-A02D-6259-72BB-98EFF9F84BD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20180" y="3286270"/>
                      <a:ext cx="62371" cy="62358"/>
                    </a:xfrm>
                    <a:custGeom>
                      <a:avLst/>
                      <a:gdLst>
                        <a:gd name="connsiteX0" fmla="*/ 31186 w 62371"/>
                        <a:gd name="connsiteY0" fmla="*/ 11133 h 62358"/>
                        <a:gd name="connsiteX1" fmla="*/ 51206 w 62371"/>
                        <a:gd name="connsiteY1" fmla="*/ 31179 h 62358"/>
                        <a:gd name="connsiteX2" fmla="*/ 31186 w 62371"/>
                        <a:gd name="connsiteY2" fmla="*/ 51219 h 62358"/>
                        <a:gd name="connsiteX3" fmla="*/ 11101 w 62371"/>
                        <a:gd name="connsiteY3" fmla="*/ 31179 h 62358"/>
                        <a:gd name="connsiteX4" fmla="*/ 31186 w 62371"/>
                        <a:gd name="connsiteY4" fmla="*/ 11133 h 62358"/>
                        <a:gd name="connsiteX5" fmla="*/ 31186 w 62371"/>
                        <a:gd name="connsiteY5" fmla="*/ 0 h 62358"/>
                        <a:gd name="connsiteX6" fmla="*/ 0 w 62371"/>
                        <a:gd name="connsiteY6" fmla="*/ 31179 h 62358"/>
                        <a:gd name="connsiteX7" fmla="*/ 31186 w 62371"/>
                        <a:gd name="connsiteY7" fmla="*/ 62359 h 62358"/>
                        <a:gd name="connsiteX8" fmla="*/ 62372 w 62371"/>
                        <a:gd name="connsiteY8" fmla="*/ 31179 h 62358"/>
                        <a:gd name="connsiteX9" fmla="*/ 31186 w 62371"/>
                        <a:gd name="connsiteY9" fmla="*/ 0 h 62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62371" h="62358">
                          <a:moveTo>
                            <a:pt x="31186" y="11133"/>
                          </a:moveTo>
                          <a:cubicBezTo>
                            <a:pt x="42287" y="11133"/>
                            <a:pt x="51206" y="20040"/>
                            <a:pt x="51206" y="31179"/>
                          </a:cubicBezTo>
                          <a:cubicBezTo>
                            <a:pt x="51206" y="42313"/>
                            <a:pt x="42287" y="51219"/>
                            <a:pt x="31186" y="51219"/>
                          </a:cubicBezTo>
                          <a:cubicBezTo>
                            <a:pt x="20021" y="51219"/>
                            <a:pt x="11101" y="42313"/>
                            <a:pt x="11101" y="31179"/>
                          </a:cubicBezTo>
                          <a:cubicBezTo>
                            <a:pt x="11101" y="20040"/>
                            <a:pt x="20021" y="11133"/>
                            <a:pt x="31186" y="11133"/>
                          </a:cubicBezTo>
                          <a:close/>
                          <a:moveTo>
                            <a:pt x="31186" y="0"/>
                          </a:moveTo>
                          <a:cubicBezTo>
                            <a:pt x="14438" y="0"/>
                            <a:pt x="0" y="13360"/>
                            <a:pt x="0" y="31179"/>
                          </a:cubicBezTo>
                          <a:cubicBezTo>
                            <a:pt x="0" y="48993"/>
                            <a:pt x="13347" y="62359"/>
                            <a:pt x="31186" y="62359"/>
                          </a:cubicBezTo>
                          <a:cubicBezTo>
                            <a:pt x="48961" y="62359"/>
                            <a:pt x="62372" y="48993"/>
                            <a:pt x="62372" y="31179"/>
                          </a:cubicBezTo>
                          <a:cubicBezTo>
                            <a:pt x="62372" y="13360"/>
                            <a:pt x="47869" y="0"/>
                            <a:pt x="31186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</p:grpSp>
            </p:grpSp>
            <p:grpSp>
              <p:nvGrpSpPr>
                <p:cNvPr id="184" name="Graphic 3">
                  <a:extLst>
                    <a:ext uri="{FF2B5EF4-FFF2-40B4-BE49-F238E27FC236}">
                      <a16:creationId xmlns:a16="http://schemas.microsoft.com/office/drawing/2014/main" id="{428F1EA0-F5BE-10FC-946B-C7E5D1F7A58F}"/>
                    </a:ext>
                  </a:extLst>
                </p:cNvPr>
                <p:cNvGrpSpPr/>
                <p:nvPr/>
              </p:nvGrpSpPr>
              <p:grpSpPr>
                <a:xfrm>
                  <a:off x="8831114" y="3059101"/>
                  <a:ext cx="489925" cy="445424"/>
                  <a:chOff x="8831114" y="3059101"/>
                  <a:chExt cx="489925" cy="445424"/>
                </a:xfrm>
                <a:solidFill>
                  <a:srgbClr val="2D5967"/>
                </a:solidFill>
              </p:grpSpPr>
              <p:sp>
                <p:nvSpPr>
                  <p:cNvPr id="185" name="Freeform: Shape 184">
                    <a:extLst>
                      <a:ext uri="{FF2B5EF4-FFF2-40B4-BE49-F238E27FC236}">
                        <a16:creationId xmlns:a16="http://schemas.microsoft.com/office/drawing/2014/main" id="{C58A2B13-4019-9D7F-691F-53D0FAAC2031}"/>
                      </a:ext>
                    </a:extLst>
                  </p:cNvPr>
                  <p:cNvSpPr/>
                  <p:nvPr/>
                </p:nvSpPr>
                <p:spPr>
                  <a:xfrm>
                    <a:off x="8984734" y="3059101"/>
                    <a:ext cx="336306" cy="445424"/>
                  </a:xfrm>
                  <a:custGeom>
                    <a:avLst/>
                    <a:gdLst>
                      <a:gd name="connsiteX0" fmla="*/ 168185 w 336306"/>
                      <a:gd name="connsiteY0" fmla="*/ 0 h 445424"/>
                      <a:gd name="connsiteX1" fmla="*/ 0 w 336306"/>
                      <a:gd name="connsiteY1" fmla="*/ 72382 h 445424"/>
                      <a:gd name="connsiteX2" fmla="*/ 0 w 336306"/>
                      <a:gd name="connsiteY2" fmla="*/ 146990 h 445424"/>
                      <a:gd name="connsiteX3" fmla="*/ 16748 w 336306"/>
                      <a:gd name="connsiteY3" fmla="*/ 146990 h 445424"/>
                      <a:gd name="connsiteX4" fmla="*/ 16748 w 336306"/>
                      <a:gd name="connsiteY4" fmla="*/ 82405 h 445424"/>
                      <a:gd name="connsiteX5" fmla="*/ 168185 w 336306"/>
                      <a:gd name="connsiteY5" fmla="*/ 17819 h 445424"/>
                      <a:gd name="connsiteX6" fmla="*/ 319623 w 336306"/>
                      <a:gd name="connsiteY6" fmla="*/ 82405 h 445424"/>
                      <a:gd name="connsiteX7" fmla="*/ 319623 w 336306"/>
                      <a:gd name="connsiteY7" fmla="*/ 229396 h 445424"/>
                      <a:gd name="connsiteX8" fmla="*/ 168185 w 336306"/>
                      <a:gd name="connsiteY8" fmla="*/ 426489 h 445424"/>
                      <a:gd name="connsiteX9" fmla="*/ 16748 w 336306"/>
                      <a:gd name="connsiteY9" fmla="*/ 229396 h 445424"/>
                      <a:gd name="connsiteX10" fmla="*/ 16748 w 336306"/>
                      <a:gd name="connsiteY10" fmla="*/ 188193 h 445424"/>
                      <a:gd name="connsiteX11" fmla="*/ 0 w 336306"/>
                      <a:gd name="connsiteY11" fmla="*/ 188193 h 445424"/>
                      <a:gd name="connsiteX12" fmla="*/ 0 w 336306"/>
                      <a:gd name="connsiteY12" fmla="*/ 230506 h 445424"/>
                      <a:gd name="connsiteX13" fmla="*/ 164848 w 336306"/>
                      <a:gd name="connsiteY13" fmla="*/ 443192 h 445424"/>
                      <a:gd name="connsiteX14" fmla="*/ 168185 w 336306"/>
                      <a:gd name="connsiteY14" fmla="*/ 445425 h 445424"/>
                      <a:gd name="connsiteX15" fmla="*/ 171522 w 336306"/>
                      <a:gd name="connsiteY15" fmla="*/ 443192 h 445424"/>
                      <a:gd name="connsiteX16" fmla="*/ 336306 w 336306"/>
                      <a:gd name="connsiteY16" fmla="*/ 230506 h 445424"/>
                      <a:gd name="connsiteX17" fmla="*/ 336306 w 336306"/>
                      <a:gd name="connsiteY17" fmla="*/ 72382 h 445424"/>
                      <a:gd name="connsiteX18" fmla="*/ 168185 w 336306"/>
                      <a:gd name="connsiteY18" fmla="*/ 0 h 4454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336306" h="445424">
                        <a:moveTo>
                          <a:pt x="168185" y="0"/>
                        </a:moveTo>
                        <a:lnTo>
                          <a:pt x="0" y="72382"/>
                        </a:lnTo>
                        <a:lnTo>
                          <a:pt x="0" y="146990"/>
                        </a:lnTo>
                        <a:lnTo>
                          <a:pt x="16748" y="146990"/>
                        </a:lnTo>
                        <a:lnTo>
                          <a:pt x="16748" y="82405"/>
                        </a:lnTo>
                        <a:lnTo>
                          <a:pt x="168185" y="17819"/>
                        </a:lnTo>
                        <a:lnTo>
                          <a:pt x="319623" y="82405"/>
                        </a:lnTo>
                        <a:lnTo>
                          <a:pt x="319623" y="229396"/>
                        </a:lnTo>
                        <a:cubicBezTo>
                          <a:pt x="315131" y="307341"/>
                          <a:pt x="259497" y="378606"/>
                          <a:pt x="168185" y="426489"/>
                        </a:cubicBezTo>
                        <a:cubicBezTo>
                          <a:pt x="75718" y="379723"/>
                          <a:pt x="21175" y="307341"/>
                          <a:pt x="16748" y="229396"/>
                        </a:cubicBezTo>
                        <a:lnTo>
                          <a:pt x="16748" y="188193"/>
                        </a:lnTo>
                        <a:lnTo>
                          <a:pt x="0" y="188193"/>
                        </a:lnTo>
                        <a:lnTo>
                          <a:pt x="0" y="230506"/>
                        </a:lnTo>
                        <a:cubicBezTo>
                          <a:pt x="4491" y="315137"/>
                          <a:pt x="64617" y="393083"/>
                          <a:pt x="164848" y="443192"/>
                        </a:cubicBezTo>
                        <a:lnTo>
                          <a:pt x="168185" y="445425"/>
                        </a:lnTo>
                        <a:lnTo>
                          <a:pt x="171522" y="443192"/>
                        </a:lnTo>
                        <a:cubicBezTo>
                          <a:pt x="271753" y="393083"/>
                          <a:pt x="331879" y="315137"/>
                          <a:pt x="336306" y="230506"/>
                        </a:cubicBezTo>
                        <a:lnTo>
                          <a:pt x="336306" y="72382"/>
                        </a:lnTo>
                        <a:lnTo>
                          <a:pt x="168185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86" name="Freeform: Shape 185">
                    <a:extLst>
                      <a:ext uri="{FF2B5EF4-FFF2-40B4-BE49-F238E27FC236}">
                        <a16:creationId xmlns:a16="http://schemas.microsoft.com/office/drawing/2014/main" id="{30B6D08B-B5AF-1FCF-D2A5-4B615C7BB876}"/>
                      </a:ext>
                    </a:extLst>
                  </p:cNvPr>
                  <p:cNvSpPr/>
                  <p:nvPr/>
                </p:nvSpPr>
                <p:spPr>
                  <a:xfrm>
                    <a:off x="8831114" y="3297403"/>
                    <a:ext cx="40041" cy="40086"/>
                  </a:xfrm>
                  <a:custGeom>
                    <a:avLst/>
                    <a:gdLst>
                      <a:gd name="connsiteX0" fmla="*/ 20021 w 40041"/>
                      <a:gd name="connsiteY0" fmla="*/ 40086 h 40086"/>
                      <a:gd name="connsiteX1" fmla="*/ 40041 w 40041"/>
                      <a:gd name="connsiteY1" fmla="*/ 20046 h 40086"/>
                      <a:gd name="connsiteX2" fmla="*/ 20021 w 40041"/>
                      <a:gd name="connsiteY2" fmla="*/ 0 h 40086"/>
                      <a:gd name="connsiteX3" fmla="*/ 0 w 40041"/>
                      <a:gd name="connsiteY3" fmla="*/ 20046 h 40086"/>
                      <a:gd name="connsiteX4" fmla="*/ 20021 w 40041"/>
                      <a:gd name="connsiteY4" fmla="*/ 40086 h 400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0041" h="40086">
                        <a:moveTo>
                          <a:pt x="20021" y="40086"/>
                        </a:moveTo>
                        <a:cubicBezTo>
                          <a:pt x="31057" y="40086"/>
                          <a:pt x="40041" y="31115"/>
                          <a:pt x="40041" y="20046"/>
                        </a:cubicBezTo>
                        <a:cubicBezTo>
                          <a:pt x="40041" y="8971"/>
                          <a:pt x="31057" y="0"/>
                          <a:pt x="20021" y="0"/>
                        </a:cubicBezTo>
                        <a:cubicBezTo>
                          <a:pt x="8920" y="0"/>
                          <a:pt x="0" y="8971"/>
                          <a:pt x="0" y="20046"/>
                        </a:cubicBezTo>
                        <a:cubicBezTo>
                          <a:pt x="0" y="31115"/>
                          <a:pt x="8920" y="40086"/>
                          <a:pt x="20021" y="40086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87" name="Freeform: Shape 186">
                    <a:extLst>
                      <a:ext uri="{FF2B5EF4-FFF2-40B4-BE49-F238E27FC236}">
                        <a16:creationId xmlns:a16="http://schemas.microsoft.com/office/drawing/2014/main" id="{DD622B47-3CA8-974B-367A-9C02D5F07278}"/>
                      </a:ext>
                    </a:extLst>
                  </p:cNvPr>
                  <p:cNvSpPr/>
                  <p:nvPr/>
                </p:nvSpPr>
                <p:spPr>
                  <a:xfrm>
                    <a:off x="8881166" y="3297403"/>
                    <a:ext cx="40105" cy="40086"/>
                  </a:xfrm>
                  <a:custGeom>
                    <a:avLst/>
                    <a:gdLst>
                      <a:gd name="connsiteX0" fmla="*/ 40105 w 40105"/>
                      <a:gd name="connsiteY0" fmla="*/ 17820 h 40086"/>
                      <a:gd name="connsiteX1" fmla="*/ 20085 w 40105"/>
                      <a:gd name="connsiteY1" fmla="*/ 0 h 40086"/>
                      <a:gd name="connsiteX2" fmla="*/ 0 w 40105"/>
                      <a:gd name="connsiteY2" fmla="*/ 20046 h 40086"/>
                      <a:gd name="connsiteX3" fmla="*/ 20085 w 40105"/>
                      <a:gd name="connsiteY3" fmla="*/ 40086 h 40086"/>
                      <a:gd name="connsiteX4" fmla="*/ 40105 w 40105"/>
                      <a:gd name="connsiteY4" fmla="*/ 22273 h 40086"/>
                      <a:gd name="connsiteX5" fmla="*/ 40105 w 40105"/>
                      <a:gd name="connsiteY5" fmla="*/ 20046 h 40086"/>
                      <a:gd name="connsiteX6" fmla="*/ 40105 w 40105"/>
                      <a:gd name="connsiteY6" fmla="*/ 17820 h 400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40105" h="40086">
                        <a:moveTo>
                          <a:pt x="40105" y="17820"/>
                        </a:moveTo>
                        <a:cubicBezTo>
                          <a:pt x="39014" y="7796"/>
                          <a:pt x="30095" y="0"/>
                          <a:pt x="20085" y="0"/>
                        </a:cubicBezTo>
                        <a:cubicBezTo>
                          <a:pt x="8920" y="0"/>
                          <a:pt x="0" y="8907"/>
                          <a:pt x="0" y="20046"/>
                        </a:cubicBezTo>
                        <a:cubicBezTo>
                          <a:pt x="0" y="31179"/>
                          <a:pt x="8920" y="40086"/>
                          <a:pt x="20085" y="40086"/>
                        </a:cubicBezTo>
                        <a:cubicBezTo>
                          <a:pt x="30095" y="40086"/>
                          <a:pt x="39014" y="32289"/>
                          <a:pt x="40105" y="22273"/>
                        </a:cubicBezTo>
                        <a:cubicBezTo>
                          <a:pt x="40105" y="21156"/>
                          <a:pt x="40105" y="21156"/>
                          <a:pt x="40105" y="20046"/>
                        </a:cubicBezTo>
                        <a:cubicBezTo>
                          <a:pt x="40105" y="18930"/>
                          <a:pt x="40105" y="18930"/>
                          <a:pt x="40105" y="17820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88" name="Freeform: Shape 187">
                    <a:extLst>
                      <a:ext uri="{FF2B5EF4-FFF2-40B4-BE49-F238E27FC236}">
                        <a16:creationId xmlns:a16="http://schemas.microsoft.com/office/drawing/2014/main" id="{10689632-ED35-C3C6-66CF-0B3EB3ED84D5}"/>
                      </a:ext>
                    </a:extLst>
                  </p:cNvPr>
                  <p:cNvSpPr/>
                  <p:nvPr/>
                </p:nvSpPr>
                <p:spPr>
                  <a:xfrm>
                    <a:off x="8931281" y="3297403"/>
                    <a:ext cx="40105" cy="40086"/>
                  </a:xfrm>
                  <a:custGeom>
                    <a:avLst/>
                    <a:gdLst>
                      <a:gd name="connsiteX0" fmla="*/ 20085 w 40105"/>
                      <a:gd name="connsiteY0" fmla="*/ 40086 h 40086"/>
                      <a:gd name="connsiteX1" fmla="*/ 40105 w 40105"/>
                      <a:gd name="connsiteY1" fmla="*/ 20046 h 40086"/>
                      <a:gd name="connsiteX2" fmla="*/ 20085 w 40105"/>
                      <a:gd name="connsiteY2" fmla="*/ 0 h 40086"/>
                      <a:gd name="connsiteX3" fmla="*/ 0 w 40105"/>
                      <a:gd name="connsiteY3" fmla="*/ 20046 h 40086"/>
                      <a:gd name="connsiteX4" fmla="*/ 20085 w 40105"/>
                      <a:gd name="connsiteY4" fmla="*/ 40086 h 400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0105" h="40086">
                        <a:moveTo>
                          <a:pt x="20085" y="40086"/>
                        </a:moveTo>
                        <a:cubicBezTo>
                          <a:pt x="31122" y="40086"/>
                          <a:pt x="40105" y="31115"/>
                          <a:pt x="40105" y="20046"/>
                        </a:cubicBezTo>
                        <a:cubicBezTo>
                          <a:pt x="40105" y="8971"/>
                          <a:pt x="31122" y="0"/>
                          <a:pt x="20085" y="0"/>
                        </a:cubicBezTo>
                        <a:cubicBezTo>
                          <a:pt x="8984" y="0"/>
                          <a:pt x="0" y="8971"/>
                          <a:pt x="0" y="20046"/>
                        </a:cubicBezTo>
                        <a:cubicBezTo>
                          <a:pt x="0" y="31115"/>
                          <a:pt x="8984" y="40086"/>
                          <a:pt x="20085" y="40086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89" name="Freeform: Shape 188">
                    <a:extLst>
                      <a:ext uri="{FF2B5EF4-FFF2-40B4-BE49-F238E27FC236}">
                        <a16:creationId xmlns:a16="http://schemas.microsoft.com/office/drawing/2014/main" id="{50B30A88-00DD-5647-2E41-C6735CBB36C4}"/>
                      </a:ext>
                    </a:extLst>
                  </p:cNvPr>
                  <p:cNvSpPr/>
                  <p:nvPr/>
                </p:nvSpPr>
                <p:spPr>
                  <a:xfrm>
                    <a:off x="9034849" y="3278473"/>
                    <a:ext cx="52361" cy="80172"/>
                  </a:xfrm>
                  <a:custGeom>
                    <a:avLst/>
                    <a:gdLst>
                      <a:gd name="connsiteX0" fmla="*/ 0 w 52361"/>
                      <a:gd name="connsiteY0" fmla="*/ 11133 h 80172"/>
                      <a:gd name="connsiteX1" fmla="*/ 28940 w 52361"/>
                      <a:gd name="connsiteY1" fmla="*/ 40086 h 80172"/>
                      <a:gd name="connsiteX2" fmla="*/ 0 w 52361"/>
                      <a:gd name="connsiteY2" fmla="*/ 69039 h 80172"/>
                      <a:gd name="connsiteX3" fmla="*/ 12256 w 52361"/>
                      <a:gd name="connsiteY3" fmla="*/ 80172 h 80172"/>
                      <a:gd name="connsiteX4" fmla="*/ 52362 w 52361"/>
                      <a:gd name="connsiteY4" fmla="*/ 40086 h 80172"/>
                      <a:gd name="connsiteX5" fmla="*/ 12256 w 52361"/>
                      <a:gd name="connsiteY5" fmla="*/ 0 h 80172"/>
                      <a:gd name="connsiteX6" fmla="*/ 0 w 52361"/>
                      <a:gd name="connsiteY6" fmla="*/ 11133 h 801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2361" h="80172">
                        <a:moveTo>
                          <a:pt x="0" y="11133"/>
                        </a:moveTo>
                        <a:lnTo>
                          <a:pt x="28940" y="40086"/>
                        </a:lnTo>
                        <a:lnTo>
                          <a:pt x="0" y="69039"/>
                        </a:lnTo>
                        <a:lnTo>
                          <a:pt x="12256" y="80172"/>
                        </a:lnTo>
                        <a:lnTo>
                          <a:pt x="52362" y="40086"/>
                        </a:lnTo>
                        <a:lnTo>
                          <a:pt x="12256" y="0"/>
                        </a:lnTo>
                        <a:lnTo>
                          <a:pt x="0" y="11133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90" name="Freeform: Shape 189">
                    <a:extLst>
                      <a:ext uri="{FF2B5EF4-FFF2-40B4-BE49-F238E27FC236}">
                        <a16:creationId xmlns:a16="http://schemas.microsoft.com/office/drawing/2014/main" id="{7A73BF26-809E-4819-1F24-FD3614AB730E}"/>
                      </a:ext>
                    </a:extLst>
                  </p:cNvPr>
                  <p:cNvSpPr/>
                  <p:nvPr/>
                </p:nvSpPr>
                <p:spPr>
                  <a:xfrm>
                    <a:off x="8896758" y="3181592"/>
                    <a:ext cx="308458" cy="145874"/>
                  </a:xfrm>
                  <a:custGeom>
                    <a:avLst/>
                    <a:gdLst>
                      <a:gd name="connsiteX0" fmla="*/ 253915 w 308458"/>
                      <a:gd name="connsiteY0" fmla="*/ 53452 h 145874"/>
                      <a:gd name="connsiteX1" fmla="*/ 291774 w 308458"/>
                      <a:gd name="connsiteY1" fmla="*/ 91312 h 145874"/>
                      <a:gd name="connsiteX2" fmla="*/ 253915 w 308458"/>
                      <a:gd name="connsiteY2" fmla="*/ 129171 h 145874"/>
                      <a:gd name="connsiteX3" fmla="*/ 206045 w 308458"/>
                      <a:gd name="connsiteY3" fmla="*/ 129171 h 145874"/>
                      <a:gd name="connsiteX4" fmla="*/ 206045 w 308458"/>
                      <a:gd name="connsiteY4" fmla="*/ 145874 h 145874"/>
                      <a:gd name="connsiteX5" fmla="*/ 253915 w 308458"/>
                      <a:gd name="connsiteY5" fmla="*/ 145874 h 145874"/>
                      <a:gd name="connsiteX6" fmla="*/ 308458 w 308458"/>
                      <a:gd name="connsiteY6" fmla="*/ 91312 h 145874"/>
                      <a:gd name="connsiteX7" fmla="*/ 253915 w 308458"/>
                      <a:gd name="connsiteY7" fmla="*/ 36749 h 145874"/>
                      <a:gd name="connsiteX8" fmla="*/ 31186 w 308458"/>
                      <a:gd name="connsiteY8" fmla="*/ 36749 h 145874"/>
                      <a:gd name="connsiteX9" fmla="*/ 43442 w 308458"/>
                      <a:gd name="connsiteY9" fmla="*/ 24499 h 145874"/>
                      <a:gd name="connsiteX10" fmla="*/ 56789 w 308458"/>
                      <a:gd name="connsiteY10" fmla="*/ 11133 h 145874"/>
                      <a:gd name="connsiteX11" fmla="*/ 45688 w 308458"/>
                      <a:gd name="connsiteY11" fmla="*/ 0 h 145874"/>
                      <a:gd name="connsiteX12" fmla="*/ 20085 w 308458"/>
                      <a:gd name="connsiteY12" fmla="*/ 25610 h 145874"/>
                      <a:gd name="connsiteX13" fmla="*/ 17839 w 308458"/>
                      <a:gd name="connsiteY13" fmla="*/ 27836 h 145874"/>
                      <a:gd name="connsiteX14" fmla="*/ 0 w 308458"/>
                      <a:gd name="connsiteY14" fmla="*/ 45656 h 145874"/>
                      <a:gd name="connsiteX15" fmla="*/ 17839 w 308458"/>
                      <a:gd name="connsiteY15" fmla="*/ 63475 h 145874"/>
                      <a:gd name="connsiteX16" fmla="*/ 21176 w 308458"/>
                      <a:gd name="connsiteY16" fmla="*/ 65702 h 145874"/>
                      <a:gd name="connsiteX17" fmla="*/ 45688 w 308458"/>
                      <a:gd name="connsiteY17" fmla="*/ 90195 h 145874"/>
                      <a:gd name="connsiteX18" fmla="*/ 56789 w 308458"/>
                      <a:gd name="connsiteY18" fmla="*/ 79062 h 145874"/>
                      <a:gd name="connsiteX19" fmla="*/ 44598 w 308458"/>
                      <a:gd name="connsiteY19" fmla="*/ 65702 h 145874"/>
                      <a:gd name="connsiteX20" fmla="*/ 32341 w 308458"/>
                      <a:gd name="connsiteY20" fmla="*/ 53452 h 145874"/>
                      <a:gd name="connsiteX21" fmla="*/ 253915 w 308458"/>
                      <a:gd name="connsiteY21" fmla="*/ 53452 h 1458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308458" h="145874">
                        <a:moveTo>
                          <a:pt x="253915" y="53452"/>
                        </a:moveTo>
                        <a:cubicBezTo>
                          <a:pt x="275090" y="53452"/>
                          <a:pt x="291774" y="70155"/>
                          <a:pt x="291774" y="91312"/>
                        </a:cubicBezTo>
                        <a:cubicBezTo>
                          <a:pt x="291774" y="112468"/>
                          <a:pt x="275090" y="129171"/>
                          <a:pt x="253915" y="129171"/>
                        </a:cubicBezTo>
                        <a:lnTo>
                          <a:pt x="206045" y="129171"/>
                        </a:lnTo>
                        <a:lnTo>
                          <a:pt x="206045" y="145874"/>
                        </a:lnTo>
                        <a:lnTo>
                          <a:pt x="253915" y="145874"/>
                        </a:lnTo>
                        <a:cubicBezTo>
                          <a:pt x="284010" y="145874"/>
                          <a:pt x="308458" y="121375"/>
                          <a:pt x="308458" y="91312"/>
                        </a:cubicBezTo>
                        <a:cubicBezTo>
                          <a:pt x="308458" y="61249"/>
                          <a:pt x="284010" y="36749"/>
                          <a:pt x="253915" y="36749"/>
                        </a:cubicBezTo>
                        <a:lnTo>
                          <a:pt x="31186" y="36749"/>
                        </a:lnTo>
                        <a:lnTo>
                          <a:pt x="43442" y="24499"/>
                        </a:lnTo>
                        <a:lnTo>
                          <a:pt x="56789" y="11133"/>
                        </a:lnTo>
                        <a:lnTo>
                          <a:pt x="45688" y="0"/>
                        </a:lnTo>
                        <a:lnTo>
                          <a:pt x="20085" y="25610"/>
                        </a:lnTo>
                        <a:lnTo>
                          <a:pt x="17839" y="27836"/>
                        </a:lnTo>
                        <a:lnTo>
                          <a:pt x="0" y="45656"/>
                        </a:lnTo>
                        <a:lnTo>
                          <a:pt x="17839" y="63475"/>
                        </a:lnTo>
                        <a:lnTo>
                          <a:pt x="21176" y="65702"/>
                        </a:lnTo>
                        <a:lnTo>
                          <a:pt x="45688" y="90195"/>
                        </a:lnTo>
                        <a:lnTo>
                          <a:pt x="56789" y="79062"/>
                        </a:lnTo>
                        <a:lnTo>
                          <a:pt x="44598" y="65702"/>
                        </a:lnTo>
                        <a:lnTo>
                          <a:pt x="32341" y="53452"/>
                        </a:lnTo>
                        <a:lnTo>
                          <a:pt x="253915" y="53452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</p:grpSp>
          <p:grpSp>
            <p:nvGrpSpPr>
              <p:cNvPr id="180" name="Graphic 3">
                <a:extLst>
                  <a:ext uri="{FF2B5EF4-FFF2-40B4-BE49-F238E27FC236}">
                    <a16:creationId xmlns:a16="http://schemas.microsoft.com/office/drawing/2014/main" id="{FE0A3E89-15D8-1CE4-06EF-53487457E35C}"/>
                  </a:ext>
                </a:extLst>
              </p:cNvPr>
              <p:cNvGrpSpPr/>
              <p:nvPr/>
            </p:nvGrpSpPr>
            <p:grpSpPr>
              <a:xfrm>
                <a:off x="8745128" y="3478351"/>
                <a:ext cx="837730" cy="379669"/>
                <a:chOff x="8745128" y="3478351"/>
                <a:chExt cx="837730" cy="379669"/>
              </a:xfrm>
              <a:solidFill>
                <a:srgbClr val="000000"/>
              </a:solidFill>
            </p:grpSpPr>
            <p:sp>
              <p:nvSpPr>
                <p:cNvPr id="181" name="TextBox 180">
                  <a:extLst>
                    <a:ext uri="{FF2B5EF4-FFF2-40B4-BE49-F238E27FC236}">
                      <a16:creationId xmlns:a16="http://schemas.microsoft.com/office/drawing/2014/main" id="{1F1C7357-1A49-E7D7-04BE-4B9F8A79B397}"/>
                    </a:ext>
                  </a:extLst>
                </p:cNvPr>
                <p:cNvSpPr txBox="1"/>
                <p:nvPr/>
              </p:nvSpPr>
              <p:spPr>
                <a:xfrm>
                  <a:off x="8854086" y="3478351"/>
                  <a:ext cx="526106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l"/>
                  <a:r>
                    <a:rPr lang="en-US" sz="1200" spc="0" baseline="0" dirty="0">
                      <a:solidFill>
                        <a:srgbClr val="000000"/>
                      </a:solidFill>
                      <a:latin typeface="Oracle Sans"/>
                      <a:cs typeface="Oracle Sans"/>
                      <a:sym typeface="Oracle Sans"/>
                      <a:rtl val="0"/>
                    </a:rPr>
                    <a:t>DDoS</a:t>
                  </a:r>
                </a:p>
              </p:txBody>
            </p:sp>
            <p:sp>
              <p:nvSpPr>
                <p:cNvPr id="182" name="TextBox 181">
                  <a:extLst>
                    <a:ext uri="{FF2B5EF4-FFF2-40B4-BE49-F238E27FC236}">
                      <a16:creationId xmlns:a16="http://schemas.microsoft.com/office/drawing/2014/main" id="{017AC98E-B0BB-FEFF-2F39-A4EE410DD2EA}"/>
                    </a:ext>
                  </a:extLst>
                </p:cNvPr>
                <p:cNvSpPr txBox="1"/>
                <p:nvPr/>
              </p:nvSpPr>
              <p:spPr>
                <a:xfrm>
                  <a:off x="8745128" y="3581021"/>
                  <a:ext cx="837730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l"/>
                  <a:r>
                    <a:rPr lang="en-US" sz="1200" spc="0" baseline="0">
                      <a:solidFill>
                        <a:srgbClr val="000000"/>
                      </a:solidFill>
                      <a:latin typeface="Oracle Sans"/>
                      <a:cs typeface="Oracle Sans"/>
                      <a:sym typeface="Oracle Sans"/>
                      <a:rtl val="0"/>
                    </a:rPr>
                    <a:t>Protection</a:t>
                  </a:r>
                </a:p>
              </p:txBody>
            </p:sp>
          </p:grpSp>
        </p:grpSp>
        <p:grpSp>
          <p:nvGrpSpPr>
            <p:cNvPr id="203" name="Graphic 3">
              <a:extLst>
                <a:ext uri="{FF2B5EF4-FFF2-40B4-BE49-F238E27FC236}">
                  <a16:creationId xmlns:a16="http://schemas.microsoft.com/office/drawing/2014/main" id="{141C36A8-6F7D-1B38-64DF-46565DBB6823}"/>
                </a:ext>
              </a:extLst>
            </p:cNvPr>
            <p:cNvGrpSpPr/>
            <p:nvPr/>
          </p:nvGrpSpPr>
          <p:grpSpPr>
            <a:xfrm>
              <a:off x="5480288" y="5528465"/>
              <a:ext cx="1248740" cy="921383"/>
              <a:chOff x="3442457" y="3019746"/>
              <a:chExt cx="1248740" cy="921383"/>
            </a:xfrm>
          </p:grpSpPr>
          <p:grpSp>
            <p:nvGrpSpPr>
              <p:cNvPr id="204" name="Graphic 3">
                <a:extLst>
                  <a:ext uri="{FF2B5EF4-FFF2-40B4-BE49-F238E27FC236}">
                    <a16:creationId xmlns:a16="http://schemas.microsoft.com/office/drawing/2014/main" id="{3164593D-4922-031E-0180-044B87D825AC}"/>
                  </a:ext>
                </a:extLst>
              </p:cNvPr>
              <p:cNvGrpSpPr/>
              <p:nvPr/>
            </p:nvGrpSpPr>
            <p:grpSpPr>
              <a:xfrm>
                <a:off x="3731393" y="3019746"/>
                <a:ext cx="513356" cy="499153"/>
                <a:chOff x="3731393" y="3019746"/>
                <a:chExt cx="513356" cy="499153"/>
              </a:xfrm>
            </p:grpSpPr>
            <p:grpSp>
              <p:nvGrpSpPr>
                <p:cNvPr id="206" name="Graphic 3">
                  <a:extLst>
                    <a:ext uri="{FF2B5EF4-FFF2-40B4-BE49-F238E27FC236}">
                      <a16:creationId xmlns:a16="http://schemas.microsoft.com/office/drawing/2014/main" id="{1B153304-6028-B1BF-7E74-1912C7DD1A0F}"/>
                    </a:ext>
                  </a:extLst>
                </p:cNvPr>
                <p:cNvGrpSpPr/>
                <p:nvPr/>
              </p:nvGrpSpPr>
              <p:grpSpPr>
                <a:xfrm>
                  <a:off x="3731393" y="3019746"/>
                  <a:ext cx="513356" cy="499153"/>
                  <a:chOff x="3731393" y="3019746"/>
                  <a:chExt cx="513356" cy="499153"/>
                </a:xfrm>
                <a:solidFill>
                  <a:srgbClr val="FFFFFF"/>
                </a:solidFill>
              </p:grpSpPr>
              <p:sp>
                <p:nvSpPr>
                  <p:cNvPr id="210" name="Freeform: Shape 209">
                    <a:extLst>
                      <a:ext uri="{FF2B5EF4-FFF2-40B4-BE49-F238E27FC236}">
                        <a16:creationId xmlns:a16="http://schemas.microsoft.com/office/drawing/2014/main" id="{A10E828F-6C8D-9A5E-CE87-637A303BDB11}"/>
                      </a:ext>
                    </a:extLst>
                  </p:cNvPr>
                  <p:cNvSpPr/>
                  <p:nvPr/>
                </p:nvSpPr>
                <p:spPr>
                  <a:xfrm>
                    <a:off x="3737309" y="3024475"/>
                    <a:ext cx="502015" cy="487326"/>
                  </a:xfrm>
                  <a:custGeom>
                    <a:avLst/>
                    <a:gdLst>
                      <a:gd name="connsiteX0" fmla="*/ 326457 w 502015"/>
                      <a:gd name="connsiteY0" fmla="*/ 483779 h 487326"/>
                      <a:gd name="connsiteX1" fmla="*/ 201078 w 502015"/>
                      <a:gd name="connsiteY1" fmla="*/ 321734 h 487326"/>
                      <a:gd name="connsiteX2" fmla="*/ 201078 w 502015"/>
                      <a:gd name="connsiteY2" fmla="*/ 255493 h 487326"/>
                      <a:gd name="connsiteX3" fmla="*/ 0 w 502015"/>
                      <a:gd name="connsiteY3" fmla="*/ 255493 h 487326"/>
                      <a:gd name="connsiteX4" fmla="*/ 1181 w 502015"/>
                      <a:gd name="connsiteY4" fmla="*/ 240118 h 487326"/>
                      <a:gd name="connsiteX5" fmla="*/ 65054 w 502015"/>
                      <a:gd name="connsiteY5" fmla="*/ 141941 h 487326"/>
                      <a:gd name="connsiteX6" fmla="*/ 81616 w 502015"/>
                      <a:gd name="connsiteY6" fmla="*/ 119469 h 487326"/>
                      <a:gd name="connsiteX7" fmla="*/ 134837 w 502015"/>
                      <a:gd name="connsiteY7" fmla="*/ 53228 h 487326"/>
                      <a:gd name="connsiteX8" fmla="*/ 171510 w 502015"/>
                      <a:gd name="connsiteY8" fmla="*/ 44950 h 487326"/>
                      <a:gd name="connsiteX9" fmla="*/ 179787 w 502015"/>
                      <a:gd name="connsiteY9" fmla="*/ 44950 h 487326"/>
                      <a:gd name="connsiteX10" fmla="*/ 183336 w 502015"/>
                      <a:gd name="connsiteY10" fmla="*/ 44950 h 487326"/>
                      <a:gd name="connsiteX11" fmla="*/ 205807 w 502015"/>
                      <a:gd name="connsiteY11" fmla="*/ 35485 h 487326"/>
                      <a:gd name="connsiteX12" fmla="*/ 288610 w 502015"/>
                      <a:gd name="connsiteY12" fmla="*/ 0 h 487326"/>
                      <a:gd name="connsiteX13" fmla="*/ 389150 w 502015"/>
                      <a:gd name="connsiteY13" fmla="*/ 62693 h 487326"/>
                      <a:gd name="connsiteX14" fmla="*/ 411621 w 502015"/>
                      <a:gd name="connsiteY14" fmla="*/ 79254 h 487326"/>
                      <a:gd name="connsiteX15" fmla="*/ 448287 w 502015"/>
                      <a:gd name="connsiteY15" fmla="*/ 94629 h 487326"/>
                      <a:gd name="connsiteX16" fmla="*/ 488508 w 502015"/>
                      <a:gd name="connsiteY16" fmla="*/ 247215 h 487326"/>
                      <a:gd name="connsiteX17" fmla="*/ 483772 w 502015"/>
                      <a:gd name="connsiteY17" fmla="*/ 255493 h 487326"/>
                      <a:gd name="connsiteX18" fmla="*/ 464849 w 502015"/>
                      <a:gd name="connsiteY18" fmla="*/ 255493 h 487326"/>
                      <a:gd name="connsiteX19" fmla="*/ 464849 w 502015"/>
                      <a:gd name="connsiteY19" fmla="*/ 320547 h 487326"/>
                      <a:gd name="connsiteX20" fmla="*/ 339470 w 502015"/>
                      <a:gd name="connsiteY20" fmla="*/ 483779 h 487326"/>
                      <a:gd name="connsiteX21" fmla="*/ 333554 w 502015"/>
                      <a:gd name="connsiteY21" fmla="*/ 487327 h 487326"/>
                      <a:gd name="connsiteX22" fmla="*/ 326457 w 502015"/>
                      <a:gd name="connsiteY22" fmla="*/ 483779 h 487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</a:cxnLst>
                    <a:rect l="l" t="t" r="r" b="b"/>
                    <a:pathLst>
                      <a:path w="502015" h="487326">
                        <a:moveTo>
                          <a:pt x="326457" y="483779"/>
                        </a:moveTo>
                        <a:cubicBezTo>
                          <a:pt x="250757" y="445932"/>
                          <a:pt x="205807" y="386788"/>
                          <a:pt x="201078" y="321734"/>
                        </a:cubicBezTo>
                        <a:lnTo>
                          <a:pt x="201078" y="255493"/>
                        </a:lnTo>
                        <a:lnTo>
                          <a:pt x="0" y="255493"/>
                        </a:lnTo>
                        <a:lnTo>
                          <a:pt x="1181" y="240118"/>
                        </a:lnTo>
                        <a:cubicBezTo>
                          <a:pt x="4729" y="198717"/>
                          <a:pt x="28388" y="162051"/>
                          <a:pt x="65054" y="141941"/>
                        </a:cubicBezTo>
                        <a:cubicBezTo>
                          <a:pt x="73332" y="137211"/>
                          <a:pt x="79248" y="128934"/>
                          <a:pt x="81616" y="119469"/>
                        </a:cubicBezTo>
                        <a:cubicBezTo>
                          <a:pt x="88713" y="89900"/>
                          <a:pt x="107636" y="65060"/>
                          <a:pt x="134837" y="53228"/>
                        </a:cubicBezTo>
                        <a:cubicBezTo>
                          <a:pt x="146670" y="48498"/>
                          <a:pt x="159677" y="44950"/>
                          <a:pt x="171510" y="44950"/>
                        </a:cubicBezTo>
                        <a:cubicBezTo>
                          <a:pt x="173871" y="44950"/>
                          <a:pt x="177419" y="44950"/>
                          <a:pt x="179787" y="44950"/>
                        </a:cubicBezTo>
                        <a:cubicBezTo>
                          <a:pt x="180968" y="44950"/>
                          <a:pt x="182155" y="44950"/>
                          <a:pt x="183336" y="44950"/>
                        </a:cubicBezTo>
                        <a:cubicBezTo>
                          <a:pt x="191613" y="44950"/>
                          <a:pt x="199897" y="41402"/>
                          <a:pt x="205807" y="35485"/>
                        </a:cubicBezTo>
                        <a:cubicBezTo>
                          <a:pt x="227098" y="13013"/>
                          <a:pt x="256674" y="0"/>
                          <a:pt x="288610" y="0"/>
                        </a:cubicBezTo>
                        <a:cubicBezTo>
                          <a:pt x="331192" y="0"/>
                          <a:pt x="370226" y="23659"/>
                          <a:pt x="389150" y="62693"/>
                        </a:cubicBezTo>
                        <a:cubicBezTo>
                          <a:pt x="393879" y="70970"/>
                          <a:pt x="400975" y="76887"/>
                          <a:pt x="411621" y="79254"/>
                        </a:cubicBezTo>
                        <a:cubicBezTo>
                          <a:pt x="424634" y="81616"/>
                          <a:pt x="436461" y="87532"/>
                          <a:pt x="448287" y="94629"/>
                        </a:cubicBezTo>
                        <a:cubicBezTo>
                          <a:pt x="499153" y="126566"/>
                          <a:pt x="516896" y="193988"/>
                          <a:pt x="488508" y="247215"/>
                        </a:cubicBezTo>
                        <a:lnTo>
                          <a:pt x="483772" y="255493"/>
                        </a:lnTo>
                        <a:lnTo>
                          <a:pt x="464849" y="255493"/>
                        </a:lnTo>
                        <a:lnTo>
                          <a:pt x="464849" y="320547"/>
                        </a:lnTo>
                        <a:cubicBezTo>
                          <a:pt x="461300" y="385607"/>
                          <a:pt x="415170" y="444745"/>
                          <a:pt x="339470" y="483779"/>
                        </a:cubicBezTo>
                        <a:lnTo>
                          <a:pt x="333554" y="487327"/>
                        </a:lnTo>
                        <a:lnTo>
                          <a:pt x="326457" y="483779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11" name="Freeform: Shape 210">
                    <a:extLst>
                      <a:ext uri="{FF2B5EF4-FFF2-40B4-BE49-F238E27FC236}">
                        <a16:creationId xmlns:a16="http://schemas.microsoft.com/office/drawing/2014/main" id="{BAADA557-EFF8-E948-F328-1E6D0569AA61}"/>
                      </a:ext>
                    </a:extLst>
                  </p:cNvPr>
                  <p:cNvSpPr/>
                  <p:nvPr/>
                </p:nvSpPr>
                <p:spPr>
                  <a:xfrm>
                    <a:off x="3731393" y="3019746"/>
                    <a:ext cx="513356" cy="499153"/>
                  </a:xfrm>
                  <a:custGeom>
                    <a:avLst/>
                    <a:gdLst>
                      <a:gd name="connsiteX0" fmla="*/ 294527 w 513356"/>
                      <a:gd name="connsiteY0" fmla="*/ 11826 h 499153"/>
                      <a:gd name="connsiteX1" fmla="*/ 390330 w 513356"/>
                      <a:gd name="connsiteY1" fmla="*/ 70970 h 499153"/>
                      <a:gd name="connsiteX2" fmla="*/ 416357 w 513356"/>
                      <a:gd name="connsiteY2" fmla="*/ 91081 h 499153"/>
                      <a:gd name="connsiteX3" fmla="*/ 450655 w 513356"/>
                      <a:gd name="connsiteY3" fmla="*/ 105275 h 499153"/>
                      <a:gd name="connsiteX4" fmla="*/ 488508 w 513356"/>
                      <a:gd name="connsiteY4" fmla="*/ 249577 h 499153"/>
                      <a:gd name="connsiteX5" fmla="*/ 486140 w 513356"/>
                      <a:gd name="connsiteY5" fmla="*/ 254306 h 499153"/>
                      <a:gd name="connsiteX6" fmla="*/ 464849 w 513356"/>
                      <a:gd name="connsiteY6" fmla="*/ 254306 h 499153"/>
                      <a:gd name="connsiteX7" fmla="*/ 464849 w 513356"/>
                      <a:gd name="connsiteY7" fmla="*/ 325276 h 499153"/>
                      <a:gd name="connsiteX8" fmla="*/ 343019 w 513356"/>
                      <a:gd name="connsiteY8" fmla="*/ 482598 h 499153"/>
                      <a:gd name="connsiteX9" fmla="*/ 339470 w 513356"/>
                      <a:gd name="connsiteY9" fmla="*/ 484959 h 499153"/>
                      <a:gd name="connsiteX10" fmla="*/ 335922 w 513356"/>
                      <a:gd name="connsiteY10" fmla="*/ 482598 h 499153"/>
                      <a:gd name="connsiteX11" fmla="*/ 214092 w 513356"/>
                      <a:gd name="connsiteY11" fmla="*/ 325276 h 499153"/>
                      <a:gd name="connsiteX12" fmla="*/ 214092 w 513356"/>
                      <a:gd name="connsiteY12" fmla="*/ 254306 h 499153"/>
                      <a:gd name="connsiteX13" fmla="*/ 13013 w 513356"/>
                      <a:gd name="connsiteY13" fmla="*/ 254306 h 499153"/>
                      <a:gd name="connsiteX14" fmla="*/ 14194 w 513356"/>
                      <a:gd name="connsiteY14" fmla="*/ 244847 h 499153"/>
                      <a:gd name="connsiteX15" fmla="*/ 75699 w 513356"/>
                      <a:gd name="connsiteY15" fmla="*/ 151405 h 499153"/>
                      <a:gd name="connsiteX16" fmla="*/ 95810 w 513356"/>
                      <a:gd name="connsiteY16" fmla="*/ 125379 h 499153"/>
                      <a:gd name="connsiteX17" fmla="*/ 145489 w 513356"/>
                      <a:gd name="connsiteY17" fmla="*/ 63873 h 499153"/>
                      <a:gd name="connsiteX18" fmla="*/ 177426 w 513356"/>
                      <a:gd name="connsiteY18" fmla="*/ 56776 h 499153"/>
                      <a:gd name="connsiteX19" fmla="*/ 185703 w 513356"/>
                      <a:gd name="connsiteY19" fmla="*/ 56776 h 499153"/>
                      <a:gd name="connsiteX20" fmla="*/ 189252 w 513356"/>
                      <a:gd name="connsiteY20" fmla="*/ 56776 h 499153"/>
                      <a:gd name="connsiteX21" fmla="*/ 215272 w 513356"/>
                      <a:gd name="connsiteY21" fmla="*/ 44950 h 499153"/>
                      <a:gd name="connsiteX22" fmla="*/ 294527 w 513356"/>
                      <a:gd name="connsiteY22" fmla="*/ 11826 h 499153"/>
                      <a:gd name="connsiteX23" fmla="*/ 294527 w 513356"/>
                      <a:gd name="connsiteY23" fmla="*/ 0 h 499153"/>
                      <a:gd name="connsiteX24" fmla="*/ 206994 w 513356"/>
                      <a:gd name="connsiteY24" fmla="*/ 37853 h 499153"/>
                      <a:gd name="connsiteX25" fmla="*/ 189252 w 513356"/>
                      <a:gd name="connsiteY25" fmla="*/ 44950 h 499153"/>
                      <a:gd name="connsiteX26" fmla="*/ 186884 w 513356"/>
                      <a:gd name="connsiteY26" fmla="*/ 44950 h 499153"/>
                      <a:gd name="connsiteX27" fmla="*/ 177426 w 513356"/>
                      <a:gd name="connsiteY27" fmla="*/ 44950 h 499153"/>
                      <a:gd name="connsiteX28" fmla="*/ 138392 w 513356"/>
                      <a:gd name="connsiteY28" fmla="*/ 53228 h 499153"/>
                      <a:gd name="connsiteX29" fmla="*/ 82797 w 513356"/>
                      <a:gd name="connsiteY29" fmla="*/ 123017 h 499153"/>
                      <a:gd name="connsiteX30" fmla="*/ 68602 w 513356"/>
                      <a:gd name="connsiteY30" fmla="*/ 141941 h 499153"/>
                      <a:gd name="connsiteX31" fmla="*/ 1181 w 513356"/>
                      <a:gd name="connsiteY31" fmla="*/ 244847 h 499153"/>
                      <a:gd name="connsiteX32" fmla="*/ 0 w 513356"/>
                      <a:gd name="connsiteY32" fmla="*/ 254306 h 499153"/>
                      <a:gd name="connsiteX33" fmla="*/ 0 w 513356"/>
                      <a:gd name="connsiteY33" fmla="*/ 266138 h 499153"/>
                      <a:gd name="connsiteX34" fmla="*/ 13013 w 513356"/>
                      <a:gd name="connsiteY34" fmla="*/ 266138 h 499153"/>
                      <a:gd name="connsiteX35" fmla="*/ 202265 w 513356"/>
                      <a:gd name="connsiteY35" fmla="*/ 266138 h 499153"/>
                      <a:gd name="connsiteX36" fmla="*/ 202265 w 513356"/>
                      <a:gd name="connsiteY36" fmla="*/ 325276 h 499153"/>
                      <a:gd name="connsiteX37" fmla="*/ 202265 w 513356"/>
                      <a:gd name="connsiteY37" fmla="*/ 326463 h 499153"/>
                      <a:gd name="connsiteX38" fmla="*/ 330012 w 513356"/>
                      <a:gd name="connsiteY38" fmla="*/ 494424 h 499153"/>
                      <a:gd name="connsiteX39" fmla="*/ 333560 w 513356"/>
                      <a:gd name="connsiteY39" fmla="*/ 496792 h 499153"/>
                      <a:gd name="connsiteX40" fmla="*/ 339470 w 513356"/>
                      <a:gd name="connsiteY40" fmla="*/ 499153 h 499153"/>
                      <a:gd name="connsiteX41" fmla="*/ 345387 w 513356"/>
                      <a:gd name="connsiteY41" fmla="*/ 496792 h 499153"/>
                      <a:gd name="connsiteX42" fmla="*/ 348935 w 513356"/>
                      <a:gd name="connsiteY42" fmla="*/ 494424 h 499153"/>
                      <a:gd name="connsiteX43" fmla="*/ 476682 w 513356"/>
                      <a:gd name="connsiteY43" fmla="*/ 326463 h 499153"/>
                      <a:gd name="connsiteX44" fmla="*/ 476682 w 513356"/>
                      <a:gd name="connsiteY44" fmla="*/ 267319 h 499153"/>
                      <a:gd name="connsiteX45" fmla="*/ 486140 w 513356"/>
                      <a:gd name="connsiteY45" fmla="*/ 267319 h 499153"/>
                      <a:gd name="connsiteX46" fmla="*/ 493237 w 513356"/>
                      <a:gd name="connsiteY46" fmla="*/ 267319 h 499153"/>
                      <a:gd name="connsiteX47" fmla="*/ 496786 w 513356"/>
                      <a:gd name="connsiteY47" fmla="*/ 260222 h 499153"/>
                      <a:gd name="connsiteX48" fmla="*/ 499153 w 513356"/>
                      <a:gd name="connsiteY48" fmla="*/ 255493 h 499153"/>
                      <a:gd name="connsiteX49" fmla="*/ 456571 w 513356"/>
                      <a:gd name="connsiteY49" fmla="*/ 95810 h 499153"/>
                      <a:gd name="connsiteX50" fmla="*/ 418718 w 513356"/>
                      <a:gd name="connsiteY50" fmla="*/ 80435 h 499153"/>
                      <a:gd name="connsiteX51" fmla="*/ 400975 w 513356"/>
                      <a:gd name="connsiteY51" fmla="*/ 66241 h 499153"/>
                      <a:gd name="connsiteX52" fmla="*/ 294527 w 513356"/>
                      <a:gd name="connsiteY52" fmla="*/ 0 h 4991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</a:cxnLst>
                    <a:rect l="l" t="t" r="r" b="b"/>
                    <a:pathLst>
                      <a:path w="513356" h="499153">
                        <a:moveTo>
                          <a:pt x="294527" y="11826"/>
                        </a:moveTo>
                        <a:cubicBezTo>
                          <a:pt x="334741" y="11826"/>
                          <a:pt x="371407" y="34304"/>
                          <a:pt x="390330" y="70970"/>
                        </a:cubicBezTo>
                        <a:cubicBezTo>
                          <a:pt x="395066" y="81616"/>
                          <a:pt x="404524" y="88713"/>
                          <a:pt x="416357" y="91081"/>
                        </a:cubicBezTo>
                        <a:cubicBezTo>
                          <a:pt x="428183" y="93442"/>
                          <a:pt x="440009" y="98178"/>
                          <a:pt x="450655" y="105275"/>
                        </a:cubicBezTo>
                        <a:cubicBezTo>
                          <a:pt x="499153" y="136024"/>
                          <a:pt x="515715" y="198717"/>
                          <a:pt x="488508" y="249577"/>
                        </a:cubicBezTo>
                        <a:lnTo>
                          <a:pt x="486140" y="254306"/>
                        </a:lnTo>
                        <a:lnTo>
                          <a:pt x="464849" y="254306"/>
                        </a:lnTo>
                        <a:lnTo>
                          <a:pt x="464849" y="325276"/>
                        </a:lnTo>
                        <a:cubicBezTo>
                          <a:pt x="461300" y="387969"/>
                          <a:pt x="417537" y="445926"/>
                          <a:pt x="343019" y="482598"/>
                        </a:cubicBezTo>
                        <a:lnTo>
                          <a:pt x="339470" y="484959"/>
                        </a:lnTo>
                        <a:lnTo>
                          <a:pt x="335922" y="482598"/>
                        </a:lnTo>
                        <a:cubicBezTo>
                          <a:pt x="262590" y="445926"/>
                          <a:pt x="217640" y="387969"/>
                          <a:pt x="214092" y="325276"/>
                        </a:cubicBezTo>
                        <a:lnTo>
                          <a:pt x="214092" y="254306"/>
                        </a:lnTo>
                        <a:lnTo>
                          <a:pt x="13013" y="254306"/>
                        </a:lnTo>
                        <a:lnTo>
                          <a:pt x="14194" y="244847"/>
                        </a:lnTo>
                        <a:cubicBezTo>
                          <a:pt x="16562" y="204633"/>
                          <a:pt x="40215" y="170329"/>
                          <a:pt x="75699" y="151405"/>
                        </a:cubicBezTo>
                        <a:cubicBezTo>
                          <a:pt x="86345" y="146670"/>
                          <a:pt x="93442" y="136024"/>
                          <a:pt x="95810" y="125379"/>
                        </a:cubicBezTo>
                        <a:cubicBezTo>
                          <a:pt x="101726" y="98178"/>
                          <a:pt x="119469" y="75700"/>
                          <a:pt x="145489" y="63873"/>
                        </a:cubicBezTo>
                        <a:cubicBezTo>
                          <a:pt x="154947" y="59144"/>
                          <a:pt x="165593" y="56776"/>
                          <a:pt x="177426" y="56776"/>
                        </a:cubicBezTo>
                        <a:cubicBezTo>
                          <a:pt x="179787" y="56776"/>
                          <a:pt x="182155" y="56776"/>
                          <a:pt x="185703" y="56776"/>
                        </a:cubicBezTo>
                        <a:cubicBezTo>
                          <a:pt x="186884" y="56776"/>
                          <a:pt x="188071" y="56776"/>
                          <a:pt x="189252" y="56776"/>
                        </a:cubicBezTo>
                        <a:cubicBezTo>
                          <a:pt x="199897" y="56776"/>
                          <a:pt x="209362" y="53228"/>
                          <a:pt x="215272" y="44950"/>
                        </a:cubicBezTo>
                        <a:cubicBezTo>
                          <a:pt x="236563" y="23659"/>
                          <a:pt x="264951" y="11826"/>
                          <a:pt x="294527" y="11826"/>
                        </a:cubicBezTo>
                        <a:close/>
                        <a:moveTo>
                          <a:pt x="294527" y="0"/>
                        </a:moveTo>
                        <a:cubicBezTo>
                          <a:pt x="261403" y="0"/>
                          <a:pt x="229466" y="14194"/>
                          <a:pt x="206994" y="37853"/>
                        </a:cubicBezTo>
                        <a:cubicBezTo>
                          <a:pt x="202265" y="42582"/>
                          <a:pt x="196349" y="44950"/>
                          <a:pt x="189252" y="44950"/>
                        </a:cubicBezTo>
                        <a:cubicBezTo>
                          <a:pt x="188071" y="44950"/>
                          <a:pt x="188071" y="44950"/>
                          <a:pt x="186884" y="44950"/>
                        </a:cubicBezTo>
                        <a:cubicBezTo>
                          <a:pt x="184523" y="44950"/>
                          <a:pt x="180974" y="44950"/>
                          <a:pt x="177426" y="44950"/>
                        </a:cubicBezTo>
                        <a:cubicBezTo>
                          <a:pt x="164412" y="44950"/>
                          <a:pt x="150218" y="47311"/>
                          <a:pt x="138392" y="53228"/>
                        </a:cubicBezTo>
                        <a:cubicBezTo>
                          <a:pt x="110004" y="66241"/>
                          <a:pt x="88713" y="92261"/>
                          <a:pt x="82797" y="123017"/>
                        </a:cubicBezTo>
                        <a:cubicBezTo>
                          <a:pt x="81616" y="131295"/>
                          <a:pt x="75699" y="137211"/>
                          <a:pt x="68602" y="141941"/>
                        </a:cubicBezTo>
                        <a:cubicBezTo>
                          <a:pt x="29569" y="162051"/>
                          <a:pt x="4729" y="201085"/>
                          <a:pt x="1181" y="244847"/>
                        </a:cubicBezTo>
                        <a:lnTo>
                          <a:pt x="0" y="254306"/>
                        </a:lnTo>
                        <a:lnTo>
                          <a:pt x="0" y="266138"/>
                        </a:lnTo>
                        <a:lnTo>
                          <a:pt x="13013" y="266138"/>
                        </a:lnTo>
                        <a:lnTo>
                          <a:pt x="202265" y="266138"/>
                        </a:lnTo>
                        <a:lnTo>
                          <a:pt x="202265" y="325276"/>
                        </a:lnTo>
                        <a:lnTo>
                          <a:pt x="202265" y="326463"/>
                        </a:lnTo>
                        <a:cubicBezTo>
                          <a:pt x="205814" y="393885"/>
                          <a:pt x="253125" y="455390"/>
                          <a:pt x="330012" y="494424"/>
                        </a:cubicBezTo>
                        <a:lnTo>
                          <a:pt x="333560" y="496792"/>
                        </a:lnTo>
                        <a:lnTo>
                          <a:pt x="339470" y="499153"/>
                        </a:lnTo>
                        <a:lnTo>
                          <a:pt x="345387" y="496792"/>
                        </a:lnTo>
                        <a:lnTo>
                          <a:pt x="348935" y="494424"/>
                        </a:lnTo>
                        <a:cubicBezTo>
                          <a:pt x="425815" y="454210"/>
                          <a:pt x="473133" y="393885"/>
                          <a:pt x="476682" y="326463"/>
                        </a:cubicBezTo>
                        <a:lnTo>
                          <a:pt x="476682" y="267319"/>
                        </a:lnTo>
                        <a:lnTo>
                          <a:pt x="486140" y="267319"/>
                        </a:lnTo>
                        <a:lnTo>
                          <a:pt x="493237" y="267319"/>
                        </a:lnTo>
                        <a:lnTo>
                          <a:pt x="496786" y="260222"/>
                        </a:lnTo>
                        <a:lnTo>
                          <a:pt x="499153" y="255493"/>
                        </a:lnTo>
                        <a:cubicBezTo>
                          <a:pt x="528722" y="199897"/>
                          <a:pt x="510979" y="130114"/>
                          <a:pt x="456571" y="95810"/>
                        </a:cubicBezTo>
                        <a:cubicBezTo>
                          <a:pt x="444745" y="88713"/>
                          <a:pt x="431732" y="82797"/>
                          <a:pt x="418718" y="80435"/>
                        </a:cubicBezTo>
                        <a:cubicBezTo>
                          <a:pt x="410441" y="78067"/>
                          <a:pt x="404524" y="73338"/>
                          <a:pt x="400975" y="66241"/>
                        </a:cubicBezTo>
                        <a:cubicBezTo>
                          <a:pt x="379691" y="24840"/>
                          <a:pt x="339470" y="0"/>
                          <a:pt x="294527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  <p:grpSp>
              <p:nvGrpSpPr>
                <p:cNvPr id="207" name="Graphic 3">
                  <a:extLst>
                    <a:ext uri="{FF2B5EF4-FFF2-40B4-BE49-F238E27FC236}">
                      <a16:creationId xmlns:a16="http://schemas.microsoft.com/office/drawing/2014/main" id="{C112D9C5-1E16-D7B4-0343-633CBD319959}"/>
                    </a:ext>
                  </a:extLst>
                </p:cNvPr>
                <p:cNvGrpSpPr/>
                <p:nvPr/>
              </p:nvGrpSpPr>
              <p:grpSpPr>
                <a:xfrm>
                  <a:off x="3743220" y="3031572"/>
                  <a:ext cx="490888" cy="473133"/>
                  <a:chOff x="3743220" y="3031572"/>
                  <a:chExt cx="490888" cy="473133"/>
                </a:xfrm>
                <a:solidFill>
                  <a:srgbClr val="2D5967"/>
                </a:solidFill>
              </p:grpSpPr>
              <p:sp>
                <p:nvSpPr>
                  <p:cNvPr id="208" name="Freeform: Shape 207">
                    <a:extLst>
                      <a:ext uri="{FF2B5EF4-FFF2-40B4-BE49-F238E27FC236}">
                        <a16:creationId xmlns:a16="http://schemas.microsoft.com/office/drawing/2014/main" id="{9834EBCF-CABD-6360-9A74-AD018DCFFD02}"/>
                      </a:ext>
                    </a:extLst>
                  </p:cNvPr>
                  <p:cNvSpPr/>
                  <p:nvPr/>
                </p:nvSpPr>
                <p:spPr>
                  <a:xfrm>
                    <a:off x="3743220" y="3031572"/>
                    <a:ext cx="490888" cy="242479"/>
                  </a:xfrm>
                  <a:custGeom>
                    <a:avLst/>
                    <a:gdLst>
                      <a:gd name="connsiteX0" fmla="*/ 438828 w 490888"/>
                      <a:gd name="connsiteY0" fmla="*/ 93448 h 242479"/>
                      <a:gd name="connsiteX1" fmla="*/ 404531 w 490888"/>
                      <a:gd name="connsiteY1" fmla="*/ 79254 h 242479"/>
                      <a:gd name="connsiteX2" fmla="*/ 378504 w 490888"/>
                      <a:gd name="connsiteY2" fmla="*/ 59144 h 242479"/>
                      <a:gd name="connsiteX3" fmla="*/ 282700 w 490888"/>
                      <a:gd name="connsiteY3" fmla="*/ 0 h 242479"/>
                      <a:gd name="connsiteX4" fmla="*/ 204633 w 490888"/>
                      <a:gd name="connsiteY4" fmla="*/ 34304 h 242479"/>
                      <a:gd name="connsiteX5" fmla="*/ 173877 w 490888"/>
                      <a:gd name="connsiteY5" fmla="*/ 44950 h 242479"/>
                      <a:gd name="connsiteX6" fmla="*/ 131295 w 490888"/>
                      <a:gd name="connsiteY6" fmla="*/ 52047 h 242479"/>
                      <a:gd name="connsiteX7" fmla="*/ 82803 w 490888"/>
                      <a:gd name="connsiteY7" fmla="*/ 113552 h 242479"/>
                      <a:gd name="connsiteX8" fmla="*/ 62692 w 490888"/>
                      <a:gd name="connsiteY8" fmla="*/ 139579 h 242479"/>
                      <a:gd name="connsiteX9" fmla="*/ 1187 w 490888"/>
                      <a:gd name="connsiteY9" fmla="*/ 233021 h 242479"/>
                      <a:gd name="connsiteX10" fmla="*/ 0 w 490888"/>
                      <a:gd name="connsiteY10" fmla="*/ 242480 h 242479"/>
                      <a:gd name="connsiteX11" fmla="*/ 189252 w 490888"/>
                      <a:gd name="connsiteY11" fmla="*/ 242480 h 242479"/>
                      <a:gd name="connsiteX12" fmla="*/ 189252 w 490888"/>
                      <a:gd name="connsiteY12" fmla="*/ 224737 h 242479"/>
                      <a:gd name="connsiteX13" fmla="*/ 86351 w 490888"/>
                      <a:gd name="connsiteY13" fmla="*/ 224737 h 242479"/>
                      <a:gd name="connsiteX14" fmla="*/ 86351 w 490888"/>
                      <a:gd name="connsiteY14" fmla="*/ 183342 h 242479"/>
                      <a:gd name="connsiteX15" fmla="*/ 193987 w 490888"/>
                      <a:gd name="connsiteY15" fmla="*/ 183342 h 242479"/>
                      <a:gd name="connsiteX16" fmla="*/ 193987 w 490888"/>
                      <a:gd name="connsiteY16" fmla="*/ 185710 h 242479"/>
                      <a:gd name="connsiteX17" fmla="*/ 240118 w 490888"/>
                      <a:gd name="connsiteY17" fmla="*/ 165599 h 242479"/>
                      <a:gd name="connsiteX18" fmla="*/ 147857 w 490888"/>
                      <a:gd name="connsiteY18" fmla="*/ 165599 h 242479"/>
                      <a:gd name="connsiteX19" fmla="*/ 147857 w 490888"/>
                      <a:gd name="connsiteY19" fmla="*/ 121837 h 242479"/>
                      <a:gd name="connsiteX20" fmla="*/ 255493 w 490888"/>
                      <a:gd name="connsiteY20" fmla="*/ 121837 h 242479"/>
                      <a:gd name="connsiteX21" fmla="*/ 255493 w 490888"/>
                      <a:gd name="connsiteY21" fmla="*/ 158502 h 242479"/>
                      <a:gd name="connsiteX22" fmla="*/ 273236 w 490888"/>
                      <a:gd name="connsiteY22" fmla="*/ 151405 h 242479"/>
                      <a:gd name="connsiteX23" fmla="*/ 273236 w 490888"/>
                      <a:gd name="connsiteY23" fmla="*/ 121837 h 242479"/>
                      <a:gd name="connsiteX24" fmla="*/ 376142 w 490888"/>
                      <a:gd name="connsiteY24" fmla="*/ 121837 h 242479"/>
                      <a:gd name="connsiteX25" fmla="*/ 376142 w 490888"/>
                      <a:gd name="connsiteY25" fmla="*/ 147857 h 242479"/>
                      <a:gd name="connsiteX26" fmla="*/ 393885 w 490888"/>
                      <a:gd name="connsiteY26" fmla="*/ 154954 h 242479"/>
                      <a:gd name="connsiteX27" fmla="*/ 393885 w 490888"/>
                      <a:gd name="connsiteY27" fmla="*/ 121837 h 242479"/>
                      <a:gd name="connsiteX28" fmla="*/ 448293 w 490888"/>
                      <a:gd name="connsiteY28" fmla="*/ 121837 h 242479"/>
                      <a:gd name="connsiteX29" fmla="*/ 471952 w 490888"/>
                      <a:gd name="connsiteY29" fmla="*/ 165599 h 242479"/>
                      <a:gd name="connsiteX30" fmla="*/ 418724 w 490888"/>
                      <a:gd name="connsiteY30" fmla="*/ 165599 h 242479"/>
                      <a:gd name="connsiteX31" fmla="*/ 460119 w 490888"/>
                      <a:gd name="connsiteY31" fmla="*/ 183342 h 242479"/>
                      <a:gd name="connsiteX32" fmla="*/ 475501 w 490888"/>
                      <a:gd name="connsiteY32" fmla="*/ 183342 h 242479"/>
                      <a:gd name="connsiteX33" fmla="*/ 469584 w 490888"/>
                      <a:gd name="connsiteY33" fmla="*/ 218827 h 242479"/>
                      <a:gd name="connsiteX34" fmla="*/ 469584 w 490888"/>
                      <a:gd name="connsiteY34" fmla="*/ 242480 h 242479"/>
                      <a:gd name="connsiteX35" fmla="*/ 477862 w 490888"/>
                      <a:gd name="connsiteY35" fmla="*/ 242480 h 242479"/>
                      <a:gd name="connsiteX36" fmla="*/ 480230 w 490888"/>
                      <a:gd name="connsiteY36" fmla="*/ 237750 h 242479"/>
                      <a:gd name="connsiteX37" fmla="*/ 438828 w 490888"/>
                      <a:gd name="connsiteY37" fmla="*/ 93448 h 242479"/>
                      <a:gd name="connsiteX38" fmla="*/ 68609 w 490888"/>
                      <a:gd name="connsiteY38" fmla="*/ 224737 h 242479"/>
                      <a:gd name="connsiteX39" fmla="*/ 20110 w 490888"/>
                      <a:gd name="connsiteY39" fmla="*/ 224737 h 242479"/>
                      <a:gd name="connsiteX40" fmla="*/ 37853 w 490888"/>
                      <a:gd name="connsiteY40" fmla="*/ 183342 h 242479"/>
                      <a:gd name="connsiteX41" fmla="*/ 68609 w 490888"/>
                      <a:gd name="connsiteY41" fmla="*/ 183342 h 242479"/>
                      <a:gd name="connsiteX42" fmla="*/ 68609 w 490888"/>
                      <a:gd name="connsiteY42" fmla="*/ 224737 h 242479"/>
                      <a:gd name="connsiteX43" fmla="*/ 130114 w 490888"/>
                      <a:gd name="connsiteY43" fmla="*/ 165599 h 242479"/>
                      <a:gd name="connsiteX44" fmla="*/ 55596 w 490888"/>
                      <a:gd name="connsiteY44" fmla="*/ 165599 h 242479"/>
                      <a:gd name="connsiteX45" fmla="*/ 70970 w 490888"/>
                      <a:gd name="connsiteY45" fmla="*/ 154954 h 242479"/>
                      <a:gd name="connsiteX46" fmla="*/ 98178 w 490888"/>
                      <a:gd name="connsiteY46" fmla="*/ 121837 h 242479"/>
                      <a:gd name="connsiteX47" fmla="*/ 130114 w 490888"/>
                      <a:gd name="connsiteY47" fmla="*/ 121837 h 242479"/>
                      <a:gd name="connsiteX48" fmla="*/ 130114 w 490888"/>
                      <a:gd name="connsiteY48" fmla="*/ 165599 h 242479"/>
                      <a:gd name="connsiteX49" fmla="*/ 192800 w 490888"/>
                      <a:gd name="connsiteY49" fmla="*/ 105275 h 242479"/>
                      <a:gd name="connsiteX50" fmla="*/ 102907 w 490888"/>
                      <a:gd name="connsiteY50" fmla="*/ 105275 h 242479"/>
                      <a:gd name="connsiteX51" fmla="*/ 138392 w 490888"/>
                      <a:gd name="connsiteY51" fmla="*/ 68609 h 242479"/>
                      <a:gd name="connsiteX52" fmla="*/ 171509 w 490888"/>
                      <a:gd name="connsiteY52" fmla="*/ 62692 h 242479"/>
                      <a:gd name="connsiteX53" fmla="*/ 191620 w 490888"/>
                      <a:gd name="connsiteY53" fmla="*/ 60325 h 242479"/>
                      <a:gd name="connsiteX54" fmla="*/ 192800 w 490888"/>
                      <a:gd name="connsiteY54" fmla="*/ 105275 h 242479"/>
                      <a:gd name="connsiteX55" fmla="*/ 272055 w 490888"/>
                      <a:gd name="connsiteY55" fmla="*/ 17742 h 242479"/>
                      <a:gd name="connsiteX56" fmla="*/ 282700 w 490888"/>
                      <a:gd name="connsiteY56" fmla="*/ 16562 h 242479"/>
                      <a:gd name="connsiteX57" fmla="*/ 345387 w 490888"/>
                      <a:gd name="connsiteY57" fmla="*/ 42582 h 242479"/>
                      <a:gd name="connsiteX58" fmla="*/ 272055 w 490888"/>
                      <a:gd name="connsiteY58" fmla="*/ 42582 h 242479"/>
                      <a:gd name="connsiteX59" fmla="*/ 272055 w 490888"/>
                      <a:gd name="connsiteY59" fmla="*/ 17742 h 242479"/>
                      <a:gd name="connsiteX60" fmla="*/ 254312 w 490888"/>
                      <a:gd name="connsiteY60" fmla="*/ 22478 h 242479"/>
                      <a:gd name="connsiteX61" fmla="*/ 254312 w 490888"/>
                      <a:gd name="connsiteY61" fmla="*/ 43769 h 242479"/>
                      <a:gd name="connsiteX62" fmla="*/ 220008 w 490888"/>
                      <a:gd name="connsiteY62" fmla="*/ 43769 h 242479"/>
                      <a:gd name="connsiteX63" fmla="*/ 254312 w 490888"/>
                      <a:gd name="connsiteY63" fmla="*/ 22478 h 242479"/>
                      <a:gd name="connsiteX64" fmla="*/ 315818 w 490888"/>
                      <a:gd name="connsiteY64" fmla="*/ 105275 h 242479"/>
                      <a:gd name="connsiteX65" fmla="*/ 210543 w 490888"/>
                      <a:gd name="connsiteY65" fmla="*/ 105275 h 242479"/>
                      <a:gd name="connsiteX66" fmla="*/ 210543 w 490888"/>
                      <a:gd name="connsiteY66" fmla="*/ 61512 h 242479"/>
                      <a:gd name="connsiteX67" fmla="*/ 315818 w 490888"/>
                      <a:gd name="connsiteY67" fmla="*/ 61512 h 242479"/>
                      <a:gd name="connsiteX68" fmla="*/ 315818 w 490888"/>
                      <a:gd name="connsiteY68" fmla="*/ 105275 h 242479"/>
                      <a:gd name="connsiteX69" fmla="*/ 332379 w 490888"/>
                      <a:gd name="connsiteY69" fmla="*/ 105275 h 242479"/>
                      <a:gd name="connsiteX70" fmla="*/ 332379 w 490888"/>
                      <a:gd name="connsiteY70" fmla="*/ 61512 h 242479"/>
                      <a:gd name="connsiteX71" fmla="*/ 358400 w 490888"/>
                      <a:gd name="connsiteY71" fmla="*/ 61512 h 242479"/>
                      <a:gd name="connsiteX72" fmla="*/ 361948 w 490888"/>
                      <a:gd name="connsiteY72" fmla="*/ 67422 h 242479"/>
                      <a:gd name="connsiteX73" fmla="*/ 399795 w 490888"/>
                      <a:gd name="connsiteY73" fmla="*/ 96997 h 242479"/>
                      <a:gd name="connsiteX74" fmla="*/ 422273 w 490888"/>
                      <a:gd name="connsiteY74" fmla="*/ 105275 h 242479"/>
                      <a:gd name="connsiteX75" fmla="*/ 332379 w 490888"/>
                      <a:gd name="connsiteY75" fmla="*/ 105275 h 2424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</a:cxnLst>
                    <a:rect l="l" t="t" r="r" b="b"/>
                    <a:pathLst>
                      <a:path w="490888" h="242479">
                        <a:moveTo>
                          <a:pt x="438828" y="93448"/>
                        </a:moveTo>
                        <a:cubicBezTo>
                          <a:pt x="428183" y="86351"/>
                          <a:pt x="416357" y="81616"/>
                          <a:pt x="404531" y="79254"/>
                        </a:cubicBezTo>
                        <a:cubicBezTo>
                          <a:pt x="392698" y="76887"/>
                          <a:pt x="383239" y="69790"/>
                          <a:pt x="378504" y="59144"/>
                        </a:cubicBezTo>
                        <a:cubicBezTo>
                          <a:pt x="360768" y="22478"/>
                          <a:pt x="324095" y="0"/>
                          <a:pt x="282700" y="0"/>
                        </a:cubicBezTo>
                        <a:cubicBezTo>
                          <a:pt x="253125" y="0"/>
                          <a:pt x="224737" y="11833"/>
                          <a:pt x="204633" y="34304"/>
                        </a:cubicBezTo>
                        <a:cubicBezTo>
                          <a:pt x="197536" y="42582"/>
                          <a:pt x="185703" y="46131"/>
                          <a:pt x="173877" y="44950"/>
                        </a:cubicBezTo>
                        <a:cubicBezTo>
                          <a:pt x="159683" y="43769"/>
                          <a:pt x="144308" y="46131"/>
                          <a:pt x="131295" y="52047"/>
                        </a:cubicBezTo>
                        <a:cubicBezTo>
                          <a:pt x="106455" y="63873"/>
                          <a:pt x="87532" y="86351"/>
                          <a:pt x="82803" y="113552"/>
                        </a:cubicBezTo>
                        <a:cubicBezTo>
                          <a:pt x="80435" y="125385"/>
                          <a:pt x="73338" y="134844"/>
                          <a:pt x="62692" y="139579"/>
                        </a:cubicBezTo>
                        <a:cubicBezTo>
                          <a:pt x="27207" y="158502"/>
                          <a:pt x="4735" y="192807"/>
                          <a:pt x="1187" y="233021"/>
                        </a:cubicBezTo>
                        <a:lnTo>
                          <a:pt x="0" y="242480"/>
                        </a:lnTo>
                        <a:lnTo>
                          <a:pt x="189252" y="242480"/>
                        </a:lnTo>
                        <a:lnTo>
                          <a:pt x="189252" y="224737"/>
                        </a:lnTo>
                        <a:lnTo>
                          <a:pt x="86351" y="224737"/>
                        </a:lnTo>
                        <a:lnTo>
                          <a:pt x="86351" y="183342"/>
                        </a:lnTo>
                        <a:lnTo>
                          <a:pt x="193987" y="183342"/>
                        </a:lnTo>
                        <a:lnTo>
                          <a:pt x="193987" y="185710"/>
                        </a:lnTo>
                        <a:lnTo>
                          <a:pt x="240118" y="165599"/>
                        </a:lnTo>
                        <a:lnTo>
                          <a:pt x="147857" y="165599"/>
                        </a:lnTo>
                        <a:lnTo>
                          <a:pt x="147857" y="121837"/>
                        </a:lnTo>
                        <a:lnTo>
                          <a:pt x="255493" y="121837"/>
                        </a:lnTo>
                        <a:lnTo>
                          <a:pt x="255493" y="158502"/>
                        </a:lnTo>
                        <a:lnTo>
                          <a:pt x="273236" y="151405"/>
                        </a:lnTo>
                        <a:lnTo>
                          <a:pt x="273236" y="121837"/>
                        </a:lnTo>
                        <a:lnTo>
                          <a:pt x="376142" y="121837"/>
                        </a:lnTo>
                        <a:lnTo>
                          <a:pt x="376142" y="147857"/>
                        </a:lnTo>
                        <a:lnTo>
                          <a:pt x="393885" y="154954"/>
                        </a:lnTo>
                        <a:lnTo>
                          <a:pt x="393885" y="121837"/>
                        </a:lnTo>
                        <a:lnTo>
                          <a:pt x="448293" y="121837"/>
                        </a:lnTo>
                        <a:cubicBezTo>
                          <a:pt x="460119" y="133663"/>
                          <a:pt x="468404" y="149037"/>
                          <a:pt x="471952" y="165599"/>
                        </a:cubicBezTo>
                        <a:lnTo>
                          <a:pt x="418724" y="165599"/>
                        </a:lnTo>
                        <a:lnTo>
                          <a:pt x="460119" y="183342"/>
                        </a:lnTo>
                        <a:lnTo>
                          <a:pt x="475501" y="183342"/>
                        </a:lnTo>
                        <a:cubicBezTo>
                          <a:pt x="475501" y="195168"/>
                          <a:pt x="474314" y="206994"/>
                          <a:pt x="469584" y="218827"/>
                        </a:cubicBezTo>
                        <a:lnTo>
                          <a:pt x="469584" y="242480"/>
                        </a:lnTo>
                        <a:lnTo>
                          <a:pt x="477862" y="242480"/>
                        </a:lnTo>
                        <a:lnTo>
                          <a:pt x="480230" y="237750"/>
                        </a:lnTo>
                        <a:cubicBezTo>
                          <a:pt x="503889" y="186891"/>
                          <a:pt x="487327" y="124198"/>
                          <a:pt x="438828" y="93448"/>
                        </a:cubicBezTo>
                        <a:close/>
                        <a:moveTo>
                          <a:pt x="68609" y="224737"/>
                        </a:moveTo>
                        <a:lnTo>
                          <a:pt x="20110" y="224737"/>
                        </a:lnTo>
                        <a:cubicBezTo>
                          <a:pt x="22478" y="209362"/>
                          <a:pt x="28388" y="195168"/>
                          <a:pt x="37853" y="183342"/>
                        </a:cubicBezTo>
                        <a:lnTo>
                          <a:pt x="68609" y="183342"/>
                        </a:lnTo>
                        <a:lnTo>
                          <a:pt x="68609" y="224737"/>
                        </a:lnTo>
                        <a:close/>
                        <a:moveTo>
                          <a:pt x="130114" y="165599"/>
                        </a:moveTo>
                        <a:lnTo>
                          <a:pt x="55596" y="165599"/>
                        </a:lnTo>
                        <a:cubicBezTo>
                          <a:pt x="60325" y="162051"/>
                          <a:pt x="65060" y="158502"/>
                          <a:pt x="70970" y="154954"/>
                        </a:cubicBezTo>
                        <a:cubicBezTo>
                          <a:pt x="83984" y="147857"/>
                          <a:pt x="94629" y="136031"/>
                          <a:pt x="98178" y="121837"/>
                        </a:cubicBezTo>
                        <a:lnTo>
                          <a:pt x="130114" y="121837"/>
                        </a:lnTo>
                        <a:lnTo>
                          <a:pt x="130114" y="165599"/>
                        </a:lnTo>
                        <a:close/>
                        <a:moveTo>
                          <a:pt x="192800" y="105275"/>
                        </a:moveTo>
                        <a:lnTo>
                          <a:pt x="102907" y="105275"/>
                        </a:lnTo>
                        <a:cubicBezTo>
                          <a:pt x="110004" y="88713"/>
                          <a:pt x="121830" y="75706"/>
                          <a:pt x="138392" y="68609"/>
                        </a:cubicBezTo>
                        <a:cubicBezTo>
                          <a:pt x="149037" y="63873"/>
                          <a:pt x="160864" y="61512"/>
                          <a:pt x="171509" y="62692"/>
                        </a:cubicBezTo>
                        <a:cubicBezTo>
                          <a:pt x="178606" y="63873"/>
                          <a:pt x="185703" y="62692"/>
                          <a:pt x="191620" y="60325"/>
                        </a:cubicBezTo>
                        <a:lnTo>
                          <a:pt x="192800" y="105275"/>
                        </a:lnTo>
                        <a:close/>
                        <a:moveTo>
                          <a:pt x="272055" y="17742"/>
                        </a:moveTo>
                        <a:cubicBezTo>
                          <a:pt x="275603" y="17742"/>
                          <a:pt x="279152" y="16562"/>
                          <a:pt x="282700" y="16562"/>
                        </a:cubicBezTo>
                        <a:cubicBezTo>
                          <a:pt x="306353" y="16562"/>
                          <a:pt x="328831" y="26027"/>
                          <a:pt x="345387" y="42582"/>
                        </a:cubicBezTo>
                        <a:lnTo>
                          <a:pt x="272055" y="42582"/>
                        </a:lnTo>
                        <a:lnTo>
                          <a:pt x="272055" y="17742"/>
                        </a:lnTo>
                        <a:close/>
                        <a:moveTo>
                          <a:pt x="254312" y="22478"/>
                        </a:moveTo>
                        <a:lnTo>
                          <a:pt x="254312" y="43769"/>
                        </a:lnTo>
                        <a:lnTo>
                          <a:pt x="220008" y="43769"/>
                        </a:lnTo>
                        <a:cubicBezTo>
                          <a:pt x="229473" y="33124"/>
                          <a:pt x="241299" y="26027"/>
                          <a:pt x="254312" y="22478"/>
                        </a:cubicBezTo>
                        <a:close/>
                        <a:moveTo>
                          <a:pt x="315818" y="105275"/>
                        </a:moveTo>
                        <a:lnTo>
                          <a:pt x="210543" y="105275"/>
                        </a:lnTo>
                        <a:lnTo>
                          <a:pt x="210543" y="61512"/>
                        </a:lnTo>
                        <a:lnTo>
                          <a:pt x="315818" y="61512"/>
                        </a:lnTo>
                        <a:lnTo>
                          <a:pt x="315818" y="105275"/>
                        </a:lnTo>
                        <a:close/>
                        <a:moveTo>
                          <a:pt x="332379" y="105275"/>
                        </a:moveTo>
                        <a:lnTo>
                          <a:pt x="332379" y="61512"/>
                        </a:lnTo>
                        <a:lnTo>
                          <a:pt x="358400" y="61512"/>
                        </a:lnTo>
                        <a:cubicBezTo>
                          <a:pt x="359581" y="63873"/>
                          <a:pt x="360768" y="65060"/>
                          <a:pt x="361948" y="67422"/>
                        </a:cubicBezTo>
                        <a:cubicBezTo>
                          <a:pt x="369045" y="82803"/>
                          <a:pt x="383239" y="93448"/>
                          <a:pt x="399795" y="96997"/>
                        </a:cubicBezTo>
                        <a:cubicBezTo>
                          <a:pt x="408079" y="98178"/>
                          <a:pt x="415176" y="101726"/>
                          <a:pt x="422273" y="105275"/>
                        </a:cubicBezTo>
                        <a:lnTo>
                          <a:pt x="332379" y="105275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09" name="Freeform: Shape 208">
                    <a:extLst>
                      <a:ext uri="{FF2B5EF4-FFF2-40B4-BE49-F238E27FC236}">
                        <a16:creationId xmlns:a16="http://schemas.microsoft.com/office/drawing/2014/main" id="{5F1D16D2-E6E5-68C6-67AA-BDCAEFB8E728}"/>
                      </a:ext>
                    </a:extLst>
                  </p:cNvPr>
                  <p:cNvSpPr/>
                  <p:nvPr/>
                </p:nvSpPr>
                <p:spPr>
                  <a:xfrm>
                    <a:off x="3945485" y="3173513"/>
                    <a:ext cx="250757" cy="331192"/>
                  </a:xfrm>
                  <a:custGeom>
                    <a:avLst/>
                    <a:gdLst>
                      <a:gd name="connsiteX0" fmla="*/ 0 w 250757"/>
                      <a:gd name="connsiteY0" fmla="*/ 54415 h 331192"/>
                      <a:gd name="connsiteX1" fmla="*/ 0 w 250757"/>
                      <a:gd name="connsiteY1" fmla="*/ 171509 h 331192"/>
                      <a:gd name="connsiteX2" fmla="*/ 121830 w 250757"/>
                      <a:gd name="connsiteY2" fmla="*/ 328831 h 331192"/>
                      <a:gd name="connsiteX3" fmla="*/ 125379 w 250757"/>
                      <a:gd name="connsiteY3" fmla="*/ 331193 h 331192"/>
                      <a:gd name="connsiteX4" fmla="*/ 128927 w 250757"/>
                      <a:gd name="connsiteY4" fmla="*/ 328831 h 331192"/>
                      <a:gd name="connsiteX5" fmla="*/ 250757 w 250757"/>
                      <a:gd name="connsiteY5" fmla="*/ 171509 h 331192"/>
                      <a:gd name="connsiteX6" fmla="*/ 250757 w 250757"/>
                      <a:gd name="connsiteY6" fmla="*/ 53228 h 331192"/>
                      <a:gd name="connsiteX7" fmla="*/ 125379 w 250757"/>
                      <a:gd name="connsiteY7" fmla="*/ 0 h 331192"/>
                      <a:gd name="connsiteX8" fmla="*/ 0 w 250757"/>
                      <a:gd name="connsiteY8" fmla="*/ 54415 h 331192"/>
                      <a:gd name="connsiteX9" fmla="*/ 233015 w 250757"/>
                      <a:gd name="connsiteY9" fmla="*/ 171509 h 331192"/>
                      <a:gd name="connsiteX10" fmla="*/ 132475 w 250757"/>
                      <a:gd name="connsiteY10" fmla="*/ 307540 h 331192"/>
                      <a:gd name="connsiteX11" fmla="*/ 132475 w 250757"/>
                      <a:gd name="connsiteY11" fmla="*/ 134844 h 331192"/>
                      <a:gd name="connsiteX12" fmla="*/ 114733 w 250757"/>
                      <a:gd name="connsiteY12" fmla="*/ 134844 h 331192"/>
                      <a:gd name="connsiteX13" fmla="*/ 114733 w 250757"/>
                      <a:gd name="connsiteY13" fmla="*/ 305172 h 331192"/>
                      <a:gd name="connsiteX14" fmla="*/ 16562 w 250757"/>
                      <a:gd name="connsiteY14" fmla="*/ 170329 h 331192"/>
                      <a:gd name="connsiteX15" fmla="*/ 16562 w 250757"/>
                      <a:gd name="connsiteY15" fmla="*/ 65060 h 331192"/>
                      <a:gd name="connsiteX16" fmla="*/ 114733 w 250757"/>
                      <a:gd name="connsiteY16" fmla="*/ 22478 h 331192"/>
                      <a:gd name="connsiteX17" fmla="*/ 114733 w 250757"/>
                      <a:gd name="connsiteY17" fmla="*/ 112372 h 331192"/>
                      <a:gd name="connsiteX18" fmla="*/ 132475 w 250757"/>
                      <a:gd name="connsiteY18" fmla="*/ 112372 h 331192"/>
                      <a:gd name="connsiteX19" fmla="*/ 132475 w 250757"/>
                      <a:gd name="connsiteY19" fmla="*/ 21291 h 331192"/>
                      <a:gd name="connsiteX20" fmla="*/ 233015 w 250757"/>
                      <a:gd name="connsiteY20" fmla="*/ 63873 h 331192"/>
                      <a:gd name="connsiteX21" fmla="*/ 233015 w 250757"/>
                      <a:gd name="connsiteY21" fmla="*/ 171509 h 3311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250757" h="331192">
                        <a:moveTo>
                          <a:pt x="0" y="54415"/>
                        </a:moveTo>
                        <a:lnTo>
                          <a:pt x="0" y="171509"/>
                        </a:lnTo>
                        <a:cubicBezTo>
                          <a:pt x="3548" y="234202"/>
                          <a:pt x="47311" y="292159"/>
                          <a:pt x="121830" y="328831"/>
                        </a:cubicBezTo>
                        <a:lnTo>
                          <a:pt x="125379" y="331193"/>
                        </a:lnTo>
                        <a:lnTo>
                          <a:pt x="128927" y="328831"/>
                        </a:lnTo>
                        <a:cubicBezTo>
                          <a:pt x="202265" y="292159"/>
                          <a:pt x="247209" y="234202"/>
                          <a:pt x="250757" y="171509"/>
                        </a:cubicBezTo>
                        <a:lnTo>
                          <a:pt x="250757" y="53228"/>
                        </a:lnTo>
                        <a:lnTo>
                          <a:pt x="125379" y="0"/>
                        </a:lnTo>
                        <a:lnTo>
                          <a:pt x="0" y="54415"/>
                        </a:lnTo>
                        <a:close/>
                        <a:moveTo>
                          <a:pt x="233015" y="171509"/>
                        </a:moveTo>
                        <a:cubicBezTo>
                          <a:pt x="229466" y="224737"/>
                          <a:pt x="193981" y="274416"/>
                          <a:pt x="132475" y="307540"/>
                        </a:cubicBezTo>
                        <a:lnTo>
                          <a:pt x="132475" y="134844"/>
                        </a:lnTo>
                        <a:lnTo>
                          <a:pt x="114733" y="134844"/>
                        </a:lnTo>
                        <a:lnTo>
                          <a:pt x="114733" y="305172"/>
                        </a:lnTo>
                        <a:cubicBezTo>
                          <a:pt x="55596" y="270868"/>
                          <a:pt x="20110" y="222376"/>
                          <a:pt x="16562" y="170329"/>
                        </a:cubicBezTo>
                        <a:lnTo>
                          <a:pt x="16562" y="65060"/>
                        </a:lnTo>
                        <a:lnTo>
                          <a:pt x="114733" y="22478"/>
                        </a:lnTo>
                        <a:lnTo>
                          <a:pt x="114733" y="112372"/>
                        </a:lnTo>
                        <a:lnTo>
                          <a:pt x="132475" y="112372"/>
                        </a:lnTo>
                        <a:lnTo>
                          <a:pt x="132475" y="21291"/>
                        </a:lnTo>
                        <a:lnTo>
                          <a:pt x="233015" y="63873"/>
                        </a:lnTo>
                        <a:lnTo>
                          <a:pt x="233015" y="171509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</p:grpSp>
          <p:sp>
            <p:nvSpPr>
              <p:cNvPr id="205" name="TextBox 204">
                <a:extLst>
                  <a:ext uri="{FF2B5EF4-FFF2-40B4-BE49-F238E27FC236}">
                    <a16:creationId xmlns:a16="http://schemas.microsoft.com/office/drawing/2014/main" id="{7EBF0255-43B8-EFD3-74FA-AA965D274612}"/>
                  </a:ext>
                </a:extLst>
              </p:cNvPr>
              <p:cNvSpPr txBox="1"/>
              <p:nvPr/>
            </p:nvSpPr>
            <p:spPr>
              <a:xfrm>
                <a:off x="3442457" y="3479464"/>
                <a:ext cx="1248740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Web Application </a:t>
                </a:r>
              </a:p>
              <a:p>
                <a:pPr algn="ctr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Firewall</a:t>
                </a:r>
              </a:p>
            </p:txBody>
          </p:sp>
        </p:grpSp>
        <p:grpSp>
          <p:nvGrpSpPr>
            <p:cNvPr id="212" name="Graphic 3">
              <a:extLst>
                <a:ext uri="{FF2B5EF4-FFF2-40B4-BE49-F238E27FC236}">
                  <a16:creationId xmlns:a16="http://schemas.microsoft.com/office/drawing/2014/main" id="{9C95899B-A071-7653-2C6C-EF8404AF77A0}"/>
                </a:ext>
              </a:extLst>
            </p:cNvPr>
            <p:cNvGrpSpPr/>
            <p:nvPr/>
          </p:nvGrpSpPr>
          <p:grpSpPr>
            <a:xfrm>
              <a:off x="7160619" y="5506888"/>
              <a:ext cx="852990" cy="921938"/>
              <a:chOff x="7857154" y="3005488"/>
              <a:chExt cx="852990" cy="921938"/>
            </a:xfrm>
          </p:grpSpPr>
          <p:grpSp>
            <p:nvGrpSpPr>
              <p:cNvPr id="213" name="Graphic 3">
                <a:extLst>
                  <a:ext uri="{FF2B5EF4-FFF2-40B4-BE49-F238E27FC236}">
                    <a16:creationId xmlns:a16="http://schemas.microsoft.com/office/drawing/2014/main" id="{FACEDC4F-E0A0-14C7-A0A3-26CD957076A1}"/>
                  </a:ext>
                </a:extLst>
              </p:cNvPr>
              <p:cNvGrpSpPr/>
              <p:nvPr/>
            </p:nvGrpSpPr>
            <p:grpSpPr>
              <a:xfrm>
                <a:off x="8045628" y="3005488"/>
                <a:ext cx="393609" cy="513347"/>
                <a:chOff x="8045628" y="3005488"/>
                <a:chExt cx="393609" cy="513347"/>
              </a:xfrm>
            </p:grpSpPr>
            <p:grpSp>
              <p:nvGrpSpPr>
                <p:cNvPr id="217" name="Graphic 3">
                  <a:extLst>
                    <a:ext uri="{FF2B5EF4-FFF2-40B4-BE49-F238E27FC236}">
                      <a16:creationId xmlns:a16="http://schemas.microsoft.com/office/drawing/2014/main" id="{07C660F2-4860-182C-65A5-7FEC4C411672}"/>
                    </a:ext>
                  </a:extLst>
                </p:cNvPr>
                <p:cNvGrpSpPr/>
                <p:nvPr/>
              </p:nvGrpSpPr>
              <p:grpSpPr>
                <a:xfrm>
                  <a:off x="8045628" y="3005488"/>
                  <a:ext cx="393609" cy="513347"/>
                  <a:chOff x="8045628" y="3005488"/>
                  <a:chExt cx="393609" cy="513347"/>
                </a:xfrm>
                <a:solidFill>
                  <a:srgbClr val="FFFFFF"/>
                </a:solidFill>
              </p:grpSpPr>
              <p:sp>
                <p:nvSpPr>
                  <p:cNvPr id="226" name="Freeform: Shape 225">
                    <a:extLst>
                      <a:ext uri="{FF2B5EF4-FFF2-40B4-BE49-F238E27FC236}">
                        <a16:creationId xmlns:a16="http://schemas.microsoft.com/office/drawing/2014/main" id="{679015B6-D0F8-20AF-1AC2-C1641A9AFA46}"/>
                      </a:ext>
                    </a:extLst>
                  </p:cNvPr>
                  <p:cNvSpPr/>
                  <p:nvPr/>
                </p:nvSpPr>
                <p:spPr>
                  <a:xfrm>
                    <a:off x="8051725" y="3012784"/>
                    <a:ext cx="380197" cy="499968"/>
                  </a:xfrm>
                  <a:custGeom>
                    <a:avLst/>
                    <a:gdLst>
                      <a:gd name="connsiteX0" fmla="*/ 185832 w 380197"/>
                      <a:gd name="connsiteY0" fmla="*/ 497536 h 499968"/>
                      <a:gd name="connsiteX1" fmla="*/ 24319 w 380197"/>
                      <a:gd name="connsiteY1" fmla="*/ 355211 h 499968"/>
                      <a:gd name="connsiteX2" fmla="*/ 0 w 380197"/>
                      <a:gd name="connsiteY2" fmla="*/ 256674 h 499968"/>
                      <a:gd name="connsiteX3" fmla="*/ 0 w 380197"/>
                      <a:gd name="connsiteY3" fmla="*/ 81507 h 499968"/>
                      <a:gd name="connsiteX4" fmla="*/ 190708 w 380197"/>
                      <a:gd name="connsiteY4" fmla="*/ 0 h 499968"/>
                      <a:gd name="connsiteX5" fmla="*/ 380198 w 380197"/>
                      <a:gd name="connsiteY5" fmla="*/ 81507 h 499968"/>
                      <a:gd name="connsiteX6" fmla="*/ 380198 w 380197"/>
                      <a:gd name="connsiteY6" fmla="*/ 257893 h 499968"/>
                      <a:gd name="connsiteX7" fmla="*/ 196804 w 380197"/>
                      <a:gd name="connsiteY7" fmla="*/ 497536 h 499968"/>
                      <a:gd name="connsiteX8" fmla="*/ 191927 w 380197"/>
                      <a:gd name="connsiteY8" fmla="*/ 499968 h 499968"/>
                      <a:gd name="connsiteX9" fmla="*/ 185832 w 380197"/>
                      <a:gd name="connsiteY9" fmla="*/ 497536 h 4999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380197" h="499968">
                        <a:moveTo>
                          <a:pt x="185832" y="497536"/>
                        </a:moveTo>
                        <a:cubicBezTo>
                          <a:pt x="91119" y="462256"/>
                          <a:pt x="46137" y="401438"/>
                          <a:pt x="24319" y="355211"/>
                        </a:cubicBezTo>
                        <a:cubicBezTo>
                          <a:pt x="0" y="302901"/>
                          <a:pt x="0" y="259112"/>
                          <a:pt x="0" y="256674"/>
                        </a:cubicBezTo>
                        <a:lnTo>
                          <a:pt x="0" y="81507"/>
                        </a:lnTo>
                        <a:lnTo>
                          <a:pt x="190708" y="0"/>
                        </a:lnTo>
                        <a:lnTo>
                          <a:pt x="380198" y="81507"/>
                        </a:lnTo>
                        <a:lnTo>
                          <a:pt x="380198" y="257893"/>
                        </a:lnTo>
                        <a:cubicBezTo>
                          <a:pt x="380198" y="265189"/>
                          <a:pt x="377759" y="430628"/>
                          <a:pt x="196804" y="497536"/>
                        </a:cubicBezTo>
                        <a:lnTo>
                          <a:pt x="191927" y="499968"/>
                        </a:lnTo>
                        <a:lnTo>
                          <a:pt x="185832" y="49753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 dirty="0"/>
                  </a:p>
                </p:txBody>
              </p:sp>
              <p:sp>
                <p:nvSpPr>
                  <p:cNvPr id="227" name="Freeform: Shape 226">
                    <a:extLst>
                      <a:ext uri="{FF2B5EF4-FFF2-40B4-BE49-F238E27FC236}">
                        <a16:creationId xmlns:a16="http://schemas.microsoft.com/office/drawing/2014/main" id="{3DAF4901-9393-DCD9-030B-DF50E1278679}"/>
                      </a:ext>
                    </a:extLst>
                  </p:cNvPr>
                  <p:cNvSpPr/>
                  <p:nvPr/>
                </p:nvSpPr>
                <p:spPr>
                  <a:xfrm>
                    <a:off x="8045628" y="3005488"/>
                    <a:ext cx="393609" cy="513347"/>
                  </a:xfrm>
                  <a:custGeom>
                    <a:avLst/>
                    <a:gdLst>
                      <a:gd name="connsiteX0" fmla="*/ 196805 w 393609"/>
                      <a:gd name="connsiteY0" fmla="*/ 13379 h 513347"/>
                      <a:gd name="connsiteX1" fmla="*/ 380198 w 393609"/>
                      <a:gd name="connsiteY1" fmla="*/ 92454 h 513347"/>
                      <a:gd name="connsiteX2" fmla="*/ 380198 w 393609"/>
                      <a:gd name="connsiteY2" fmla="*/ 265189 h 513347"/>
                      <a:gd name="connsiteX3" fmla="*/ 200462 w 393609"/>
                      <a:gd name="connsiteY3" fmla="*/ 498749 h 513347"/>
                      <a:gd name="connsiteX4" fmla="*/ 196805 w 393609"/>
                      <a:gd name="connsiteY4" fmla="*/ 499968 h 513347"/>
                      <a:gd name="connsiteX5" fmla="*/ 194366 w 393609"/>
                      <a:gd name="connsiteY5" fmla="*/ 498749 h 513347"/>
                      <a:gd name="connsiteX6" fmla="*/ 36448 w 393609"/>
                      <a:gd name="connsiteY6" fmla="*/ 360075 h 513347"/>
                      <a:gd name="connsiteX7" fmla="*/ 12192 w 393609"/>
                      <a:gd name="connsiteY7" fmla="*/ 265189 h 513347"/>
                      <a:gd name="connsiteX8" fmla="*/ 12192 w 393609"/>
                      <a:gd name="connsiteY8" fmla="*/ 92454 h 513347"/>
                      <a:gd name="connsiteX9" fmla="*/ 196805 w 393609"/>
                      <a:gd name="connsiteY9" fmla="*/ 13379 h 513347"/>
                      <a:gd name="connsiteX10" fmla="*/ 196805 w 393609"/>
                      <a:gd name="connsiteY10" fmla="*/ 0 h 513347"/>
                      <a:gd name="connsiteX11" fmla="*/ 191928 w 393609"/>
                      <a:gd name="connsiteY11" fmla="*/ 2432 h 513347"/>
                      <a:gd name="connsiteX12" fmla="*/ 7315 w 393609"/>
                      <a:gd name="connsiteY12" fmla="*/ 81500 h 513347"/>
                      <a:gd name="connsiteX13" fmla="*/ 0 w 393609"/>
                      <a:gd name="connsiteY13" fmla="*/ 83939 h 513347"/>
                      <a:gd name="connsiteX14" fmla="*/ 0 w 393609"/>
                      <a:gd name="connsiteY14" fmla="*/ 92454 h 513347"/>
                      <a:gd name="connsiteX15" fmla="*/ 0 w 393609"/>
                      <a:gd name="connsiteY15" fmla="*/ 265189 h 513347"/>
                      <a:gd name="connsiteX16" fmla="*/ 25540 w 393609"/>
                      <a:gd name="connsiteY16" fmla="*/ 366158 h 513347"/>
                      <a:gd name="connsiteX17" fmla="*/ 190709 w 393609"/>
                      <a:gd name="connsiteY17" fmla="*/ 510915 h 513347"/>
                      <a:gd name="connsiteX18" fmla="*/ 194366 w 393609"/>
                      <a:gd name="connsiteY18" fmla="*/ 512128 h 513347"/>
                      <a:gd name="connsiteX19" fmla="*/ 198024 w 393609"/>
                      <a:gd name="connsiteY19" fmla="*/ 513347 h 513347"/>
                      <a:gd name="connsiteX20" fmla="*/ 201682 w 393609"/>
                      <a:gd name="connsiteY20" fmla="*/ 512128 h 513347"/>
                      <a:gd name="connsiteX21" fmla="*/ 205275 w 393609"/>
                      <a:gd name="connsiteY21" fmla="*/ 510915 h 513347"/>
                      <a:gd name="connsiteX22" fmla="*/ 393610 w 393609"/>
                      <a:gd name="connsiteY22" fmla="*/ 265189 h 513347"/>
                      <a:gd name="connsiteX23" fmla="*/ 393610 w 393609"/>
                      <a:gd name="connsiteY23" fmla="*/ 92454 h 513347"/>
                      <a:gd name="connsiteX24" fmla="*/ 393610 w 393609"/>
                      <a:gd name="connsiteY24" fmla="*/ 83939 h 513347"/>
                      <a:gd name="connsiteX25" fmla="*/ 386294 w 393609"/>
                      <a:gd name="connsiteY25" fmla="*/ 80287 h 513347"/>
                      <a:gd name="connsiteX26" fmla="*/ 201682 w 393609"/>
                      <a:gd name="connsiteY26" fmla="*/ 2432 h 513347"/>
                      <a:gd name="connsiteX27" fmla="*/ 196805 w 393609"/>
                      <a:gd name="connsiteY27" fmla="*/ 0 h 5133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</a:cxnLst>
                    <a:rect l="l" t="t" r="r" b="b"/>
                    <a:pathLst>
                      <a:path w="393609" h="513347">
                        <a:moveTo>
                          <a:pt x="196805" y="13379"/>
                        </a:moveTo>
                        <a:lnTo>
                          <a:pt x="380198" y="92454"/>
                        </a:lnTo>
                        <a:lnTo>
                          <a:pt x="380198" y="265189"/>
                        </a:lnTo>
                        <a:cubicBezTo>
                          <a:pt x="380198" y="272485"/>
                          <a:pt x="377759" y="433060"/>
                          <a:pt x="200462" y="498749"/>
                        </a:cubicBezTo>
                        <a:lnTo>
                          <a:pt x="196805" y="499968"/>
                        </a:lnTo>
                        <a:lnTo>
                          <a:pt x="194366" y="498749"/>
                        </a:lnTo>
                        <a:cubicBezTo>
                          <a:pt x="100809" y="464688"/>
                          <a:pt x="57110" y="405082"/>
                          <a:pt x="36448" y="360075"/>
                        </a:cubicBezTo>
                        <a:cubicBezTo>
                          <a:pt x="13348" y="310197"/>
                          <a:pt x="12192" y="266408"/>
                          <a:pt x="12192" y="265189"/>
                        </a:cubicBezTo>
                        <a:lnTo>
                          <a:pt x="12192" y="92454"/>
                        </a:lnTo>
                        <a:lnTo>
                          <a:pt x="196805" y="13379"/>
                        </a:lnTo>
                        <a:close/>
                        <a:moveTo>
                          <a:pt x="196805" y="0"/>
                        </a:moveTo>
                        <a:lnTo>
                          <a:pt x="191928" y="2432"/>
                        </a:lnTo>
                        <a:lnTo>
                          <a:pt x="7315" y="81500"/>
                        </a:lnTo>
                        <a:lnTo>
                          <a:pt x="0" y="83939"/>
                        </a:lnTo>
                        <a:lnTo>
                          <a:pt x="0" y="92454"/>
                        </a:lnTo>
                        <a:lnTo>
                          <a:pt x="0" y="265189"/>
                        </a:lnTo>
                        <a:cubicBezTo>
                          <a:pt x="0" y="267621"/>
                          <a:pt x="0" y="312629"/>
                          <a:pt x="25540" y="366158"/>
                        </a:cubicBezTo>
                        <a:cubicBezTo>
                          <a:pt x="47421" y="412378"/>
                          <a:pt x="93558" y="475635"/>
                          <a:pt x="190709" y="510915"/>
                        </a:cubicBezTo>
                        <a:lnTo>
                          <a:pt x="194366" y="512128"/>
                        </a:lnTo>
                        <a:lnTo>
                          <a:pt x="198024" y="513347"/>
                        </a:lnTo>
                        <a:lnTo>
                          <a:pt x="201682" y="512128"/>
                        </a:lnTo>
                        <a:lnTo>
                          <a:pt x="205275" y="510915"/>
                        </a:lnTo>
                        <a:cubicBezTo>
                          <a:pt x="391171" y="442794"/>
                          <a:pt x="393610" y="272485"/>
                          <a:pt x="393610" y="265189"/>
                        </a:cubicBezTo>
                        <a:lnTo>
                          <a:pt x="393610" y="92454"/>
                        </a:lnTo>
                        <a:lnTo>
                          <a:pt x="393610" y="83939"/>
                        </a:lnTo>
                        <a:lnTo>
                          <a:pt x="386294" y="80287"/>
                        </a:lnTo>
                        <a:lnTo>
                          <a:pt x="201682" y="2432"/>
                        </a:lnTo>
                        <a:lnTo>
                          <a:pt x="196805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  <p:grpSp>
              <p:nvGrpSpPr>
                <p:cNvPr id="218" name="Graphic 3">
                  <a:extLst>
                    <a:ext uri="{FF2B5EF4-FFF2-40B4-BE49-F238E27FC236}">
                      <a16:creationId xmlns:a16="http://schemas.microsoft.com/office/drawing/2014/main" id="{932F5B1B-93C3-4248-B820-1D69370B2FB7}"/>
                    </a:ext>
                  </a:extLst>
                </p:cNvPr>
                <p:cNvGrpSpPr/>
                <p:nvPr/>
              </p:nvGrpSpPr>
              <p:grpSpPr>
                <a:xfrm>
                  <a:off x="8057821" y="3018867"/>
                  <a:ext cx="369225" cy="486589"/>
                  <a:chOff x="8057821" y="3018867"/>
                  <a:chExt cx="369225" cy="486589"/>
                </a:xfrm>
                <a:solidFill>
                  <a:srgbClr val="2D5967"/>
                </a:solidFill>
              </p:grpSpPr>
              <p:sp>
                <p:nvSpPr>
                  <p:cNvPr id="219" name="Freeform: Shape 218">
                    <a:extLst>
                      <a:ext uri="{FF2B5EF4-FFF2-40B4-BE49-F238E27FC236}">
                        <a16:creationId xmlns:a16="http://schemas.microsoft.com/office/drawing/2014/main" id="{D62E3F0B-E302-4DCE-7DC7-39D4F95C7A94}"/>
                      </a:ext>
                    </a:extLst>
                  </p:cNvPr>
                  <p:cNvSpPr/>
                  <p:nvPr/>
                </p:nvSpPr>
                <p:spPr>
                  <a:xfrm>
                    <a:off x="8057821" y="3018867"/>
                    <a:ext cx="369225" cy="486589"/>
                  </a:xfrm>
                  <a:custGeom>
                    <a:avLst/>
                    <a:gdLst>
                      <a:gd name="connsiteX0" fmla="*/ 184613 w 369225"/>
                      <a:gd name="connsiteY0" fmla="*/ 0 h 486589"/>
                      <a:gd name="connsiteX1" fmla="*/ 0 w 369225"/>
                      <a:gd name="connsiteY1" fmla="*/ 79068 h 486589"/>
                      <a:gd name="connsiteX2" fmla="*/ 0 w 369225"/>
                      <a:gd name="connsiteY2" fmla="*/ 251810 h 486589"/>
                      <a:gd name="connsiteX3" fmla="*/ 24256 w 369225"/>
                      <a:gd name="connsiteY3" fmla="*/ 346696 h 486589"/>
                      <a:gd name="connsiteX4" fmla="*/ 182174 w 369225"/>
                      <a:gd name="connsiteY4" fmla="*/ 485370 h 486589"/>
                      <a:gd name="connsiteX5" fmla="*/ 185832 w 369225"/>
                      <a:gd name="connsiteY5" fmla="*/ 486589 h 486589"/>
                      <a:gd name="connsiteX6" fmla="*/ 189490 w 369225"/>
                      <a:gd name="connsiteY6" fmla="*/ 485370 h 486589"/>
                      <a:gd name="connsiteX7" fmla="*/ 369225 w 369225"/>
                      <a:gd name="connsiteY7" fmla="*/ 251810 h 486589"/>
                      <a:gd name="connsiteX8" fmla="*/ 369225 w 369225"/>
                      <a:gd name="connsiteY8" fmla="*/ 79068 h 486589"/>
                      <a:gd name="connsiteX9" fmla="*/ 184613 w 369225"/>
                      <a:gd name="connsiteY9" fmla="*/ 0 h 486589"/>
                      <a:gd name="connsiteX10" fmla="*/ 349782 w 369225"/>
                      <a:gd name="connsiteY10" fmla="*/ 251810 h 486589"/>
                      <a:gd name="connsiteX11" fmla="*/ 184613 w 369225"/>
                      <a:gd name="connsiteY11" fmla="*/ 467120 h 486589"/>
                      <a:gd name="connsiteX12" fmla="*/ 40041 w 369225"/>
                      <a:gd name="connsiteY12" fmla="*/ 339393 h 486589"/>
                      <a:gd name="connsiteX13" fmla="*/ 18160 w 369225"/>
                      <a:gd name="connsiteY13" fmla="*/ 251810 h 486589"/>
                      <a:gd name="connsiteX14" fmla="*/ 18160 w 369225"/>
                      <a:gd name="connsiteY14" fmla="*/ 91235 h 486589"/>
                      <a:gd name="connsiteX15" fmla="*/ 184613 w 369225"/>
                      <a:gd name="connsiteY15" fmla="*/ 19462 h 486589"/>
                      <a:gd name="connsiteX16" fmla="*/ 349782 w 369225"/>
                      <a:gd name="connsiteY16" fmla="*/ 91235 h 486589"/>
                      <a:gd name="connsiteX17" fmla="*/ 349782 w 369225"/>
                      <a:gd name="connsiteY17" fmla="*/ 251810 h 4865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369225" h="486589">
                        <a:moveTo>
                          <a:pt x="184613" y="0"/>
                        </a:moveTo>
                        <a:lnTo>
                          <a:pt x="0" y="79068"/>
                        </a:lnTo>
                        <a:lnTo>
                          <a:pt x="0" y="251810"/>
                        </a:lnTo>
                        <a:cubicBezTo>
                          <a:pt x="0" y="253022"/>
                          <a:pt x="0" y="296817"/>
                          <a:pt x="24256" y="346696"/>
                        </a:cubicBezTo>
                        <a:cubicBezTo>
                          <a:pt x="44918" y="391703"/>
                          <a:pt x="89836" y="451309"/>
                          <a:pt x="182174" y="485370"/>
                        </a:cubicBezTo>
                        <a:lnTo>
                          <a:pt x="185832" y="486589"/>
                        </a:lnTo>
                        <a:lnTo>
                          <a:pt x="189490" y="485370"/>
                        </a:lnTo>
                        <a:cubicBezTo>
                          <a:pt x="366787" y="419681"/>
                          <a:pt x="369225" y="257893"/>
                          <a:pt x="369225" y="251810"/>
                        </a:cubicBezTo>
                        <a:lnTo>
                          <a:pt x="369225" y="79068"/>
                        </a:lnTo>
                        <a:lnTo>
                          <a:pt x="184613" y="0"/>
                        </a:lnTo>
                        <a:close/>
                        <a:moveTo>
                          <a:pt x="349782" y="251810"/>
                        </a:moveTo>
                        <a:cubicBezTo>
                          <a:pt x="349782" y="257893"/>
                          <a:pt x="347408" y="405082"/>
                          <a:pt x="184613" y="467120"/>
                        </a:cubicBezTo>
                        <a:cubicBezTo>
                          <a:pt x="116594" y="441575"/>
                          <a:pt x="68018" y="398999"/>
                          <a:pt x="40041" y="339393"/>
                        </a:cubicBezTo>
                        <a:cubicBezTo>
                          <a:pt x="18160" y="291953"/>
                          <a:pt x="18160" y="253022"/>
                          <a:pt x="18160" y="251810"/>
                        </a:cubicBezTo>
                        <a:lnTo>
                          <a:pt x="18160" y="91235"/>
                        </a:lnTo>
                        <a:lnTo>
                          <a:pt x="184613" y="19462"/>
                        </a:lnTo>
                        <a:lnTo>
                          <a:pt x="349782" y="91235"/>
                        </a:lnTo>
                        <a:lnTo>
                          <a:pt x="349782" y="25181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20" name="Freeform: Shape 219">
                    <a:extLst>
                      <a:ext uri="{FF2B5EF4-FFF2-40B4-BE49-F238E27FC236}">
                        <a16:creationId xmlns:a16="http://schemas.microsoft.com/office/drawing/2014/main" id="{99273DBC-2235-008B-A9F3-6F2224829AEB}"/>
                      </a:ext>
                    </a:extLst>
                  </p:cNvPr>
                  <p:cNvSpPr/>
                  <p:nvPr/>
                </p:nvSpPr>
                <p:spPr>
                  <a:xfrm>
                    <a:off x="8130652" y="3159973"/>
                    <a:ext cx="110562" cy="18249"/>
                  </a:xfrm>
                  <a:custGeom>
                    <a:avLst/>
                    <a:gdLst>
                      <a:gd name="connsiteX0" fmla="*/ 110563 w 110562"/>
                      <a:gd name="connsiteY0" fmla="*/ 0 h 18249"/>
                      <a:gd name="connsiteX1" fmla="*/ 0 w 110562"/>
                      <a:gd name="connsiteY1" fmla="*/ 0 h 18249"/>
                      <a:gd name="connsiteX2" fmla="*/ 0 w 110562"/>
                      <a:gd name="connsiteY2" fmla="*/ 18249 h 18249"/>
                      <a:gd name="connsiteX3" fmla="*/ 110563 w 110562"/>
                      <a:gd name="connsiteY3" fmla="*/ 18249 h 18249"/>
                      <a:gd name="connsiteX4" fmla="*/ 110563 w 110562"/>
                      <a:gd name="connsiteY4" fmla="*/ 0 h 18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0562" h="18249">
                        <a:moveTo>
                          <a:pt x="110563" y="0"/>
                        </a:moveTo>
                        <a:lnTo>
                          <a:pt x="0" y="0"/>
                        </a:lnTo>
                        <a:lnTo>
                          <a:pt x="0" y="18249"/>
                        </a:lnTo>
                        <a:lnTo>
                          <a:pt x="110563" y="18249"/>
                        </a:lnTo>
                        <a:lnTo>
                          <a:pt x="110563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21" name="Freeform: Shape 220">
                    <a:extLst>
                      <a:ext uri="{FF2B5EF4-FFF2-40B4-BE49-F238E27FC236}">
                        <a16:creationId xmlns:a16="http://schemas.microsoft.com/office/drawing/2014/main" id="{CCD1D0BB-171F-E29A-F092-DE130972F4B2}"/>
                      </a:ext>
                    </a:extLst>
                  </p:cNvPr>
                  <p:cNvSpPr/>
                  <p:nvPr/>
                </p:nvSpPr>
                <p:spPr>
                  <a:xfrm>
                    <a:off x="8277662" y="3139298"/>
                    <a:ext cx="76489" cy="60818"/>
                  </a:xfrm>
                  <a:custGeom>
                    <a:avLst/>
                    <a:gdLst>
                      <a:gd name="connsiteX0" fmla="*/ 76489 w 76489"/>
                      <a:gd name="connsiteY0" fmla="*/ 12160 h 60818"/>
                      <a:gd name="connsiteX1" fmla="*/ 63142 w 76489"/>
                      <a:gd name="connsiteY1" fmla="*/ 0 h 60818"/>
                      <a:gd name="connsiteX2" fmla="*/ 27913 w 76489"/>
                      <a:gd name="connsiteY2" fmla="*/ 35273 h 60818"/>
                      <a:gd name="connsiteX3" fmla="*/ 13347 w 76489"/>
                      <a:gd name="connsiteY3" fmla="*/ 20675 h 60818"/>
                      <a:gd name="connsiteX4" fmla="*/ 0 w 76489"/>
                      <a:gd name="connsiteY4" fmla="*/ 34061 h 60818"/>
                      <a:gd name="connsiteX5" fmla="*/ 27913 w 76489"/>
                      <a:gd name="connsiteY5" fmla="*/ 60819 h 60818"/>
                      <a:gd name="connsiteX6" fmla="*/ 76489 w 76489"/>
                      <a:gd name="connsiteY6" fmla="*/ 12160 h 608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6489" h="60818">
                        <a:moveTo>
                          <a:pt x="76489" y="12160"/>
                        </a:moveTo>
                        <a:lnTo>
                          <a:pt x="63142" y="0"/>
                        </a:lnTo>
                        <a:lnTo>
                          <a:pt x="27913" y="35273"/>
                        </a:lnTo>
                        <a:lnTo>
                          <a:pt x="13347" y="20675"/>
                        </a:lnTo>
                        <a:lnTo>
                          <a:pt x="0" y="34061"/>
                        </a:lnTo>
                        <a:lnTo>
                          <a:pt x="27913" y="60819"/>
                        </a:lnTo>
                        <a:lnTo>
                          <a:pt x="76489" y="1216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22" name="Freeform: Shape 221">
                    <a:extLst>
                      <a:ext uri="{FF2B5EF4-FFF2-40B4-BE49-F238E27FC236}">
                        <a16:creationId xmlns:a16="http://schemas.microsoft.com/office/drawing/2014/main" id="{5BBBFC24-EF70-6B56-236E-0990B76C0209}"/>
                      </a:ext>
                    </a:extLst>
                  </p:cNvPr>
                  <p:cNvSpPr/>
                  <p:nvPr/>
                </p:nvSpPr>
                <p:spPr>
                  <a:xfrm>
                    <a:off x="8130652" y="3248776"/>
                    <a:ext cx="110562" cy="18249"/>
                  </a:xfrm>
                  <a:custGeom>
                    <a:avLst/>
                    <a:gdLst>
                      <a:gd name="connsiteX0" fmla="*/ 110563 w 110562"/>
                      <a:gd name="connsiteY0" fmla="*/ 0 h 18249"/>
                      <a:gd name="connsiteX1" fmla="*/ 0 w 110562"/>
                      <a:gd name="connsiteY1" fmla="*/ 0 h 18249"/>
                      <a:gd name="connsiteX2" fmla="*/ 0 w 110562"/>
                      <a:gd name="connsiteY2" fmla="*/ 18249 h 18249"/>
                      <a:gd name="connsiteX3" fmla="*/ 110563 w 110562"/>
                      <a:gd name="connsiteY3" fmla="*/ 18249 h 18249"/>
                      <a:gd name="connsiteX4" fmla="*/ 110563 w 110562"/>
                      <a:gd name="connsiteY4" fmla="*/ 0 h 18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0562" h="18249">
                        <a:moveTo>
                          <a:pt x="110563" y="0"/>
                        </a:moveTo>
                        <a:lnTo>
                          <a:pt x="0" y="0"/>
                        </a:lnTo>
                        <a:lnTo>
                          <a:pt x="0" y="18249"/>
                        </a:lnTo>
                        <a:lnTo>
                          <a:pt x="110563" y="18249"/>
                        </a:lnTo>
                        <a:lnTo>
                          <a:pt x="110563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23" name="Freeform: Shape 222">
                    <a:extLst>
                      <a:ext uri="{FF2B5EF4-FFF2-40B4-BE49-F238E27FC236}">
                        <a16:creationId xmlns:a16="http://schemas.microsoft.com/office/drawing/2014/main" id="{74FDA385-B2CD-5024-5D6D-19A88C0354A3}"/>
                      </a:ext>
                    </a:extLst>
                  </p:cNvPr>
                  <p:cNvSpPr/>
                  <p:nvPr/>
                </p:nvSpPr>
                <p:spPr>
                  <a:xfrm>
                    <a:off x="8284913" y="3225663"/>
                    <a:ext cx="61986" cy="63257"/>
                  </a:xfrm>
                  <a:custGeom>
                    <a:avLst/>
                    <a:gdLst>
                      <a:gd name="connsiteX0" fmla="*/ 49795 w 61986"/>
                      <a:gd name="connsiteY0" fmla="*/ 0 h 63257"/>
                      <a:gd name="connsiteX1" fmla="*/ 31635 w 61986"/>
                      <a:gd name="connsiteY1" fmla="*/ 19462 h 63257"/>
                      <a:gd name="connsiteX2" fmla="*/ 12192 w 61986"/>
                      <a:gd name="connsiteY2" fmla="*/ 0 h 63257"/>
                      <a:gd name="connsiteX3" fmla="*/ 0 w 61986"/>
                      <a:gd name="connsiteY3" fmla="*/ 13379 h 63257"/>
                      <a:gd name="connsiteX4" fmla="*/ 18224 w 61986"/>
                      <a:gd name="connsiteY4" fmla="*/ 31629 h 63257"/>
                      <a:gd name="connsiteX5" fmla="*/ 0 w 61986"/>
                      <a:gd name="connsiteY5" fmla="*/ 49872 h 63257"/>
                      <a:gd name="connsiteX6" fmla="*/ 12192 w 61986"/>
                      <a:gd name="connsiteY6" fmla="*/ 63257 h 63257"/>
                      <a:gd name="connsiteX7" fmla="*/ 31635 w 61986"/>
                      <a:gd name="connsiteY7" fmla="*/ 45008 h 63257"/>
                      <a:gd name="connsiteX8" fmla="*/ 49795 w 61986"/>
                      <a:gd name="connsiteY8" fmla="*/ 63257 h 63257"/>
                      <a:gd name="connsiteX9" fmla="*/ 61987 w 61986"/>
                      <a:gd name="connsiteY9" fmla="*/ 49872 h 63257"/>
                      <a:gd name="connsiteX10" fmla="*/ 43763 w 61986"/>
                      <a:gd name="connsiteY10" fmla="*/ 31629 h 63257"/>
                      <a:gd name="connsiteX11" fmla="*/ 61987 w 61986"/>
                      <a:gd name="connsiteY11" fmla="*/ 13379 h 63257"/>
                      <a:gd name="connsiteX12" fmla="*/ 49795 w 61986"/>
                      <a:gd name="connsiteY12" fmla="*/ 0 h 632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61986" h="63257">
                        <a:moveTo>
                          <a:pt x="49795" y="0"/>
                        </a:moveTo>
                        <a:lnTo>
                          <a:pt x="31635" y="19462"/>
                        </a:lnTo>
                        <a:lnTo>
                          <a:pt x="12192" y="0"/>
                        </a:lnTo>
                        <a:lnTo>
                          <a:pt x="0" y="13379"/>
                        </a:lnTo>
                        <a:lnTo>
                          <a:pt x="18224" y="31629"/>
                        </a:lnTo>
                        <a:lnTo>
                          <a:pt x="0" y="49872"/>
                        </a:lnTo>
                        <a:lnTo>
                          <a:pt x="12192" y="63257"/>
                        </a:lnTo>
                        <a:lnTo>
                          <a:pt x="31635" y="45008"/>
                        </a:lnTo>
                        <a:lnTo>
                          <a:pt x="49795" y="63257"/>
                        </a:lnTo>
                        <a:lnTo>
                          <a:pt x="61987" y="49872"/>
                        </a:lnTo>
                        <a:lnTo>
                          <a:pt x="43763" y="31629"/>
                        </a:lnTo>
                        <a:lnTo>
                          <a:pt x="61987" y="13379"/>
                        </a:lnTo>
                        <a:lnTo>
                          <a:pt x="49795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24" name="Freeform: Shape 223">
                    <a:extLst>
                      <a:ext uri="{FF2B5EF4-FFF2-40B4-BE49-F238E27FC236}">
                        <a16:creationId xmlns:a16="http://schemas.microsoft.com/office/drawing/2014/main" id="{A77B7C5E-8DAE-175C-8723-D91F82415403}"/>
                      </a:ext>
                    </a:extLst>
                  </p:cNvPr>
                  <p:cNvSpPr/>
                  <p:nvPr/>
                </p:nvSpPr>
                <p:spPr>
                  <a:xfrm>
                    <a:off x="8130652" y="3331496"/>
                    <a:ext cx="110562" cy="18249"/>
                  </a:xfrm>
                  <a:custGeom>
                    <a:avLst/>
                    <a:gdLst>
                      <a:gd name="connsiteX0" fmla="*/ 110563 w 110562"/>
                      <a:gd name="connsiteY0" fmla="*/ 0 h 18249"/>
                      <a:gd name="connsiteX1" fmla="*/ 0 w 110562"/>
                      <a:gd name="connsiteY1" fmla="*/ 0 h 18249"/>
                      <a:gd name="connsiteX2" fmla="*/ 0 w 110562"/>
                      <a:gd name="connsiteY2" fmla="*/ 18249 h 18249"/>
                      <a:gd name="connsiteX3" fmla="*/ 110563 w 110562"/>
                      <a:gd name="connsiteY3" fmla="*/ 18249 h 18249"/>
                      <a:gd name="connsiteX4" fmla="*/ 110563 w 110562"/>
                      <a:gd name="connsiteY4" fmla="*/ 0 h 18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0562" h="18249">
                        <a:moveTo>
                          <a:pt x="110563" y="0"/>
                        </a:moveTo>
                        <a:lnTo>
                          <a:pt x="0" y="0"/>
                        </a:lnTo>
                        <a:lnTo>
                          <a:pt x="0" y="18249"/>
                        </a:lnTo>
                        <a:lnTo>
                          <a:pt x="110563" y="18249"/>
                        </a:lnTo>
                        <a:lnTo>
                          <a:pt x="110563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25" name="Freeform: Shape 224">
                    <a:extLst>
                      <a:ext uri="{FF2B5EF4-FFF2-40B4-BE49-F238E27FC236}">
                        <a16:creationId xmlns:a16="http://schemas.microsoft.com/office/drawing/2014/main" id="{3BB4E4E2-7AAD-FF93-705D-C2301596216F}"/>
                      </a:ext>
                    </a:extLst>
                  </p:cNvPr>
                  <p:cNvSpPr/>
                  <p:nvPr/>
                </p:nvSpPr>
                <p:spPr>
                  <a:xfrm>
                    <a:off x="8277662" y="3310814"/>
                    <a:ext cx="76489" cy="60825"/>
                  </a:xfrm>
                  <a:custGeom>
                    <a:avLst/>
                    <a:gdLst>
                      <a:gd name="connsiteX0" fmla="*/ 76489 w 76489"/>
                      <a:gd name="connsiteY0" fmla="*/ 12166 h 60825"/>
                      <a:gd name="connsiteX1" fmla="*/ 63142 w 76489"/>
                      <a:gd name="connsiteY1" fmla="*/ 0 h 60825"/>
                      <a:gd name="connsiteX2" fmla="*/ 27913 w 76489"/>
                      <a:gd name="connsiteY2" fmla="*/ 35280 h 60825"/>
                      <a:gd name="connsiteX3" fmla="*/ 13347 w 76489"/>
                      <a:gd name="connsiteY3" fmla="*/ 20681 h 60825"/>
                      <a:gd name="connsiteX4" fmla="*/ 0 w 76489"/>
                      <a:gd name="connsiteY4" fmla="*/ 34061 h 60825"/>
                      <a:gd name="connsiteX5" fmla="*/ 27913 w 76489"/>
                      <a:gd name="connsiteY5" fmla="*/ 60825 h 60825"/>
                      <a:gd name="connsiteX6" fmla="*/ 76489 w 76489"/>
                      <a:gd name="connsiteY6" fmla="*/ 12166 h 608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6489" h="60825">
                        <a:moveTo>
                          <a:pt x="76489" y="12166"/>
                        </a:moveTo>
                        <a:lnTo>
                          <a:pt x="63142" y="0"/>
                        </a:lnTo>
                        <a:lnTo>
                          <a:pt x="27913" y="35280"/>
                        </a:lnTo>
                        <a:lnTo>
                          <a:pt x="13347" y="20681"/>
                        </a:lnTo>
                        <a:lnTo>
                          <a:pt x="0" y="34061"/>
                        </a:lnTo>
                        <a:lnTo>
                          <a:pt x="27913" y="60825"/>
                        </a:lnTo>
                        <a:lnTo>
                          <a:pt x="76489" y="12166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</p:grpSp>
          <p:sp>
            <p:nvSpPr>
              <p:cNvPr id="215" name="TextBox 214">
                <a:extLst>
                  <a:ext uri="{FF2B5EF4-FFF2-40B4-BE49-F238E27FC236}">
                    <a16:creationId xmlns:a16="http://schemas.microsoft.com/office/drawing/2014/main" id="{D5C8749B-9A0C-23C1-1FCC-797C84F5A488}"/>
                  </a:ext>
                </a:extLst>
              </p:cNvPr>
              <p:cNvSpPr txBox="1"/>
              <p:nvPr/>
            </p:nvSpPr>
            <p:spPr>
              <a:xfrm>
                <a:off x="7857154" y="3465761"/>
                <a:ext cx="852990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Security </a:t>
                </a:r>
              </a:p>
              <a:p>
                <a:pPr algn="ctr"/>
                <a:r>
                  <a:rPr lang="en-US" sz="120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Lists / NSG</a:t>
                </a:r>
                <a:endParaRPr lang="en-US" sz="1200" spc="0" baseline="0" dirty="0">
                  <a:solidFill>
                    <a:srgbClr val="000000"/>
                  </a:solidFill>
                  <a:latin typeface="Oracle Sans"/>
                  <a:cs typeface="Oracle Sans"/>
                  <a:sym typeface="Oracle Sans"/>
                  <a:rtl val="0"/>
                </a:endParaRPr>
              </a:p>
            </p:txBody>
          </p:sp>
        </p:grpSp>
        <p:grpSp>
          <p:nvGrpSpPr>
            <p:cNvPr id="245" name="Graphic 3">
              <a:extLst>
                <a:ext uri="{FF2B5EF4-FFF2-40B4-BE49-F238E27FC236}">
                  <a16:creationId xmlns:a16="http://schemas.microsoft.com/office/drawing/2014/main" id="{9ECD8752-79DB-F33B-CE57-20ED3C9ED502}"/>
                </a:ext>
              </a:extLst>
            </p:cNvPr>
            <p:cNvGrpSpPr/>
            <p:nvPr/>
          </p:nvGrpSpPr>
          <p:grpSpPr>
            <a:xfrm>
              <a:off x="8232485" y="5573702"/>
              <a:ext cx="1323056" cy="871947"/>
              <a:chOff x="2465572" y="3046831"/>
              <a:chExt cx="1323056" cy="871947"/>
            </a:xfrm>
          </p:grpSpPr>
          <p:grpSp>
            <p:nvGrpSpPr>
              <p:cNvPr id="246" name="Graphic 3">
                <a:extLst>
                  <a:ext uri="{FF2B5EF4-FFF2-40B4-BE49-F238E27FC236}">
                    <a16:creationId xmlns:a16="http://schemas.microsoft.com/office/drawing/2014/main" id="{0DE58C93-E472-BC33-60CA-B1FFF7F3BFBD}"/>
                  </a:ext>
                </a:extLst>
              </p:cNvPr>
              <p:cNvGrpSpPr/>
              <p:nvPr/>
            </p:nvGrpSpPr>
            <p:grpSpPr>
              <a:xfrm>
                <a:off x="2897163" y="3046831"/>
                <a:ext cx="513342" cy="472004"/>
                <a:chOff x="2897163" y="3046831"/>
                <a:chExt cx="513342" cy="472004"/>
              </a:xfrm>
            </p:grpSpPr>
            <p:sp>
              <p:nvSpPr>
                <p:cNvPr id="248" name="Freeform: Shape 247">
                  <a:extLst>
                    <a:ext uri="{FF2B5EF4-FFF2-40B4-BE49-F238E27FC236}">
                      <a16:creationId xmlns:a16="http://schemas.microsoft.com/office/drawing/2014/main" id="{E0BD50DC-FAE6-B5BE-1847-077234C1D537}"/>
                    </a:ext>
                  </a:extLst>
                </p:cNvPr>
                <p:cNvSpPr/>
                <p:nvPr/>
              </p:nvSpPr>
              <p:spPr>
                <a:xfrm>
                  <a:off x="2902825" y="3052472"/>
                  <a:ext cx="502066" cy="460755"/>
                </a:xfrm>
                <a:custGeom>
                  <a:avLst/>
                  <a:gdLst>
                    <a:gd name="connsiteX0" fmla="*/ 372921 w 502066"/>
                    <a:gd name="connsiteY0" fmla="*/ 460755 h 460755"/>
                    <a:gd name="connsiteX1" fmla="*/ 361673 w 502066"/>
                    <a:gd name="connsiteY1" fmla="*/ 458169 h 460755"/>
                    <a:gd name="connsiteX2" fmla="*/ 350424 w 502066"/>
                    <a:gd name="connsiteY2" fmla="*/ 460755 h 460755"/>
                    <a:gd name="connsiteX3" fmla="*/ 152541 w 502066"/>
                    <a:gd name="connsiteY3" fmla="*/ 460755 h 460755"/>
                    <a:gd name="connsiteX4" fmla="*/ 141292 w 502066"/>
                    <a:gd name="connsiteY4" fmla="*/ 458169 h 460755"/>
                    <a:gd name="connsiteX5" fmla="*/ 130044 w 502066"/>
                    <a:gd name="connsiteY5" fmla="*/ 460755 h 460755"/>
                    <a:gd name="connsiteX6" fmla="*/ 26322 w 502066"/>
                    <a:gd name="connsiteY6" fmla="*/ 460755 h 460755"/>
                    <a:gd name="connsiteX7" fmla="*/ 7707 w 502066"/>
                    <a:gd name="connsiteY7" fmla="*/ 453055 h 460755"/>
                    <a:gd name="connsiteX8" fmla="*/ 0 w 502066"/>
                    <a:gd name="connsiteY8" fmla="*/ 434459 h 460755"/>
                    <a:gd name="connsiteX9" fmla="*/ 0 w 502066"/>
                    <a:gd name="connsiteY9" fmla="*/ 370290 h 460755"/>
                    <a:gd name="connsiteX10" fmla="*/ 2701 w 502066"/>
                    <a:gd name="connsiteY10" fmla="*/ 359055 h 460755"/>
                    <a:gd name="connsiteX11" fmla="*/ 0 w 502066"/>
                    <a:gd name="connsiteY11" fmla="*/ 347812 h 460755"/>
                    <a:gd name="connsiteX12" fmla="*/ 0 w 502066"/>
                    <a:gd name="connsiteY12" fmla="*/ 285447 h 460755"/>
                    <a:gd name="connsiteX13" fmla="*/ 2586 w 502066"/>
                    <a:gd name="connsiteY13" fmla="*/ 274204 h 460755"/>
                    <a:gd name="connsiteX14" fmla="*/ 0 w 502066"/>
                    <a:gd name="connsiteY14" fmla="*/ 262969 h 460755"/>
                    <a:gd name="connsiteX15" fmla="*/ 0 w 502066"/>
                    <a:gd name="connsiteY15" fmla="*/ 198236 h 460755"/>
                    <a:gd name="connsiteX16" fmla="*/ 2586 w 502066"/>
                    <a:gd name="connsiteY16" fmla="*/ 187000 h 460755"/>
                    <a:gd name="connsiteX17" fmla="*/ 0 w 502066"/>
                    <a:gd name="connsiteY17" fmla="*/ 175764 h 460755"/>
                    <a:gd name="connsiteX18" fmla="*/ 0 w 502066"/>
                    <a:gd name="connsiteY18" fmla="*/ 113392 h 460755"/>
                    <a:gd name="connsiteX19" fmla="*/ 2586 w 502066"/>
                    <a:gd name="connsiteY19" fmla="*/ 102156 h 460755"/>
                    <a:gd name="connsiteX20" fmla="*/ 0 w 502066"/>
                    <a:gd name="connsiteY20" fmla="*/ 90914 h 460755"/>
                    <a:gd name="connsiteX21" fmla="*/ 0 w 502066"/>
                    <a:gd name="connsiteY21" fmla="*/ 26296 h 460755"/>
                    <a:gd name="connsiteX22" fmla="*/ 7707 w 502066"/>
                    <a:gd name="connsiteY22" fmla="*/ 7700 h 460755"/>
                    <a:gd name="connsiteX23" fmla="*/ 26322 w 502066"/>
                    <a:gd name="connsiteY23" fmla="*/ 0 h 460755"/>
                    <a:gd name="connsiteX24" fmla="*/ 129370 w 502066"/>
                    <a:gd name="connsiteY24" fmla="*/ 0 h 460755"/>
                    <a:gd name="connsiteX25" fmla="*/ 140619 w 502066"/>
                    <a:gd name="connsiteY25" fmla="*/ 2695 h 460755"/>
                    <a:gd name="connsiteX26" fmla="*/ 151867 w 502066"/>
                    <a:gd name="connsiteY26" fmla="*/ 0 h 460755"/>
                    <a:gd name="connsiteX27" fmla="*/ 349968 w 502066"/>
                    <a:gd name="connsiteY27" fmla="*/ 0 h 460755"/>
                    <a:gd name="connsiteX28" fmla="*/ 361223 w 502066"/>
                    <a:gd name="connsiteY28" fmla="*/ 2695 h 460755"/>
                    <a:gd name="connsiteX29" fmla="*/ 372472 w 502066"/>
                    <a:gd name="connsiteY29" fmla="*/ 0 h 460755"/>
                    <a:gd name="connsiteX30" fmla="*/ 475854 w 502066"/>
                    <a:gd name="connsiteY30" fmla="*/ 0 h 460755"/>
                    <a:gd name="connsiteX31" fmla="*/ 494392 w 502066"/>
                    <a:gd name="connsiteY31" fmla="*/ 7745 h 460755"/>
                    <a:gd name="connsiteX32" fmla="*/ 502066 w 502066"/>
                    <a:gd name="connsiteY32" fmla="*/ 26296 h 460755"/>
                    <a:gd name="connsiteX33" fmla="*/ 502066 w 502066"/>
                    <a:gd name="connsiteY33" fmla="*/ 90465 h 460755"/>
                    <a:gd name="connsiteX34" fmla="*/ 499474 w 502066"/>
                    <a:gd name="connsiteY34" fmla="*/ 101701 h 460755"/>
                    <a:gd name="connsiteX35" fmla="*/ 502066 w 502066"/>
                    <a:gd name="connsiteY35" fmla="*/ 112943 h 460755"/>
                    <a:gd name="connsiteX36" fmla="*/ 502066 w 502066"/>
                    <a:gd name="connsiteY36" fmla="*/ 175315 h 460755"/>
                    <a:gd name="connsiteX37" fmla="*/ 499474 w 502066"/>
                    <a:gd name="connsiteY37" fmla="*/ 186551 h 460755"/>
                    <a:gd name="connsiteX38" fmla="*/ 502066 w 502066"/>
                    <a:gd name="connsiteY38" fmla="*/ 197786 h 460755"/>
                    <a:gd name="connsiteX39" fmla="*/ 502066 w 502066"/>
                    <a:gd name="connsiteY39" fmla="*/ 262070 h 460755"/>
                    <a:gd name="connsiteX40" fmla="*/ 499474 w 502066"/>
                    <a:gd name="connsiteY40" fmla="*/ 273306 h 460755"/>
                    <a:gd name="connsiteX41" fmla="*/ 502066 w 502066"/>
                    <a:gd name="connsiteY41" fmla="*/ 284548 h 460755"/>
                    <a:gd name="connsiteX42" fmla="*/ 502066 w 502066"/>
                    <a:gd name="connsiteY42" fmla="*/ 346465 h 460755"/>
                    <a:gd name="connsiteX43" fmla="*/ 499474 w 502066"/>
                    <a:gd name="connsiteY43" fmla="*/ 357707 h 460755"/>
                    <a:gd name="connsiteX44" fmla="*/ 502066 w 502066"/>
                    <a:gd name="connsiteY44" fmla="*/ 368943 h 460755"/>
                    <a:gd name="connsiteX45" fmla="*/ 502066 w 502066"/>
                    <a:gd name="connsiteY45" fmla="*/ 433111 h 460755"/>
                    <a:gd name="connsiteX46" fmla="*/ 494392 w 502066"/>
                    <a:gd name="connsiteY46" fmla="*/ 451669 h 460755"/>
                    <a:gd name="connsiteX47" fmla="*/ 475854 w 502066"/>
                    <a:gd name="connsiteY47" fmla="*/ 459407 h 460755"/>
                    <a:gd name="connsiteX48" fmla="*/ 372921 w 502066"/>
                    <a:gd name="connsiteY48" fmla="*/ 460755 h 4607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502066" h="460755">
                      <a:moveTo>
                        <a:pt x="372921" y="460755"/>
                      </a:moveTo>
                      <a:cubicBezTo>
                        <a:pt x="369026" y="460710"/>
                        <a:pt x="365189" y="459831"/>
                        <a:pt x="361673" y="458169"/>
                      </a:cubicBezTo>
                      <a:cubicBezTo>
                        <a:pt x="358156" y="459850"/>
                        <a:pt x="354319" y="460736"/>
                        <a:pt x="350424" y="460755"/>
                      </a:cubicBezTo>
                      <a:lnTo>
                        <a:pt x="152541" y="460755"/>
                      </a:lnTo>
                      <a:cubicBezTo>
                        <a:pt x="148646" y="460723"/>
                        <a:pt x="144809" y="459837"/>
                        <a:pt x="141292" y="458169"/>
                      </a:cubicBezTo>
                      <a:cubicBezTo>
                        <a:pt x="137776" y="459837"/>
                        <a:pt x="133939" y="460723"/>
                        <a:pt x="130044" y="460755"/>
                      </a:cubicBezTo>
                      <a:lnTo>
                        <a:pt x="26322" y="460755"/>
                      </a:lnTo>
                      <a:cubicBezTo>
                        <a:pt x="19340" y="460755"/>
                        <a:pt x="12647" y="457983"/>
                        <a:pt x="7707" y="453055"/>
                      </a:cubicBezTo>
                      <a:cubicBezTo>
                        <a:pt x="2772" y="448120"/>
                        <a:pt x="0" y="441434"/>
                        <a:pt x="0" y="434459"/>
                      </a:cubicBezTo>
                      <a:lnTo>
                        <a:pt x="0" y="370290"/>
                      </a:lnTo>
                      <a:cubicBezTo>
                        <a:pt x="32" y="366389"/>
                        <a:pt x="956" y="362545"/>
                        <a:pt x="2701" y="359055"/>
                      </a:cubicBezTo>
                      <a:cubicBezTo>
                        <a:pt x="956" y="355564"/>
                        <a:pt x="32" y="351720"/>
                        <a:pt x="0" y="347812"/>
                      </a:cubicBezTo>
                      <a:lnTo>
                        <a:pt x="0" y="285447"/>
                      </a:lnTo>
                      <a:cubicBezTo>
                        <a:pt x="26" y="281552"/>
                        <a:pt x="905" y="277715"/>
                        <a:pt x="2586" y="274204"/>
                      </a:cubicBezTo>
                      <a:cubicBezTo>
                        <a:pt x="924" y="270688"/>
                        <a:pt x="45" y="266857"/>
                        <a:pt x="0" y="262969"/>
                      </a:cubicBezTo>
                      <a:lnTo>
                        <a:pt x="0" y="198236"/>
                      </a:lnTo>
                      <a:cubicBezTo>
                        <a:pt x="45" y="194347"/>
                        <a:pt x="924" y="190516"/>
                        <a:pt x="2586" y="187000"/>
                      </a:cubicBezTo>
                      <a:cubicBezTo>
                        <a:pt x="905" y="183490"/>
                        <a:pt x="26" y="179652"/>
                        <a:pt x="0" y="175764"/>
                      </a:cubicBezTo>
                      <a:lnTo>
                        <a:pt x="0" y="113392"/>
                      </a:lnTo>
                      <a:cubicBezTo>
                        <a:pt x="45" y="109503"/>
                        <a:pt x="924" y="105673"/>
                        <a:pt x="2586" y="102156"/>
                      </a:cubicBezTo>
                      <a:cubicBezTo>
                        <a:pt x="918" y="98640"/>
                        <a:pt x="32" y="94803"/>
                        <a:pt x="0" y="90914"/>
                      </a:cubicBezTo>
                      <a:lnTo>
                        <a:pt x="0" y="26296"/>
                      </a:lnTo>
                      <a:cubicBezTo>
                        <a:pt x="0" y="19321"/>
                        <a:pt x="2772" y="12635"/>
                        <a:pt x="7707" y="7700"/>
                      </a:cubicBezTo>
                      <a:cubicBezTo>
                        <a:pt x="12647" y="2772"/>
                        <a:pt x="19340" y="0"/>
                        <a:pt x="26322" y="0"/>
                      </a:cubicBezTo>
                      <a:lnTo>
                        <a:pt x="129370" y="0"/>
                      </a:lnTo>
                      <a:cubicBezTo>
                        <a:pt x="133278" y="19"/>
                        <a:pt x="137128" y="943"/>
                        <a:pt x="140619" y="2695"/>
                      </a:cubicBezTo>
                      <a:cubicBezTo>
                        <a:pt x="144116" y="956"/>
                        <a:pt x="147959" y="32"/>
                        <a:pt x="151867" y="0"/>
                      </a:cubicBezTo>
                      <a:lnTo>
                        <a:pt x="349968" y="0"/>
                      </a:lnTo>
                      <a:cubicBezTo>
                        <a:pt x="353882" y="6"/>
                        <a:pt x="357733" y="931"/>
                        <a:pt x="361223" y="2695"/>
                      </a:cubicBezTo>
                      <a:cubicBezTo>
                        <a:pt x="364714" y="956"/>
                        <a:pt x="368564" y="32"/>
                        <a:pt x="372472" y="0"/>
                      </a:cubicBezTo>
                      <a:lnTo>
                        <a:pt x="475854" y="0"/>
                      </a:lnTo>
                      <a:cubicBezTo>
                        <a:pt x="482816" y="32"/>
                        <a:pt x="489483" y="2811"/>
                        <a:pt x="494392" y="7745"/>
                      </a:cubicBezTo>
                      <a:cubicBezTo>
                        <a:pt x="499307" y="12673"/>
                        <a:pt x="502066" y="19340"/>
                        <a:pt x="502066" y="26296"/>
                      </a:cubicBezTo>
                      <a:lnTo>
                        <a:pt x="502066" y="90465"/>
                      </a:lnTo>
                      <a:cubicBezTo>
                        <a:pt x="502041" y="94353"/>
                        <a:pt x="501155" y="98197"/>
                        <a:pt x="499474" y="101701"/>
                      </a:cubicBezTo>
                      <a:cubicBezTo>
                        <a:pt x="501136" y="105223"/>
                        <a:pt x="502022" y="109054"/>
                        <a:pt x="502066" y="112943"/>
                      </a:cubicBezTo>
                      <a:lnTo>
                        <a:pt x="502066" y="175315"/>
                      </a:lnTo>
                      <a:cubicBezTo>
                        <a:pt x="502041" y="179203"/>
                        <a:pt x="501155" y="183040"/>
                        <a:pt x="499474" y="186551"/>
                      </a:cubicBezTo>
                      <a:cubicBezTo>
                        <a:pt x="501136" y="190067"/>
                        <a:pt x="502022" y="193898"/>
                        <a:pt x="502066" y="197786"/>
                      </a:cubicBezTo>
                      <a:lnTo>
                        <a:pt x="502066" y="262070"/>
                      </a:lnTo>
                      <a:cubicBezTo>
                        <a:pt x="502022" y="265959"/>
                        <a:pt x="501136" y="269790"/>
                        <a:pt x="499474" y="273306"/>
                      </a:cubicBezTo>
                      <a:cubicBezTo>
                        <a:pt x="501155" y="276816"/>
                        <a:pt x="502041" y="280653"/>
                        <a:pt x="502066" y="284548"/>
                      </a:cubicBezTo>
                      <a:lnTo>
                        <a:pt x="502066" y="346465"/>
                      </a:lnTo>
                      <a:cubicBezTo>
                        <a:pt x="502022" y="350353"/>
                        <a:pt x="501136" y="354191"/>
                        <a:pt x="499474" y="357707"/>
                      </a:cubicBezTo>
                      <a:cubicBezTo>
                        <a:pt x="501155" y="361217"/>
                        <a:pt x="502041" y="365054"/>
                        <a:pt x="502066" y="368943"/>
                      </a:cubicBezTo>
                      <a:lnTo>
                        <a:pt x="502066" y="433111"/>
                      </a:lnTo>
                      <a:cubicBezTo>
                        <a:pt x="502066" y="440067"/>
                        <a:pt x="499307" y="446741"/>
                        <a:pt x="494392" y="451669"/>
                      </a:cubicBezTo>
                      <a:cubicBezTo>
                        <a:pt x="489483" y="456597"/>
                        <a:pt x="482816" y="459375"/>
                        <a:pt x="475854" y="459407"/>
                      </a:cubicBezTo>
                      <a:lnTo>
                        <a:pt x="372921" y="46075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49" name="Freeform: Shape 248">
                  <a:extLst>
                    <a:ext uri="{FF2B5EF4-FFF2-40B4-BE49-F238E27FC236}">
                      <a16:creationId xmlns:a16="http://schemas.microsoft.com/office/drawing/2014/main" id="{D6B04640-6BFE-9E49-C53F-C8EF9C507A59}"/>
                    </a:ext>
                  </a:extLst>
                </p:cNvPr>
                <p:cNvSpPr/>
                <p:nvPr/>
              </p:nvSpPr>
              <p:spPr>
                <a:xfrm>
                  <a:off x="2897163" y="3046831"/>
                  <a:ext cx="513342" cy="472004"/>
                </a:xfrm>
                <a:custGeom>
                  <a:avLst/>
                  <a:gdLst>
                    <a:gd name="connsiteX0" fmla="*/ 481958 w 513342"/>
                    <a:gd name="connsiteY0" fmla="*/ 11250 h 472004"/>
                    <a:gd name="connsiteX1" fmla="*/ 489863 w 513342"/>
                    <a:gd name="connsiteY1" fmla="*/ 12822 h 472004"/>
                    <a:gd name="connsiteX2" fmla="*/ 496556 w 513342"/>
                    <a:gd name="connsiteY2" fmla="*/ 17307 h 472004"/>
                    <a:gd name="connsiteX3" fmla="*/ 501009 w 513342"/>
                    <a:gd name="connsiteY3" fmla="*/ 24019 h 472004"/>
                    <a:gd name="connsiteX4" fmla="*/ 502543 w 513342"/>
                    <a:gd name="connsiteY4" fmla="*/ 31925 h 472004"/>
                    <a:gd name="connsiteX5" fmla="*/ 502543 w 513342"/>
                    <a:gd name="connsiteY5" fmla="*/ 96093 h 472004"/>
                    <a:gd name="connsiteX6" fmla="*/ 499059 w 513342"/>
                    <a:gd name="connsiteY6" fmla="*/ 107329 h 472004"/>
                    <a:gd name="connsiteX7" fmla="*/ 502543 w 513342"/>
                    <a:gd name="connsiteY7" fmla="*/ 118571 h 472004"/>
                    <a:gd name="connsiteX8" fmla="*/ 502543 w 513342"/>
                    <a:gd name="connsiteY8" fmla="*/ 180943 h 472004"/>
                    <a:gd name="connsiteX9" fmla="*/ 499059 w 513342"/>
                    <a:gd name="connsiteY9" fmla="*/ 192179 h 472004"/>
                    <a:gd name="connsiteX10" fmla="*/ 502543 w 513342"/>
                    <a:gd name="connsiteY10" fmla="*/ 203415 h 472004"/>
                    <a:gd name="connsiteX11" fmla="*/ 502543 w 513342"/>
                    <a:gd name="connsiteY11" fmla="*/ 267699 h 472004"/>
                    <a:gd name="connsiteX12" fmla="*/ 499059 w 513342"/>
                    <a:gd name="connsiteY12" fmla="*/ 278935 h 472004"/>
                    <a:gd name="connsiteX13" fmla="*/ 502543 w 513342"/>
                    <a:gd name="connsiteY13" fmla="*/ 290171 h 472004"/>
                    <a:gd name="connsiteX14" fmla="*/ 502543 w 513342"/>
                    <a:gd name="connsiteY14" fmla="*/ 352093 h 472004"/>
                    <a:gd name="connsiteX15" fmla="*/ 499059 w 513342"/>
                    <a:gd name="connsiteY15" fmla="*/ 363335 h 472004"/>
                    <a:gd name="connsiteX16" fmla="*/ 502543 w 513342"/>
                    <a:gd name="connsiteY16" fmla="*/ 374571 h 472004"/>
                    <a:gd name="connsiteX17" fmla="*/ 502543 w 513342"/>
                    <a:gd name="connsiteY17" fmla="*/ 438740 h 472004"/>
                    <a:gd name="connsiteX18" fmla="*/ 501420 w 513342"/>
                    <a:gd name="connsiteY18" fmla="*/ 447056 h 472004"/>
                    <a:gd name="connsiteX19" fmla="*/ 497057 w 513342"/>
                    <a:gd name="connsiteY19" fmla="*/ 454236 h 472004"/>
                    <a:gd name="connsiteX20" fmla="*/ 490191 w 513342"/>
                    <a:gd name="connsiteY20" fmla="*/ 459075 h 472004"/>
                    <a:gd name="connsiteX21" fmla="*/ 481958 w 513342"/>
                    <a:gd name="connsiteY21" fmla="*/ 460762 h 472004"/>
                    <a:gd name="connsiteX22" fmla="*/ 378576 w 513342"/>
                    <a:gd name="connsiteY22" fmla="*/ 460762 h 472004"/>
                    <a:gd name="connsiteX23" fmla="*/ 367328 w 513342"/>
                    <a:gd name="connsiteY23" fmla="*/ 457284 h 472004"/>
                    <a:gd name="connsiteX24" fmla="*/ 356079 w 513342"/>
                    <a:gd name="connsiteY24" fmla="*/ 460762 h 472004"/>
                    <a:gd name="connsiteX25" fmla="*/ 158203 w 513342"/>
                    <a:gd name="connsiteY25" fmla="*/ 460762 h 472004"/>
                    <a:gd name="connsiteX26" fmla="*/ 146948 w 513342"/>
                    <a:gd name="connsiteY26" fmla="*/ 457284 h 472004"/>
                    <a:gd name="connsiteX27" fmla="*/ 135025 w 513342"/>
                    <a:gd name="connsiteY27" fmla="*/ 460762 h 472004"/>
                    <a:gd name="connsiteX28" fmla="*/ 31983 w 513342"/>
                    <a:gd name="connsiteY28" fmla="*/ 460762 h 472004"/>
                    <a:gd name="connsiteX29" fmla="*/ 17346 w 513342"/>
                    <a:gd name="connsiteY29" fmla="*/ 454711 h 472004"/>
                    <a:gd name="connsiteX30" fmla="*/ 11283 w 513342"/>
                    <a:gd name="connsiteY30" fmla="*/ 440087 h 472004"/>
                    <a:gd name="connsiteX31" fmla="*/ 11283 w 513342"/>
                    <a:gd name="connsiteY31" fmla="*/ 375919 h 472004"/>
                    <a:gd name="connsiteX32" fmla="*/ 14767 w 513342"/>
                    <a:gd name="connsiteY32" fmla="*/ 364683 h 472004"/>
                    <a:gd name="connsiteX33" fmla="*/ 11283 w 513342"/>
                    <a:gd name="connsiteY33" fmla="*/ 353441 h 472004"/>
                    <a:gd name="connsiteX34" fmla="*/ 11283 w 513342"/>
                    <a:gd name="connsiteY34" fmla="*/ 291075 h 472004"/>
                    <a:gd name="connsiteX35" fmla="*/ 14767 w 513342"/>
                    <a:gd name="connsiteY35" fmla="*/ 279833 h 472004"/>
                    <a:gd name="connsiteX36" fmla="*/ 11283 w 513342"/>
                    <a:gd name="connsiteY36" fmla="*/ 268597 h 472004"/>
                    <a:gd name="connsiteX37" fmla="*/ 11283 w 513342"/>
                    <a:gd name="connsiteY37" fmla="*/ 203864 h 472004"/>
                    <a:gd name="connsiteX38" fmla="*/ 14767 w 513342"/>
                    <a:gd name="connsiteY38" fmla="*/ 192628 h 472004"/>
                    <a:gd name="connsiteX39" fmla="*/ 11283 w 513342"/>
                    <a:gd name="connsiteY39" fmla="*/ 181392 h 472004"/>
                    <a:gd name="connsiteX40" fmla="*/ 11283 w 513342"/>
                    <a:gd name="connsiteY40" fmla="*/ 119021 h 472004"/>
                    <a:gd name="connsiteX41" fmla="*/ 14767 w 513342"/>
                    <a:gd name="connsiteY41" fmla="*/ 107778 h 472004"/>
                    <a:gd name="connsiteX42" fmla="*/ 11283 w 513342"/>
                    <a:gd name="connsiteY42" fmla="*/ 96542 h 472004"/>
                    <a:gd name="connsiteX43" fmla="*/ 11283 w 513342"/>
                    <a:gd name="connsiteY43" fmla="*/ 31925 h 472004"/>
                    <a:gd name="connsiteX44" fmla="*/ 17346 w 513342"/>
                    <a:gd name="connsiteY44" fmla="*/ 17301 h 472004"/>
                    <a:gd name="connsiteX45" fmla="*/ 31983 w 513342"/>
                    <a:gd name="connsiteY45" fmla="*/ 11250 h 472004"/>
                    <a:gd name="connsiteX46" fmla="*/ 135025 w 513342"/>
                    <a:gd name="connsiteY46" fmla="*/ 11250 h 472004"/>
                    <a:gd name="connsiteX47" fmla="*/ 146274 w 513342"/>
                    <a:gd name="connsiteY47" fmla="*/ 14728 h 472004"/>
                    <a:gd name="connsiteX48" fmla="*/ 157522 w 513342"/>
                    <a:gd name="connsiteY48" fmla="*/ 11250 h 472004"/>
                    <a:gd name="connsiteX49" fmla="*/ 355630 w 513342"/>
                    <a:gd name="connsiteY49" fmla="*/ 11250 h 472004"/>
                    <a:gd name="connsiteX50" fmla="*/ 366878 w 513342"/>
                    <a:gd name="connsiteY50" fmla="*/ 14728 h 472004"/>
                    <a:gd name="connsiteX51" fmla="*/ 378127 w 513342"/>
                    <a:gd name="connsiteY51" fmla="*/ 11250 h 472004"/>
                    <a:gd name="connsiteX52" fmla="*/ 481509 w 513342"/>
                    <a:gd name="connsiteY52" fmla="*/ 11250 h 472004"/>
                    <a:gd name="connsiteX53" fmla="*/ 481958 w 513342"/>
                    <a:gd name="connsiteY53" fmla="*/ 11250 h 472004"/>
                    <a:gd name="connsiteX54" fmla="*/ 481509 w 513342"/>
                    <a:gd name="connsiteY54" fmla="*/ 7 h 472004"/>
                    <a:gd name="connsiteX55" fmla="*/ 378576 w 513342"/>
                    <a:gd name="connsiteY55" fmla="*/ 7 h 472004"/>
                    <a:gd name="connsiteX56" fmla="*/ 367328 w 513342"/>
                    <a:gd name="connsiteY56" fmla="*/ 2144 h 472004"/>
                    <a:gd name="connsiteX57" fmla="*/ 356079 w 513342"/>
                    <a:gd name="connsiteY57" fmla="*/ 7 h 472004"/>
                    <a:gd name="connsiteX58" fmla="*/ 158203 w 513342"/>
                    <a:gd name="connsiteY58" fmla="*/ 7 h 472004"/>
                    <a:gd name="connsiteX59" fmla="*/ 146948 w 513342"/>
                    <a:gd name="connsiteY59" fmla="*/ 2144 h 472004"/>
                    <a:gd name="connsiteX60" fmla="*/ 135025 w 513342"/>
                    <a:gd name="connsiteY60" fmla="*/ 7 h 472004"/>
                    <a:gd name="connsiteX61" fmla="*/ 31983 w 513342"/>
                    <a:gd name="connsiteY61" fmla="*/ 7 h 472004"/>
                    <a:gd name="connsiteX62" fmla="*/ 9390 w 513342"/>
                    <a:gd name="connsiteY62" fmla="*/ 9357 h 472004"/>
                    <a:gd name="connsiteX63" fmla="*/ 34 w 513342"/>
                    <a:gd name="connsiteY63" fmla="*/ 31925 h 472004"/>
                    <a:gd name="connsiteX64" fmla="*/ 34 w 513342"/>
                    <a:gd name="connsiteY64" fmla="*/ 96093 h 472004"/>
                    <a:gd name="connsiteX65" fmla="*/ 2171 w 513342"/>
                    <a:gd name="connsiteY65" fmla="*/ 107329 h 472004"/>
                    <a:gd name="connsiteX66" fmla="*/ 34 w 513342"/>
                    <a:gd name="connsiteY66" fmla="*/ 118571 h 472004"/>
                    <a:gd name="connsiteX67" fmla="*/ 34 w 513342"/>
                    <a:gd name="connsiteY67" fmla="*/ 180943 h 472004"/>
                    <a:gd name="connsiteX68" fmla="*/ 2171 w 513342"/>
                    <a:gd name="connsiteY68" fmla="*/ 192179 h 472004"/>
                    <a:gd name="connsiteX69" fmla="*/ 34 w 513342"/>
                    <a:gd name="connsiteY69" fmla="*/ 203415 h 472004"/>
                    <a:gd name="connsiteX70" fmla="*/ 34 w 513342"/>
                    <a:gd name="connsiteY70" fmla="*/ 267699 h 472004"/>
                    <a:gd name="connsiteX71" fmla="*/ 2171 w 513342"/>
                    <a:gd name="connsiteY71" fmla="*/ 278935 h 472004"/>
                    <a:gd name="connsiteX72" fmla="*/ 34 w 513342"/>
                    <a:gd name="connsiteY72" fmla="*/ 290171 h 472004"/>
                    <a:gd name="connsiteX73" fmla="*/ 34 w 513342"/>
                    <a:gd name="connsiteY73" fmla="*/ 351984 h 472004"/>
                    <a:gd name="connsiteX74" fmla="*/ 2171 w 513342"/>
                    <a:gd name="connsiteY74" fmla="*/ 363220 h 472004"/>
                    <a:gd name="connsiteX75" fmla="*/ 34 w 513342"/>
                    <a:gd name="connsiteY75" fmla="*/ 374456 h 472004"/>
                    <a:gd name="connsiteX76" fmla="*/ 34 w 513342"/>
                    <a:gd name="connsiteY76" fmla="*/ 438624 h 472004"/>
                    <a:gd name="connsiteX77" fmla="*/ 2029 w 513342"/>
                    <a:gd name="connsiteY77" fmla="*/ 451291 h 472004"/>
                    <a:gd name="connsiteX78" fmla="*/ 8857 w 513342"/>
                    <a:gd name="connsiteY78" fmla="*/ 462142 h 472004"/>
                    <a:gd name="connsiteX79" fmla="*/ 19406 w 513342"/>
                    <a:gd name="connsiteY79" fmla="*/ 469444 h 472004"/>
                    <a:gd name="connsiteX80" fmla="*/ 31983 w 513342"/>
                    <a:gd name="connsiteY80" fmla="*/ 472005 h 472004"/>
                    <a:gd name="connsiteX81" fmla="*/ 135025 w 513342"/>
                    <a:gd name="connsiteY81" fmla="*/ 472005 h 472004"/>
                    <a:gd name="connsiteX82" fmla="*/ 146274 w 513342"/>
                    <a:gd name="connsiteY82" fmla="*/ 469868 h 472004"/>
                    <a:gd name="connsiteX83" fmla="*/ 157522 w 513342"/>
                    <a:gd name="connsiteY83" fmla="*/ 472005 h 472004"/>
                    <a:gd name="connsiteX84" fmla="*/ 355630 w 513342"/>
                    <a:gd name="connsiteY84" fmla="*/ 472005 h 472004"/>
                    <a:gd name="connsiteX85" fmla="*/ 366878 w 513342"/>
                    <a:gd name="connsiteY85" fmla="*/ 469868 h 472004"/>
                    <a:gd name="connsiteX86" fmla="*/ 378127 w 513342"/>
                    <a:gd name="connsiteY86" fmla="*/ 472005 h 472004"/>
                    <a:gd name="connsiteX87" fmla="*/ 481509 w 513342"/>
                    <a:gd name="connsiteY87" fmla="*/ 472005 h 472004"/>
                    <a:gd name="connsiteX88" fmla="*/ 504026 w 513342"/>
                    <a:gd name="connsiteY88" fmla="*/ 462617 h 472004"/>
                    <a:gd name="connsiteX89" fmla="*/ 513343 w 513342"/>
                    <a:gd name="connsiteY89" fmla="*/ 440087 h 472004"/>
                    <a:gd name="connsiteX90" fmla="*/ 513343 w 513342"/>
                    <a:gd name="connsiteY90" fmla="*/ 375919 h 472004"/>
                    <a:gd name="connsiteX91" fmla="*/ 511206 w 513342"/>
                    <a:gd name="connsiteY91" fmla="*/ 364683 h 472004"/>
                    <a:gd name="connsiteX92" fmla="*/ 513343 w 513342"/>
                    <a:gd name="connsiteY92" fmla="*/ 353441 h 472004"/>
                    <a:gd name="connsiteX93" fmla="*/ 513343 w 513342"/>
                    <a:gd name="connsiteY93" fmla="*/ 291075 h 472004"/>
                    <a:gd name="connsiteX94" fmla="*/ 511206 w 513342"/>
                    <a:gd name="connsiteY94" fmla="*/ 279833 h 472004"/>
                    <a:gd name="connsiteX95" fmla="*/ 513343 w 513342"/>
                    <a:gd name="connsiteY95" fmla="*/ 268597 h 472004"/>
                    <a:gd name="connsiteX96" fmla="*/ 513343 w 513342"/>
                    <a:gd name="connsiteY96" fmla="*/ 203864 h 472004"/>
                    <a:gd name="connsiteX97" fmla="*/ 511206 w 513342"/>
                    <a:gd name="connsiteY97" fmla="*/ 192628 h 472004"/>
                    <a:gd name="connsiteX98" fmla="*/ 513343 w 513342"/>
                    <a:gd name="connsiteY98" fmla="*/ 181392 h 472004"/>
                    <a:gd name="connsiteX99" fmla="*/ 513343 w 513342"/>
                    <a:gd name="connsiteY99" fmla="*/ 119021 h 472004"/>
                    <a:gd name="connsiteX100" fmla="*/ 511206 w 513342"/>
                    <a:gd name="connsiteY100" fmla="*/ 107778 h 472004"/>
                    <a:gd name="connsiteX101" fmla="*/ 513343 w 513342"/>
                    <a:gd name="connsiteY101" fmla="*/ 96542 h 472004"/>
                    <a:gd name="connsiteX102" fmla="*/ 513343 w 513342"/>
                    <a:gd name="connsiteY102" fmla="*/ 31925 h 472004"/>
                    <a:gd name="connsiteX103" fmla="*/ 504186 w 513342"/>
                    <a:gd name="connsiteY103" fmla="*/ 9556 h 472004"/>
                    <a:gd name="connsiteX104" fmla="*/ 481958 w 513342"/>
                    <a:gd name="connsiteY104" fmla="*/ 7 h 472004"/>
                    <a:gd name="connsiteX105" fmla="*/ 481509 w 513342"/>
                    <a:gd name="connsiteY105" fmla="*/ 7 h 4720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</a:cxnLst>
                  <a:rect l="l" t="t" r="r" b="b"/>
                  <a:pathLst>
                    <a:path w="513342" h="472004">
                      <a:moveTo>
                        <a:pt x="481958" y="11250"/>
                      </a:moveTo>
                      <a:cubicBezTo>
                        <a:pt x="484672" y="11250"/>
                        <a:pt x="487361" y="11782"/>
                        <a:pt x="489863" y="12822"/>
                      </a:cubicBezTo>
                      <a:cubicBezTo>
                        <a:pt x="492366" y="13861"/>
                        <a:pt x="494644" y="15389"/>
                        <a:pt x="496556" y="17307"/>
                      </a:cubicBezTo>
                      <a:cubicBezTo>
                        <a:pt x="498468" y="19232"/>
                        <a:pt x="499983" y="21510"/>
                        <a:pt x="501009" y="24019"/>
                      </a:cubicBezTo>
                      <a:cubicBezTo>
                        <a:pt x="502043" y="26528"/>
                        <a:pt x="502562" y="29217"/>
                        <a:pt x="502543" y="31925"/>
                      </a:cubicBezTo>
                      <a:lnTo>
                        <a:pt x="502543" y="96093"/>
                      </a:lnTo>
                      <a:cubicBezTo>
                        <a:pt x="502537" y="100104"/>
                        <a:pt x="501324" y="104018"/>
                        <a:pt x="499059" y="107329"/>
                      </a:cubicBezTo>
                      <a:cubicBezTo>
                        <a:pt x="501324" y="110647"/>
                        <a:pt x="502537" y="114561"/>
                        <a:pt x="502543" y="118571"/>
                      </a:cubicBezTo>
                      <a:lnTo>
                        <a:pt x="502543" y="180943"/>
                      </a:lnTo>
                      <a:cubicBezTo>
                        <a:pt x="502537" y="184954"/>
                        <a:pt x="501324" y="188868"/>
                        <a:pt x="499059" y="192179"/>
                      </a:cubicBezTo>
                      <a:cubicBezTo>
                        <a:pt x="501305" y="195497"/>
                        <a:pt x="502518" y="199411"/>
                        <a:pt x="502543" y="203415"/>
                      </a:cubicBezTo>
                      <a:lnTo>
                        <a:pt x="502543" y="267699"/>
                      </a:lnTo>
                      <a:cubicBezTo>
                        <a:pt x="502518" y="271703"/>
                        <a:pt x="501305" y="275617"/>
                        <a:pt x="499059" y="278935"/>
                      </a:cubicBezTo>
                      <a:cubicBezTo>
                        <a:pt x="501324" y="282246"/>
                        <a:pt x="502537" y="286160"/>
                        <a:pt x="502543" y="290171"/>
                      </a:cubicBezTo>
                      <a:lnTo>
                        <a:pt x="502543" y="352093"/>
                      </a:lnTo>
                      <a:cubicBezTo>
                        <a:pt x="502537" y="356104"/>
                        <a:pt x="501324" y="360018"/>
                        <a:pt x="499059" y="363335"/>
                      </a:cubicBezTo>
                      <a:cubicBezTo>
                        <a:pt x="501324" y="366647"/>
                        <a:pt x="502537" y="370561"/>
                        <a:pt x="502543" y="374571"/>
                      </a:cubicBezTo>
                      <a:lnTo>
                        <a:pt x="502543" y="438740"/>
                      </a:lnTo>
                      <a:cubicBezTo>
                        <a:pt x="502748" y="441563"/>
                        <a:pt x="502363" y="444393"/>
                        <a:pt x="501420" y="447056"/>
                      </a:cubicBezTo>
                      <a:cubicBezTo>
                        <a:pt x="500477" y="449725"/>
                        <a:pt x="498988" y="452170"/>
                        <a:pt x="497057" y="454236"/>
                      </a:cubicBezTo>
                      <a:cubicBezTo>
                        <a:pt x="495125" y="456303"/>
                        <a:pt x="492789" y="457952"/>
                        <a:pt x="490191" y="459075"/>
                      </a:cubicBezTo>
                      <a:cubicBezTo>
                        <a:pt x="487592" y="460198"/>
                        <a:pt x="484788" y="460775"/>
                        <a:pt x="481958" y="460762"/>
                      </a:cubicBezTo>
                      <a:lnTo>
                        <a:pt x="378576" y="460762"/>
                      </a:lnTo>
                      <a:cubicBezTo>
                        <a:pt x="374566" y="460737"/>
                        <a:pt x="370652" y="459524"/>
                        <a:pt x="367328" y="457284"/>
                      </a:cubicBezTo>
                      <a:cubicBezTo>
                        <a:pt x="364010" y="459543"/>
                        <a:pt x="360096" y="460756"/>
                        <a:pt x="356079" y="460762"/>
                      </a:cubicBezTo>
                      <a:lnTo>
                        <a:pt x="158203" y="460762"/>
                      </a:lnTo>
                      <a:cubicBezTo>
                        <a:pt x="154186" y="460756"/>
                        <a:pt x="150265" y="459543"/>
                        <a:pt x="146948" y="457284"/>
                      </a:cubicBezTo>
                      <a:cubicBezTo>
                        <a:pt x="143444" y="459678"/>
                        <a:pt x="139273" y="460897"/>
                        <a:pt x="135025" y="460762"/>
                      </a:cubicBezTo>
                      <a:lnTo>
                        <a:pt x="31983" y="460762"/>
                      </a:lnTo>
                      <a:cubicBezTo>
                        <a:pt x="26491" y="460762"/>
                        <a:pt x="21229" y="458587"/>
                        <a:pt x="17346" y="454711"/>
                      </a:cubicBezTo>
                      <a:cubicBezTo>
                        <a:pt x="13464" y="450829"/>
                        <a:pt x="11283" y="445574"/>
                        <a:pt x="11283" y="440087"/>
                      </a:cubicBezTo>
                      <a:lnTo>
                        <a:pt x="11283" y="375919"/>
                      </a:lnTo>
                      <a:cubicBezTo>
                        <a:pt x="11379" y="371921"/>
                        <a:pt x="12585" y="368033"/>
                        <a:pt x="14767" y="364683"/>
                      </a:cubicBezTo>
                      <a:cubicBezTo>
                        <a:pt x="12553" y="361346"/>
                        <a:pt x="11340" y="357445"/>
                        <a:pt x="11283" y="353441"/>
                      </a:cubicBezTo>
                      <a:lnTo>
                        <a:pt x="11283" y="291075"/>
                      </a:lnTo>
                      <a:cubicBezTo>
                        <a:pt x="11289" y="287065"/>
                        <a:pt x="12508" y="283144"/>
                        <a:pt x="14767" y="279833"/>
                      </a:cubicBezTo>
                      <a:cubicBezTo>
                        <a:pt x="12521" y="276516"/>
                        <a:pt x="11308" y="272601"/>
                        <a:pt x="11283" y="268597"/>
                      </a:cubicBezTo>
                      <a:lnTo>
                        <a:pt x="11283" y="203864"/>
                      </a:lnTo>
                      <a:cubicBezTo>
                        <a:pt x="11308" y="199860"/>
                        <a:pt x="12521" y="195946"/>
                        <a:pt x="14767" y="192628"/>
                      </a:cubicBezTo>
                      <a:cubicBezTo>
                        <a:pt x="12508" y="189317"/>
                        <a:pt x="11289" y="185403"/>
                        <a:pt x="11283" y="181392"/>
                      </a:cubicBezTo>
                      <a:lnTo>
                        <a:pt x="11283" y="119021"/>
                      </a:lnTo>
                      <a:cubicBezTo>
                        <a:pt x="11289" y="115010"/>
                        <a:pt x="12508" y="111096"/>
                        <a:pt x="14767" y="107778"/>
                      </a:cubicBezTo>
                      <a:cubicBezTo>
                        <a:pt x="12508" y="104467"/>
                        <a:pt x="11289" y="100553"/>
                        <a:pt x="11283" y="96542"/>
                      </a:cubicBezTo>
                      <a:lnTo>
                        <a:pt x="11283" y="31925"/>
                      </a:lnTo>
                      <a:cubicBezTo>
                        <a:pt x="11283" y="26438"/>
                        <a:pt x="13464" y="21183"/>
                        <a:pt x="17346" y="17301"/>
                      </a:cubicBezTo>
                      <a:cubicBezTo>
                        <a:pt x="21229" y="13425"/>
                        <a:pt x="26491" y="11250"/>
                        <a:pt x="31983" y="11250"/>
                      </a:cubicBezTo>
                      <a:lnTo>
                        <a:pt x="135025" y="11250"/>
                      </a:lnTo>
                      <a:cubicBezTo>
                        <a:pt x="139042" y="11256"/>
                        <a:pt x="142963" y="12469"/>
                        <a:pt x="146274" y="14728"/>
                      </a:cubicBezTo>
                      <a:cubicBezTo>
                        <a:pt x="149591" y="12469"/>
                        <a:pt x="153512" y="11256"/>
                        <a:pt x="157522" y="11250"/>
                      </a:cubicBezTo>
                      <a:lnTo>
                        <a:pt x="355630" y="11250"/>
                      </a:lnTo>
                      <a:cubicBezTo>
                        <a:pt x="359640" y="11256"/>
                        <a:pt x="363561" y="12469"/>
                        <a:pt x="366878" y="14728"/>
                      </a:cubicBezTo>
                      <a:cubicBezTo>
                        <a:pt x="370202" y="12488"/>
                        <a:pt x="374116" y="11275"/>
                        <a:pt x="378127" y="11250"/>
                      </a:cubicBezTo>
                      <a:lnTo>
                        <a:pt x="481509" y="11250"/>
                      </a:lnTo>
                      <a:lnTo>
                        <a:pt x="481958" y="11250"/>
                      </a:lnTo>
                      <a:close/>
                      <a:moveTo>
                        <a:pt x="481509" y="7"/>
                      </a:moveTo>
                      <a:lnTo>
                        <a:pt x="378576" y="7"/>
                      </a:lnTo>
                      <a:cubicBezTo>
                        <a:pt x="374726" y="14"/>
                        <a:pt x="370915" y="739"/>
                        <a:pt x="367328" y="2144"/>
                      </a:cubicBezTo>
                      <a:cubicBezTo>
                        <a:pt x="363747" y="733"/>
                        <a:pt x="359929" y="7"/>
                        <a:pt x="356079" y="7"/>
                      </a:cubicBezTo>
                      <a:lnTo>
                        <a:pt x="158203" y="7"/>
                      </a:lnTo>
                      <a:cubicBezTo>
                        <a:pt x="154346" y="7"/>
                        <a:pt x="150535" y="733"/>
                        <a:pt x="146948" y="2144"/>
                      </a:cubicBezTo>
                      <a:cubicBezTo>
                        <a:pt x="143155" y="643"/>
                        <a:pt x="139106" y="-82"/>
                        <a:pt x="135025" y="7"/>
                      </a:cubicBezTo>
                      <a:lnTo>
                        <a:pt x="31983" y="7"/>
                      </a:lnTo>
                      <a:cubicBezTo>
                        <a:pt x="23507" y="7"/>
                        <a:pt x="15383" y="3370"/>
                        <a:pt x="9390" y="9357"/>
                      </a:cubicBezTo>
                      <a:cubicBezTo>
                        <a:pt x="3396" y="15344"/>
                        <a:pt x="34" y="23461"/>
                        <a:pt x="34" y="31925"/>
                      </a:cubicBezTo>
                      <a:lnTo>
                        <a:pt x="34" y="96093"/>
                      </a:lnTo>
                      <a:cubicBezTo>
                        <a:pt x="27" y="99943"/>
                        <a:pt x="753" y="103755"/>
                        <a:pt x="2171" y="107329"/>
                      </a:cubicBezTo>
                      <a:cubicBezTo>
                        <a:pt x="753" y="110910"/>
                        <a:pt x="27" y="114721"/>
                        <a:pt x="34" y="118571"/>
                      </a:cubicBezTo>
                      <a:lnTo>
                        <a:pt x="34" y="180943"/>
                      </a:lnTo>
                      <a:cubicBezTo>
                        <a:pt x="27" y="184787"/>
                        <a:pt x="753" y="188599"/>
                        <a:pt x="2171" y="192179"/>
                      </a:cubicBezTo>
                      <a:cubicBezTo>
                        <a:pt x="765" y="195760"/>
                        <a:pt x="40" y="199571"/>
                        <a:pt x="34" y="203415"/>
                      </a:cubicBezTo>
                      <a:lnTo>
                        <a:pt x="34" y="267699"/>
                      </a:lnTo>
                      <a:cubicBezTo>
                        <a:pt x="40" y="271543"/>
                        <a:pt x="765" y="275354"/>
                        <a:pt x="2171" y="278935"/>
                      </a:cubicBezTo>
                      <a:cubicBezTo>
                        <a:pt x="753" y="282515"/>
                        <a:pt x="27" y="286327"/>
                        <a:pt x="34" y="290171"/>
                      </a:cubicBezTo>
                      <a:lnTo>
                        <a:pt x="34" y="351984"/>
                      </a:lnTo>
                      <a:cubicBezTo>
                        <a:pt x="85" y="355821"/>
                        <a:pt x="804" y="359627"/>
                        <a:pt x="2171" y="363220"/>
                      </a:cubicBezTo>
                      <a:cubicBezTo>
                        <a:pt x="823" y="366820"/>
                        <a:pt x="98" y="370619"/>
                        <a:pt x="34" y="374456"/>
                      </a:cubicBezTo>
                      <a:lnTo>
                        <a:pt x="34" y="438624"/>
                      </a:lnTo>
                      <a:cubicBezTo>
                        <a:pt x="-165" y="442936"/>
                        <a:pt x="515" y="447248"/>
                        <a:pt x="2029" y="451291"/>
                      </a:cubicBezTo>
                      <a:cubicBezTo>
                        <a:pt x="3550" y="455334"/>
                        <a:pt x="5867" y="459023"/>
                        <a:pt x="8857" y="462142"/>
                      </a:cubicBezTo>
                      <a:cubicBezTo>
                        <a:pt x="11841" y="465267"/>
                        <a:pt x="15434" y="467750"/>
                        <a:pt x="19406" y="469444"/>
                      </a:cubicBezTo>
                      <a:cubicBezTo>
                        <a:pt x="23385" y="471138"/>
                        <a:pt x="27658" y="472011"/>
                        <a:pt x="31983" y="472005"/>
                      </a:cubicBezTo>
                      <a:lnTo>
                        <a:pt x="135025" y="472005"/>
                      </a:lnTo>
                      <a:cubicBezTo>
                        <a:pt x="138875" y="472005"/>
                        <a:pt x="142693" y="471280"/>
                        <a:pt x="146274" y="469868"/>
                      </a:cubicBezTo>
                      <a:cubicBezTo>
                        <a:pt x="149854" y="471280"/>
                        <a:pt x="153672" y="472005"/>
                        <a:pt x="157522" y="472005"/>
                      </a:cubicBezTo>
                      <a:lnTo>
                        <a:pt x="355630" y="472005"/>
                      </a:lnTo>
                      <a:cubicBezTo>
                        <a:pt x="359480" y="472005"/>
                        <a:pt x="363298" y="471280"/>
                        <a:pt x="366878" y="469868"/>
                      </a:cubicBezTo>
                      <a:cubicBezTo>
                        <a:pt x="370459" y="471273"/>
                        <a:pt x="374277" y="471998"/>
                        <a:pt x="378127" y="472005"/>
                      </a:cubicBezTo>
                      <a:lnTo>
                        <a:pt x="481509" y="472005"/>
                      </a:lnTo>
                      <a:cubicBezTo>
                        <a:pt x="489966" y="471973"/>
                        <a:pt x="498058" y="468597"/>
                        <a:pt x="504026" y="462617"/>
                      </a:cubicBezTo>
                      <a:cubicBezTo>
                        <a:pt x="509993" y="456636"/>
                        <a:pt x="513343" y="448532"/>
                        <a:pt x="513343" y="440087"/>
                      </a:cubicBezTo>
                      <a:lnTo>
                        <a:pt x="513343" y="375919"/>
                      </a:lnTo>
                      <a:cubicBezTo>
                        <a:pt x="513349" y="372069"/>
                        <a:pt x="512624" y="368257"/>
                        <a:pt x="511206" y="364683"/>
                      </a:cubicBezTo>
                      <a:cubicBezTo>
                        <a:pt x="512624" y="361102"/>
                        <a:pt x="513349" y="357291"/>
                        <a:pt x="513343" y="353441"/>
                      </a:cubicBezTo>
                      <a:lnTo>
                        <a:pt x="513343" y="291075"/>
                      </a:lnTo>
                      <a:cubicBezTo>
                        <a:pt x="513349" y="287225"/>
                        <a:pt x="512624" y="283414"/>
                        <a:pt x="511206" y="279833"/>
                      </a:cubicBezTo>
                      <a:cubicBezTo>
                        <a:pt x="512618" y="276252"/>
                        <a:pt x="513343" y="272441"/>
                        <a:pt x="513343" y="268597"/>
                      </a:cubicBezTo>
                      <a:lnTo>
                        <a:pt x="513343" y="203864"/>
                      </a:lnTo>
                      <a:cubicBezTo>
                        <a:pt x="513343" y="200020"/>
                        <a:pt x="512618" y="196209"/>
                        <a:pt x="511206" y="192628"/>
                      </a:cubicBezTo>
                      <a:cubicBezTo>
                        <a:pt x="512624" y="189048"/>
                        <a:pt x="513349" y="185236"/>
                        <a:pt x="513343" y="181392"/>
                      </a:cubicBezTo>
                      <a:lnTo>
                        <a:pt x="513343" y="119021"/>
                      </a:lnTo>
                      <a:cubicBezTo>
                        <a:pt x="513349" y="115170"/>
                        <a:pt x="512624" y="111359"/>
                        <a:pt x="511206" y="107778"/>
                      </a:cubicBezTo>
                      <a:cubicBezTo>
                        <a:pt x="512624" y="104204"/>
                        <a:pt x="513349" y="100393"/>
                        <a:pt x="513343" y="96542"/>
                      </a:cubicBezTo>
                      <a:lnTo>
                        <a:pt x="513343" y="31925"/>
                      </a:lnTo>
                      <a:cubicBezTo>
                        <a:pt x="513349" y="23557"/>
                        <a:pt x="510057" y="15523"/>
                        <a:pt x="504186" y="9556"/>
                      </a:cubicBezTo>
                      <a:cubicBezTo>
                        <a:pt x="498321" y="3582"/>
                        <a:pt x="490339" y="155"/>
                        <a:pt x="481958" y="7"/>
                      </a:cubicBezTo>
                      <a:lnTo>
                        <a:pt x="481509" y="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50" name="Freeform: Shape 249">
                  <a:extLst>
                    <a:ext uri="{FF2B5EF4-FFF2-40B4-BE49-F238E27FC236}">
                      <a16:creationId xmlns:a16="http://schemas.microsoft.com/office/drawing/2014/main" id="{19D565A8-AC87-8A32-4658-CAB7E3DF5DB8}"/>
                    </a:ext>
                  </a:extLst>
                </p:cNvPr>
                <p:cNvSpPr/>
                <p:nvPr/>
              </p:nvSpPr>
              <p:spPr>
                <a:xfrm>
                  <a:off x="2908393" y="3058084"/>
                  <a:ext cx="491314" cy="449528"/>
                </a:xfrm>
                <a:custGeom>
                  <a:avLst/>
                  <a:gdLst>
                    <a:gd name="connsiteX0" fmla="*/ 491314 w 491314"/>
                    <a:gd name="connsiteY0" fmla="*/ 20684 h 449528"/>
                    <a:gd name="connsiteX1" fmla="*/ 489780 w 491314"/>
                    <a:gd name="connsiteY1" fmla="*/ 12785 h 449528"/>
                    <a:gd name="connsiteX2" fmla="*/ 485327 w 491314"/>
                    <a:gd name="connsiteY2" fmla="*/ 6073 h 449528"/>
                    <a:gd name="connsiteX3" fmla="*/ 478634 w 491314"/>
                    <a:gd name="connsiteY3" fmla="*/ 1588 h 449528"/>
                    <a:gd name="connsiteX4" fmla="*/ 470728 w 491314"/>
                    <a:gd name="connsiteY4" fmla="*/ 9 h 449528"/>
                    <a:gd name="connsiteX5" fmla="*/ 367347 w 491314"/>
                    <a:gd name="connsiteY5" fmla="*/ 9 h 449528"/>
                    <a:gd name="connsiteX6" fmla="*/ 356098 w 491314"/>
                    <a:gd name="connsiteY6" fmla="*/ 3494 h 449528"/>
                    <a:gd name="connsiteX7" fmla="*/ 344849 w 491314"/>
                    <a:gd name="connsiteY7" fmla="*/ 9 h 449528"/>
                    <a:gd name="connsiteX8" fmla="*/ 146967 w 491314"/>
                    <a:gd name="connsiteY8" fmla="*/ 9 h 449528"/>
                    <a:gd name="connsiteX9" fmla="*/ 135718 w 491314"/>
                    <a:gd name="connsiteY9" fmla="*/ 3494 h 449528"/>
                    <a:gd name="connsiteX10" fmla="*/ 123796 w 491314"/>
                    <a:gd name="connsiteY10" fmla="*/ 9 h 449528"/>
                    <a:gd name="connsiteX11" fmla="*/ 20754 w 491314"/>
                    <a:gd name="connsiteY11" fmla="*/ 9 h 449528"/>
                    <a:gd name="connsiteX12" fmla="*/ 6117 w 491314"/>
                    <a:gd name="connsiteY12" fmla="*/ 6067 h 449528"/>
                    <a:gd name="connsiteX13" fmla="*/ 53 w 491314"/>
                    <a:gd name="connsiteY13" fmla="*/ 20684 h 449528"/>
                    <a:gd name="connsiteX14" fmla="*/ 53 w 491314"/>
                    <a:gd name="connsiteY14" fmla="*/ 84859 h 449528"/>
                    <a:gd name="connsiteX15" fmla="*/ 3538 w 491314"/>
                    <a:gd name="connsiteY15" fmla="*/ 96095 h 449528"/>
                    <a:gd name="connsiteX16" fmla="*/ 53 w 491314"/>
                    <a:gd name="connsiteY16" fmla="*/ 107331 h 449528"/>
                    <a:gd name="connsiteX17" fmla="*/ 53 w 491314"/>
                    <a:gd name="connsiteY17" fmla="*/ 169703 h 449528"/>
                    <a:gd name="connsiteX18" fmla="*/ 3538 w 491314"/>
                    <a:gd name="connsiteY18" fmla="*/ 180939 h 449528"/>
                    <a:gd name="connsiteX19" fmla="*/ 53 w 491314"/>
                    <a:gd name="connsiteY19" fmla="*/ 192181 h 449528"/>
                    <a:gd name="connsiteX20" fmla="*/ 53 w 491314"/>
                    <a:gd name="connsiteY20" fmla="*/ 256458 h 449528"/>
                    <a:gd name="connsiteX21" fmla="*/ 3538 w 491314"/>
                    <a:gd name="connsiteY21" fmla="*/ 267701 h 449528"/>
                    <a:gd name="connsiteX22" fmla="*/ 53 w 491314"/>
                    <a:gd name="connsiteY22" fmla="*/ 278936 h 449528"/>
                    <a:gd name="connsiteX23" fmla="*/ 53 w 491314"/>
                    <a:gd name="connsiteY23" fmla="*/ 340744 h 449528"/>
                    <a:gd name="connsiteX24" fmla="*/ 3538 w 491314"/>
                    <a:gd name="connsiteY24" fmla="*/ 351979 h 449528"/>
                    <a:gd name="connsiteX25" fmla="*/ 53 w 491314"/>
                    <a:gd name="connsiteY25" fmla="*/ 363222 h 449528"/>
                    <a:gd name="connsiteX26" fmla="*/ 53 w 491314"/>
                    <a:gd name="connsiteY26" fmla="*/ 427390 h 449528"/>
                    <a:gd name="connsiteX27" fmla="*/ 1189 w 491314"/>
                    <a:gd name="connsiteY27" fmla="*/ 435751 h 449528"/>
                    <a:gd name="connsiteX28" fmla="*/ 5572 w 491314"/>
                    <a:gd name="connsiteY28" fmla="*/ 442964 h 449528"/>
                    <a:gd name="connsiteX29" fmla="*/ 12476 w 491314"/>
                    <a:gd name="connsiteY29" fmla="*/ 447828 h 449528"/>
                    <a:gd name="connsiteX30" fmla="*/ 20754 w 491314"/>
                    <a:gd name="connsiteY30" fmla="*/ 449528 h 449528"/>
                    <a:gd name="connsiteX31" fmla="*/ 123796 w 491314"/>
                    <a:gd name="connsiteY31" fmla="*/ 449528 h 449528"/>
                    <a:gd name="connsiteX32" fmla="*/ 135044 w 491314"/>
                    <a:gd name="connsiteY32" fmla="*/ 446044 h 449528"/>
                    <a:gd name="connsiteX33" fmla="*/ 146293 w 491314"/>
                    <a:gd name="connsiteY33" fmla="*/ 449528 h 449528"/>
                    <a:gd name="connsiteX34" fmla="*/ 344400 w 491314"/>
                    <a:gd name="connsiteY34" fmla="*/ 449528 h 449528"/>
                    <a:gd name="connsiteX35" fmla="*/ 355649 w 491314"/>
                    <a:gd name="connsiteY35" fmla="*/ 446044 h 449528"/>
                    <a:gd name="connsiteX36" fmla="*/ 366898 w 491314"/>
                    <a:gd name="connsiteY36" fmla="*/ 449528 h 449528"/>
                    <a:gd name="connsiteX37" fmla="*/ 470279 w 491314"/>
                    <a:gd name="connsiteY37" fmla="*/ 449528 h 449528"/>
                    <a:gd name="connsiteX38" fmla="*/ 478185 w 491314"/>
                    <a:gd name="connsiteY38" fmla="*/ 447950 h 449528"/>
                    <a:gd name="connsiteX39" fmla="*/ 484878 w 491314"/>
                    <a:gd name="connsiteY39" fmla="*/ 443464 h 449528"/>
                    <a:gd name="connsiteX40" fmla="*/ 489331 w 491314"/>
                    <a:gd name="connsiteY40" fmla="*/ 436752 h 449528"/>
                    <a:gd name="connsiteX41" fmla="*/ 490865 w 491314"/>
                    <a:gd name="connsiteY41" fmla="*/ 428847 h 449528"/>
                    <a:gd name="connsiteX42" fmla="*/ 490865 w 491314"/>
                    <a:gd name="connsiteY42" fmla="*/ 364678 h 449528"/>
                    <a:gd name="connsiteX43" fmla="*/ 487380 w 491314"/>
                    <a:gd name="connsiteY43" fmla="*/ 353442 h 449528"/>
                    <a:gd name="connsiteX44" fmla="*/ 490865 w 491314"/>
                    <a:gd name="connsiteY44" fmla="*/ 342207 h 449528"/>
                    <a:gd name="connsiteX45" fmla="*/ 490865 w 491314"/>
                    <a:gd name="connsiteY45" fmla="*/ 279835 h 449528"/>
                    <a:gd name="connsiteX46" fmla="*/ 487380 w 491314"/>
                    <a:gd name="connsiteY46" fmla="*/ 268599 h 449528"/>
                    <a:gd name="connsiteX47" fmla="*/ 490865 w 491314"/>
                    <a:gd name="connsiteY47" fmla="*/ 257357 h 449528"/>
                    <a:gd name="connsiteX48" fmla="*/ 490865 w 491314"/>
                    <a:gd name="connsiteY48" fmla="*/ 192630 h 449528"/>
                    <a:gd name="connsiteX49" fmla="*/ 487380 w 491314"/>
                    <a:gd name="connsiteY49" fmla="*/ 181388 h 449528"/>
                    <a:gd name="connsiteX50" fmla="*/ 490865 w 491314"/>
                    <a:gd name="connsiteY50" fmla="*/ 170152 h 449528"/>
                    <a:gd name="connsiteX51" fmla="*/ 490865 w 491314"/>
                    <a:gd name="connsiteY51" fmla="*/ 107780 h 449528"/>
                    <a:gd name="connsiteX52" fmla="*/ 487380 w 491314"/>
                    <a:gd name="connsiteY52" fmla="*/ 96544 h 449528"/>
                    <a:gd name="connsiteX53" fmla="*/ 490865 w 491314"/>
                    <a:gd name="connsiteY53" fmla="*/ 85308 h 449528"/>
                    <a:gd name="connsiteX54" fmla="*/ 491314 w 491314"/>
                    <a:gd name="connsiteY54" fmla="*/ 20684 h 449528"/>
                    <a:gd name="connsiteX55" fmla="*/ 18835 w 491314"/>
                    <a:gd name="connsiteY55" fmla="*/ 20684 h 449528"/>
                    <a:gd name="connsiteX56" fmla="*/ 19560 w 491314"/>
                    <a:gd name="connsiteY56" fmla="*/ 19048 h 449528"/>
                    <a:gd name="connsiteX57" fmla="*/ 21203 w 491314"/>
                    <a:gd name="connsiteY57" fmla="*/ 18329 h 449528"/>
                    <a:gd name="connsiteX58" fmla="*/ 123796 w 491314"/>
                    <a:gd name="connsiteY58" fmla="*/ 18329 h 449528"/>
                    <a:gd name="connsiteX59" fmla="*/ 125393 w 491314"/>
                    <a:gd name="connsiteY59" fmla="*/ 19054 h 449528"/>
                    <a:gd name="connsiteX60" fmla="*/ 126048 w 491314"/>
                    <a:gd name="connsiteY60" fmla="*/ 20684 h 449528"/>
                    <a:gd name="connsiteX61" fmla="*/ 126048 w 491314"/>
                    <a:gd name="connsiteY61" fmla="*/ 84859 h 449528"/>
                    <a:gd name="connsiteX62" fmla="*/ 125393 w 491314"/>
                    <a:gd name="connsiteY62" fmla="*/ 86489 h 449528"/>
                    <a:gd name="connsiteX63" fmla="*/ 123796 w 491314"/>
                    <a:gd name="connsiteY63" fmla="*/ 87214 h 449528"/>
                    <a:gd name="connsiteX64" fmla="*/ 20754 w 491314"/>
                    <a:gd name="connsiteY64" fmla="*/ 87214 h 449528"/>
                    <a:gd name="connsiteX65" fmla="*/ 19111 w 491314"/>
                    <a:gd name="connsiteY65" fmla="*/ 86495 h 449528"/>
                    <a:gd name="connsiteX66" fmla="*/ 18386 w 491314"/>
                    <a:gd name="connsiteY66" fmla="*/ 84859 h 449528"/>
                    <a:gd name="connsiteX67" fmla="*/ 18835 w 491314"/>
                    <a:gd name="connsiteY67" fmla="*/ 20684 h 449528"/>
                    <a:gd name="connsiteX68" fmla="*/ 126722 w 491314"/>
                    <a:gd name="connsiteY68" fmla="*/ 428847 h 449528"/>
                    <a:gd name="connsiteX69" fmla="*/ 126067 w 491314"/>
                    <a:gd name="connsiteY69" fmla="*/ 430483 h 449528"/>
                    <a:gd name="connsiteX70" fmla="*/ 124469 w 491314"/>
                    <a:gd name="connsiteY70" fmla="*/ 431208 h 449528"/>
                    <a:gd name="connsiteX71" fmla="*/ 20754 w 491314"/>
                    <a:gd name="connsiteY71" fmla="*/ 431208 h 449528"/>
                    <a:gd name="connsiteX72" fmla="*/ 19111 w 491314"/>
                    <a:gd name="connsiteY72" fmla="*/ 430489 h 449528"/>
                    <a:gd name="connsiteX73" fmla="*/ 18386 w 491314"/>
                    <a:gd name="connsiteY73" fmla="*/ 428847 h 449528"/>
                    <a:gd name="connsiteX74" fmla="*/ 18386 w 491314"/>
                    <a:gd name="connsiteY74" fmla="*/ 364678 h 449528"/>
                    <a:gd name="connsiteX75" fmla="*/ 19111 w 491314"/>
                    <a:gd name="connsiteY75" fmla="*/ 363042 h 449528"/>
                    <a:gd name="connsiteX76" fmla="*/ 20754 w 491314"/>
                    <a:gd name="connsiteY76" fmla="*/ 362323 h 449528"/>
                    <a:gd name="connsiteX77" fmla="*/ 123796 w 491314"/>
                    <a:gd name="connsiteY77" fmla="*/ 362323 h 449528"/>
                    <a:gd name="connsiteX78" fmla="*/ 125393 w 491314"/>
                    <a:gd name="connsiteY78" fmla="*/ 363048 h 449528"/>
                    <a:gd name="connsiteX79" fmla="*/ 126048 w 491314"/>
                    <a:gd name="connsiteY79" fmla="*/ 364678 h 449528"/>
                    <a:gd name="connsiteX80" fmla="*/ 126722 w 491314"/>
                    <a:gd name="connsiteY80" fmla="*/ 428847 h 449528"/>
                    <a:gd name="connsiteX81" fmla="*/ 473430 w 491314"/>
                    <a:gd name="connsiteY81" fmla="*/ 428847 h 449528"/>
                    <a:gd name="connsiteX82" fmla="*/ 472776 w 491314"/>
                    <a:gd name="connsiteY82" fmla="*/ 430483 h 449528"/>
                    <a:gd name="connsiteX83" fmla="*/ 471178 w 491314"/>
                    <a:gd name="connsiteY83" fmla="*/ 431208 h 449528"/>
                    <a:gd name="connsiteX84" fmla="*/ 367347 w 491314"/>
                    <a:gd name="connsiteY84" fmla="*/ 431208 h 449528"/>
                    <a:gd name="connsiteX85" fmla="*/ 365749 w 491314"/>
                    <a:gd name="connsiteY85" fmla="*/ 430483 h 449528"/>
                    <a:gd name="connsiteX86" fmla="*/ 365095 w 491314"/>
                    <a:gd name="connsiteY86" fmla="*/ 428847 h 449528"/>
                    <a:gd name="connsiteX87" fmla="*/ 365095 w 491314"/>
                    <a:gd name="connsiteY87" fmla="*/ 364678 h 449528"/>
                    <a:gd name="connsiteX88" fmla="*/ 365749 w 491314"/>
                    <a:gd name="connsiteY88" fmla="*/ 363048 h 449528"/>
                    <a:gd name="connsiteX89" fmla="*/ 367347 w 491314"/>
                    <a:gd name="connsiteY89" fmla="*/ 362323 h 449528"/>
                    <a:gd name="connsiteX90" fmla="*/ 470728 w 491314"/>
                    <a:gd name="connsiteY90" fmla="*/ 362323 h 449528"/>
                    <a:gd name="connsiteX91" fmla="*/ 472326 w 491314"/>
                    <a:gd name="connsiteY91" fmla="*/ 363048 h 449528"/>
                    <a:gd name="connsiteX92" fmla="*/ 472981 w 491314"/>
                    <a:gd name="connsiteY92" fmla="*/ 364678 h 449528"/>
                    <a:gd name="connsiteX93" fmla="*/ 473430 w 491314"/>
                    <a:gd name="connsiteY93" fmla="*/ 428847 h 449528"/>
                    <a:gd name="connsiteX94" fmla="*/ 472532 w 491314"/>
                    <a:gd name="connsiteY94" fmla="*/ 169703 h 449528"/>
                    <a:gd name="connsiteX95" fmla="*/ 471877 w 491314"/>
                    <a:gd name="connsiteY95" fmla="*/ 171332 h 449528"/>
                    <a:gd name="connsiteX96" fmla="*/ 470279 w 491314"/>
                    <a:gd name="connsiteY96" fmla="*/ 172064 h 449528"/>
                    <a:gd name="connsiteX97" fmla="*/ 381522 w 491314"/>
                    <a:gd name="connsiteY97" fmla="*/ 172064 h 449528"/>
                    <a:gd name="connsiteX98" fmla="*/ 387932 w 491314"/>
                    <a:gd name="connsiteY98" fmla="*/ 190378 h 449528"/>
                    <a:gd name="connsiteX99" fmla="*/ 470728 w 491314"/>
                    <a:gd name="connsiteY99" fmla="*/ 190378 h 449528"/>
                    <a:gd name="connsiteX100" fmla="*/ 472320 w 491314"/>
                    <a:gd name="connsiteY100" fmla="*/ 191038 h 449528"/>
                    <a:gd name="connsiteX101" fmla="*/ 472981 w 491314"/>
                    <a:gd name="connsiteY101" fmla="*/ 192630 h 449528"/>
                    <a:gd name="connsiteX102" fmla="*/ 472981 w 491314"/>
                    <a:gd name="connsiteY102" fmla="*/ 256907 h 449528"/>
                    <a:gd name="connsiteX103" fmla="*/ 472320 w 491314"/>
                    <a:gd name="connsiteY103" fmla="*/ 258499 h 449528"/>
                    <a:gd name="connsiteX104" fmla="*/ 470728 w 491314"/>
                    <a:gd name="connsiteY104" fmla="*/ 259160 h 449528"/>
                    <a:gd name="connsiteX105" fmla="*/ 390069 w 491314"/>
                    <a:gd name="connsiteY105" fmla="*/ 259160 h 449528"/>
                    <a:gd name="connsiteX106" fmla="*/ 384897 w 491314"/>
                    <a:gd name="connsiteY106" fmla="*/ 277473 h 449528"/>
                    <a:gd name="connsiteX107" fmla="*/ 470728 w 491314"/>
                    <a:gd name="connsiteY107" fmla="*/ 277473 h 449528"/>
                    <a:gd name="connsiteX108" fmla="*/ 472326 w 491314"/>
                    <a:gd name="connsiteY108" fmla="*/ 278205 h 449528"/>
                    <a:gd name="connsiteX109" fmla="*/ 472981 w 491314"/>
                    <a:gd name="connsiteY109" fmla="*/ 279835 h 449528"/>
                    <a:gd name="connsiteX110" fmla="*/ 472981 w 491314"/>
                    <a:gd name="connsiteY110" fmla="*/ 341757 h 449528"/>
                    <a:gd name="connsiteX111" fmla="*/ 472808 w 491314"/>
                    <a:gd name="connsiteY111" fmla="*/ 342617 h 449528"/>
                    <a:gd name="connsiteX112" fmla="*/ 472320 w 491314"/>
                    <a:gd name="connsiteY112" fmla="*/ 343342 h 449528"/>
                    <a:gd name="connsiteX113" fmla="*/ 471589 w 491314"/>
                    <a:gd name="connsiteY113" fmla="*/ 343830 h 449528"/>
                    <a:gd name="connsiteX114" fmla="*/ 470728 w 491314"/>
                    <a:gd name="connsiteY114" fmla="*/ 344003 h 449528"/>
                    <a:gd name="connsiteX115" fmla="*/ 337534 w 491314"/>
                    <a:gd name="connsiteY115" fmla="*/ 344003 h 449528"/>
                    <a:gd name="connsiteX116" fmla="*/ 307837 w 491314"/>
                    <a:gd name="connsiteY116" fmla="*/ 362323 h 449528"/>
                    <a:gd name="connsiteX117" fmla="*/ 344285 w 491314"/>
                    <a:gd name="connsiteY117" fmla="*/ 362323 h 449528"/>
                    <a:gd name="connsiteX118" fmla="*/ 345927 w 491314"/>
                    <a:gd name="connsiteY118" fmla="*/ 363042 h 449528"/>
                    <a:gd name="connsiteX119" fmla="*/ 346646 w 491314"/>
                    <a:gd name="connsiteY119" fmla="*/ 364678 h 449528"/>
                    <a:gd name="connsiteX120" fmla="*/ 346646 w 491314"/>
                    <a:gd name="connsiteY120" fmla="*/ 428847 h 449528"/>
                    <a:gd name="connsiteX121" fmla="*/ 345927 w 491314"/>
                    <a:gd name="connsiteY121" fmla="*/ 430489 h 449528"/>
                    <a:gd name="connsiteX122" fmla="*/ 344285 w 491314"/>
                    <a:gd name="connsiteY122" fmla="*/ 431208 h 449528"/>
                    <a:gd name="connsiteX123" fmla="*/ 146967 w 491314"/>
                    <a:gd name="connsiteY123" fmla="*/ 431208 h 449528"/>
                    <a:gd name="connsiteX124" fmla="*/ 145369 w 491314"/>
                    <a:gd name="connsiteY124" fmla="*/ 430483 h 449528"/>
                    <a:gd name="connsiteX125" fmla="*/ 144721 w 491314"/>
                    <a:gd name="connsiteY125" fmla="*/ 428847 h 449528"/>
                    <a:gd name="connsiteX126" fmla="*/ 144721 w 491314"/>
                    <a:gd name="connsiteY126" fmla="*/ 364678 h 449528"/>
                    <a:gd name="connsiteX127" fmla="*/ 145369 w 491314"/>
                    <a:gd name="connsiteY127" fmla="*/ 363048 h 449528"/>
                    <a:gd name="connsiteX128" fmla="*/ 146967 w 491314"/>
                    <a:gd name="connsiteY128" fmla="*/ 362323 h 449528"/>
                    <a:gd name="connsiteX129" fmla="*/ 184544 w 491314"/>
                    <a:gd name="connsiteY129" fmla="*/ 362323 h 449528"/>
                    <a:gd name="connsiteX130" fmla="*/ 154731 w 491314"/>
                    <a:gd name="connsiteY130" fmla="*/ 344003 h 449528"/>
                    <a:gd name="connsiteX131" fmla="*/ 20754 w 491314"/>
                    <a:gd name="connsiteY131" fmla="*/ 344003 h 449528"/>
                    <a:gd name="connsiteX132" fmla="*/ 19118 w 491314"/>
                    <a:gd name="connsiteY132" fmla="*/ 343355 h 449528"/>
                    <a:gd name="connsiteX133" fmla="*/ 18386 w 491314"/>
                    <a:gd name="connsiteY133" fmla="*/ 341757 h 449528"/>
                    <a:gd name="connsiteX134" fmla="*/ 18386 w 491314"/>
                    <a:gd name="connsiteY134" fmla="*/ 279835 h 449528"/>
                    <a:gd name="connsiteX135" fmla="*/ 19111 w 491314"/>
                    <a:gd name="connsiteY135" fmla="*/ 278199 h 449528"/>
                    <a:gd name="connsiteX136" fmla="*/ 20754 w 491314"/>
                    <a:gd name="connsiteY136" fmla="*/ 277473 h 449528"/>
                    <a:gd name="connsiteX137" fmla="*/ 107484 w 491314"/>
                    <a:gd name="connsiteY137" fmla="*/ 277473 h 449528"/>
                    <a:gd name="connsiteX138" fmla="*/ 102421 w 491314"/>
                    <a:gd name="connsiteY138" fmla="*/ 259160 h 449528"/>
                    <a:gd name="connsiteX139" fmla="*/ 20754 w 491314"/>
                    <a:gd name="connsiteY139" fmla="*/ 259160 h 449528"/>
                    <a:gd name="connsiteX140" fmla="*/ 19118 w 491314"/>
                    <a:gd name="connsiteY140" fmla="*/ 258505 h 449528"/>
                    <a:gd name="connsiteX141" fmla="*/ 18386 w 491314"/>
                    <a:gd name="connsiteY141" fmla="*/ 256907 h 449528"/>
                    <a:gd name="connsiteX142" fmla="*/ 18386 w 491314"/>
                    <a:gd name="connsiteY142" fmla="*/ 192630 h 449528"/>
                    <a:gd name="connsiteX143" fmla="*/ 19118 w 491314"/>
                    <a:gd name="connsiteY143" fmla="*/ 191032 h 449528"/>
                    <a:gd name="connsiteX144" fmla="*/ 20754 w 491314"/>
                    <a:gd name="connsiteY144" fmla="*/ 190378 h 449528"/>
                    <a:gd name="connsiteX145" fmla="*/ 104558 w 491314"/>
                    <a:gd name="connsiteY145" fmla="*/ 190378 h 449528"/>
                    <a:gd name="connsiteX146" fmla="*/ 110975 w 491314"/>
                    <a:gd name="connsiteY146" fmla="*/ 172064 h 449528"/>
                    <a:gd name="connsiteX147" fmla="*/ 20978 w 491314"/>
                    <a:gd name="connsiteY147" fmla="*/ 172064 h 449528"/>
                    <a:gd name="connsiteX148" fmla="*/ 19336 w 491314"/>
                    <a:gd name="connsiteY148" fmla="*/ 171339 h 449528"/>
                    <a:gd name="connsiteX149" fmla="*/ 18611 w 491314"/>
                    <a:gd name="connsiteY149" fmla="*/ 169703 h 449528"/>
                    <a:gd name="connsiteX150" fmla="*/ 18611 w 491314"/>
                    <a:gd name="connsiteY150" fmla="*/ 107780 h 449528"/>
                    <a:gd name="connsiteX151" fmla="*/ 19342 w 491314"/>
                    <a:gd name="connsiteY151" fmla="*/ 106182 h 449528"/>
                    <a:gd name="connsiteX152" fmla="*/ 20978 w 491314"/>
                    <a:gd name="connsiteY152" fmla="*/ 105534 h 449528"/>
                    <a:gd name="connsiteX153" fmla="*/ 167218 w 491314"/>
                    <a:gd name="connsiteY153" fmla="*/ 105534 h 449528"/>
                    <a:gd name="connsiteX154" fmla="*/ 209069 w 491314"/>
                    <a:gd name="connsiteY154" fmla="*/ 87214 h 449528"/>
                    <a:gd name="connsiteX155" fmla="*/ 146967 w 491314"/>
                    <a:gd name="connsiteY155" fmla="*/ 87214 h 449528"/>
                    <a:gd name="connsiteX156" fmla="*/ 145369 w 491314"/>
                    <a:gd name="connsiteY156" fmla="*/ 86489 h 449528"/>
                    <a:gd name="connsiteX157" fmla="*/ 144721 w 491314"/>
                    <a:gd name="connsiteY157" fmla="*/ 84859 h 449528"/>
                    <a:gd name="connsiteX158" fmla="*/ 144721 w 491314"/>
                    <a:gd name="connsiteY158" fmla="*/ 20684 h 449528"/>
                    <a:gd name="connsiteX159" fmla="*/ 145369 w 491314"/>
                    <a:gd name="connsiteY159" fmla="*/ 19054 h 449528"/>
                    <a:gd name="connsiteX160" fmla="*/ 146967 w 491314"/>
                    <a:gd name="connsiteY160" fmla="*/ 18329 h 449528"/>
                    <a:gd name="connsiteX161" fmla="*/ 344400 w 491314"/>
                    <a:gd name="connsiteY161" fmla="*/ 18329 h 449528"/>
                    <a:gd name="connsiteX162" fmla="*/ 346037 w 491314"/>
                    <a:gd name="connsiteY162" fmla="*/ 19048 h 449528"/>
                    <a:gd name="connsiteX163" fmla="*/ 346761 w 491314"/>
                    <a:gd name="connsiteY163" fmla="*/ 20684 h 449528"/>
                    <a:gd name="connsiteX164" fmla="*/ 346761 w 491314"/>
                    <a:gd name="connsiteY164" fmla="*/ 84859 h 449528"/>
                    <a:gd name="connsiteX165" fmla="*/ 346037 w 491314"/>
                    <a:gd name="connsiteY165" fmla="*/ 86495 h 449528"/>
                    <a:gd name="connsiteX166" fmla="*/ 344400 w 491314"/>
                    <a:gd name="connsiteY166" fmla="*/ 87214 h 449528"/>
                    <a:gd name="connsiteX167" fmla="*/ 283203 w 491314"/>
                    <a:gd name="connsiteY167" fmla="*/ 87214 h 449528"/>
                    <a:gd name="connsiteX168" fmla="*/ 325162 w 491314"/>
                    <a:gd name="connsiteY168" fmla="*/ 105534 h 449528"/>
                    <a:gd name="connsiteX169" fmla="*/ 470728 w 491314"/>
                    <a:gd name="connsiteY169" fmla="*/ 105534 h 449528"/>
                    <a:gd name="connsiteX170" fmla="*/ 471589 w 491314"/>
                    <a:gd name="connsiteY170" fmla="*/ 105707 h 449528"/>
                    <a:gd name="connsiteX171" fmla="*/ 472320 w 491314"/>
                    <a:gd name="connsiteY171" fmla="*/ 106195 h 449528"/>
                    <a:gd name="connsiteX172" fmla="*/ 472808 w 491314"/>
                    <a:gd name="connsiteY172" fmla="*/ 106920 h 449528"/>
                    <a:gd name="connsiteX173" fmla="*/ 472981 w 491314"/>
                    <a:gd name="connsiteY173" fmla="*/ 107780 h 449528"/>
                    <a:gd name="connsiteX174" fmla="*/ 472532 w 491314"/>
                    <a:gd name="connsiteY174" fmla="*/ 169703 h 449528"/>
                    <a:gd name="connsiteX175" fmla="*/ 472532 w 491314"/>
                    <a:gd name="connsiteY175" fmla="*/ 84859 h 449528"/>
                    <a:gd name="connsiteX176" fmla="*/ 471877 w 491314"/>
                    <a:gd name="connsiteY176" fmla="*/ 86489 h 449528"/>
                    <a:gd name="connsiteX177" fmla="*/ 470279 w 491314"/>
                    <a:gd name="connsiteY177" fmla="*/ 87214 h 449528"/>
                    <a:gd name="connsiteX178" fmla="*/ 367347 w 491314"/>
                    <a:gd name="connsiteY178" fmla="*/ 87214 h 449528"/>
                    <a:gd name="connsiteX179" fmla="*/ 365749 w 491314"/>
                    <a:gd name="connsiteY179" fmla="*/ 86489 h 449528"/>
                    <a:gd name="connsiteX180" fmla="*/ 365095 w 491314"/>
                    <a:gd name="connsiteY180" fmla="*/ 84859 h 449528"/>
                    <a:gd name="connsiteX181" fmla="*/ 365095 w 491314"/>
                    <a:gd name="connsiteY181" fmla="*/ 20684 h 449528"/>
                    <a:gd name="connsiteX182" fmla="*/ 365749 w 491314"/>
                    <a:gd name="connsiteY182" fmla="*/ 19054 h 449528"/>
                    <a:gd name="connsiteX183" fmla="*/ 367347 w 491314"/>
                    <a:gd name="connsiteY183" fmla="*/ 18329 h 449528"/>
                    <a:gd name="connsiteX184" fmla="*/ 470728 w 491314"/>
                    <a:gd name="connsiteY184" fmla="*/ 18329 h 449528"/>
                    <a:gd name="connsiteX185" fmla="*/ 472326 w 491314"/>
                    <a:gd name="connsiteY185" fmla="*/ 19054 h 449528"/>
                    <a:gd name="connsiteX186" fmla="*/ 472981 w 491314"/>
                    <a:gd name="connsiteY186" fmla="*/ 20684 h 449528"/>
                    <a:gd name="connsiteX187" fmla="*/ 472532 w 491314"/>
                    <a:gd name="connsiteY187" fmla="*/ 84859 h 4495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</a:cxnLst>
                  <a:rect l="l" t="t" r="r" b="b"/>
                  <a:pathLst>
                    <a:path w="491314" h="449528">
                      <a:moveTo>
                        <a:pt x="491314" y="20684"/>
                      </a:moveTo>
                      <a:cubicBezTo>
                        <a:pt x="491333" y="17976"/>
                        <a:pt x="490807" y="15288"/>
                        <a:pt x="489780" y="12785"/>
                      </a:cubicBezTo>
                      <a:cubicBezTo>
                        <a:pt x="488753" y="10276"/>
                        <a:pt x="487239" y="7992"/>
                        <a:pt x="485327" y="6073"/>
                      </a:cubicBezTo>
                      <a:cubicBezTo>
                        <a:pt x="483414" y="4148"/>
                        <a:pt x="481137" y="2627"/>
                        <a:pt x="478634" y="1588"/>
                      </a:cubicBezTo>
                      <a:cubicBezTo>
                        <a:pt x="476131" y="542"/>
                        <a:pt x="473443" y="9"/>
                        <a:pt x="470728" y="9"/>
                      </a:cubicBezTo>
                      <a:lnTo>
                        <a:pt x="367347" y="9"/>
                      </a:lnTo>
                      <a:cubicBezTo>
                        <a:pt x="363336" y="41"/>
                        <a:pt x="359422" y="1248"/>
                        <a:pt x="356098" y="3494"/>
                      </a:cubicBezTo>
                      <a:cubicBezTo>
                        <a:pt x="352781" y="1228"/>
                        <a:pt x="348860" y="16"/>
                        <a:pt x="344849" y="9"/>
                      </a:cubicBezTo>
                      <a:lnTo>
                        <a:pt x="146967" y="9"/>
                      </a:lnTo>
                      <a:cubicBezTo>
                        <a:pt x="142956" y="16"/>
                        <a:pt x="139036" y="1228"/>
                        <a:pt x="135718" y="3494"/>
                      </a:cubicBezTo>
                      <a:cubicBezTo>
                        <a:pt x="132214" y="1100"/>
                        <a:pt x="128037" y="-119"/>
                        <a:pt x="123796" y="9"/>
                      </a:cubicBezTo>
                      <a:lnTo>
                        <a:pt x="20754" y="9"/>
                      </a:lnTo>
                      <a:cubicBezTo>
                        <a:pt x="15261" y="9"/>
                        <a:pt x="9999" y="2191"/>
                        <a:pt x="6117" y="6067"/>
                      </a:cubicBezTo>
                      <a:cubicBezTo>
                        <a:pt x="2235" y="9942"/>
                        <a:pt x="53" y="15204"/>
                        <a:pt x="53" y="20684"/>
                      </a:cubicBezTo>
                      <a:lnTo>
                        <a:pt x="53" y="84859"/>
                      </a:lnTo>
                      <a:cubicBezTo>
                        <a:pt x="59" y="88870"/>
                        <a:pt x="1272" y="92784"/>
                        <a:pt x="3538" y="96095"/>
                      </a:cubicBezTo>
                      <a:cubicBezTo>
                        <a:pt x="1272" y="99406"/>
                        <a:pt x="59" y="103320"/>
                        <a:pt x="53" y="107331"/>
                      </a:cubicBezTo>
                      <a:lnTo>
                        <a:pt x="53" y="169703"/>
                      </a:lnTo>
                      <a:cubicBezTo>
                        <a:pt x="59" y="173713"/>
                        <a:pt x="1272" y="177627"/>
                        <a:pt x="3538" y="180939"/>
                      </a:cubicBezTo>
                      <a:cubicBezTo>
                        <a:pt x="1292" y="184262"/>
                        <a:pt x="79" y="188170"/>
                        <a:pt x="53" y="192181"/>
                      </a:cubicBezTo>
                      <a:lnTo>
                        <a:pt x="53" y="256458"/>
                      </a:lnTo>
                      <a:cubicBezTo>
                        <a:pt x="79" y="260469"/>
                        <a:pt x="1292" y="264377"/>
                        <a:pt x="3538" y="267701"/>
                      </a:cubicBezTo>
                      <a:cubicBezTo>
                        <a:pt x="1272" y="271012"/>
                        <a:pt x="59" y="274926"/>
                        <a:pt x="53" y="278936"/>
                      </a:cubicBezTo>
                      <a:lnTo>
                        <a:pt x="53" y="340744"/>
                      </a:lnTo>
                      <a:cubicBezTo>
                        <a:pt x="111" y="344748"/>
                        <a:pt x="1324" y="348649"/>
                        <a:pt x="3538" y="351979"/>
                      </a:cubicBezTo>
                      <a:cubicBezTo>
                        <a:pt x="1356" y="355335"/>
                        <a:pt x="149" y="359224"/>
                        <a:pt x="53" y="363222"/>
                      </a:cubicBezTo>
                      <a:lnTo>
                        <a:pt x="53" y="427390"/>
                      </a:lnTo>
                      <a:cubicBezTo>
                        <a:pt x="-152" y="430226"/>
                        <a:pt x="239" y="433069"/>
                        <a:pt x="1189" y="435751"/>
                      </a:cubicBezTo>
                      <a:cubicBezTo>
                        <a:pt x="2139" y="438434"/>
                        <a:pt x="3627" y="440885"/>
                        <a:pt x="5572" y="442964"/>
                      </a:cubicBezTo>
                      <a:cubicBezTo>
                        <a:pt x="7516" y="445043"/>
                        <a:pt x="9865" y="446698"/>
                        <a:pt x="12476" y="447828"/>
                      </a:cubicBezTo>
                      <a:cubicBezTo>
                        <a:pt x="15088" y="448957"/>
                        <a:pt x="17905" y="449535"/>
                        <a:pt x="20754" y="449528"/>
                      </a:cubicBezTo>
                      <a:lnTo>
                        <a:pt x="123796" y="449528"/>
                      </a:lnTo>
                      <a:cubicBezTo>
                        <a:pt x="127812" y="449522"/>
                        <a:pt x="131733" y="448303"/>
                        <a:pt x="135044" y="446044"/>
                      </a:cubicBezTo>
                      <a:cubicBezTo>
                        <a:pt x="138362" y="448303"/>
                        <a:pt x="142282" y="449522"/>
                        <a:pt x="146293" y="449528"/>
                      </a:cubicBezTo>
                      <a:lnTo>
                        <a:pt x="344400" y="449528"/>
                      </a:lnTo>
                      <a:cubicBezTo>
                        <a:pt x="348411" y="449522"/>
                        <a:pt x="352331" y="448303"/>
                        <a:pt x="355649" y="446044"/>
                      </a:cubicBezTo>
                      <a:cubicBezTo>
                        <a:pt x="358973" y="448290"/>
                        <a:pt x="362887" y="449496"/>
                        <a:pt x="366898" y="449528"/>
                      </a:cubicBezTo>
                      <a:lnTo>
                        <a:pt x="470279" y="449528"/>
                      </a:lnTo>
                      <a:cubicBezTo>
                        <a:pt x="472994" y="449528"/>
                        <a:pt x="475682" y="448989"/>
                        <a:pt x="478185" y="447950"/>
                      </a:cubicBezTo>
                      <a:cubicBezTo>
                        <a:pt x="480687" y="446910"/>
                        <a:pt x="482965" y="445389"/>
                        <a:pt x="484878" y="443464"/>
                      </a:cubicBezTo>
                      <a:cubicBezTo>
                        <a:pt x="486790" y="441546"/>
                        <a:pt x="488304" y="439261"/>
                        <a:pt x="489331" y="436752"/>
                      </a:cubicBezTo>
                      <a:cubicBezTo>
                        <a:pt x="490358" y="434243"/>
                        <a:pt x="490884" y="431561"/>
                        <a:pt x="490865" y="428847"/>
                      </a:cubicBezTo>
                      <a:lnTo>
                        <a:pt x="490865" y="364678"/>
                      </a:lnTo>
                      <a:cubicBezTo>
                        <a:pt x="490858" y="360668"/>
                        <a:pt x="489645" y="356754"/>
                        <a:pt x="487380" y="353442"/>
                      </a:cubicBezTo>
                      <a:cubicBezTo>
                        <a:pt x="489645" y="350131"/>
                        <a:pt x="490858" y="346217"/>
                        <a:pt x="490865" y="342207"/>
                      </a:cubicBezTo>
                      <a:lnTo>
                        <a:pt x="490865" y="279835"/>
                      </a:lnTo>
                      <a:cubicBezTo>
                        <a:pt x="490858" y="275824"/>
                        <a:pt x="489645" y="271910"/>
                        <a:pt x="487380" y="268599"/>
                      </a:cubicBezTo>
                      <a:cubicBezTo>
                        <a:pt x="489626" y="265275"/>
                        <a:pt x="490839" y="261367"/>
                        <a:pt x="490865" y="257357"/>
                      </a:cubicBezTo>
                      <a:lnTo>
                        <a:pt x="490865" y="192630"/>
                      </a:lnTo>
                      <a:cubicBezTo>
                        <a:pt x="490839" y="188619"/>
                        <a:pt x="489626" y="184712"/>
                        <a:pt x="487380" y="181388"/>
                      </a:cubicBezTo>
                      <a:cubicBezTo>
                        <a:pt x="489645" y="178077"/>
                        <a:pt x="490858" y="174162"/>
                        <a:pt x="490865" y="170152"/>
                      </a:cubicBezTo>
                      <a:lnTo>
                        <a:pt x="490865" y="107780"/>
                      </a:lnTo>
                      <a:cubicBezTo>
                        <a:pt x="490858" y="103770"/>
                        <a:pt x="489645" y="99855"/>
                        <a:pt x="487380" y="96544"/>
                      </a:cubicBezTo>
                      <a:cubicBezTo>
                        <a:pt x="489645" y="93233"/>
                        <a:pt x="490858" y="89319"/>
                        <a:pt x="490865" y="85308"/>
                      </a:cubicBezTo>
                      <a:lnTo>
                        <a:pt x="491314" y="20684"/>
                      </a:lnTo>
                      <a:close/>
                      <a:moveTo>
                        <a:pt x="18835" y="20684"/>
                      </a:moveTo>
                      <a:cubicBezTo>
                        <a:pt x="18867" y="20068"/>
                        <a:pt x="19124" y="19484"/>
                        <a:pt x="19560" y="19048"/>
                      </a:cubicBezTo>
                      <a:cubicBezTo>
                        <a:pt x="19997" y="18612"/>
                        <a:pt x="20581" y="18355"/>
                        <a:pt x="21203" y="18329"/>
                      </a:cubicBezTo>
                      <a:lnTo>
                        <a:pt x="123796" y="18329"/>
                      </a:lnTo>
                      <a:cubicBezTo>
                        <a:pt x="124405" y="18355"/>
                        <a:pt x="124976" y="18618"/>
                        <a:pt x="125393" y="19054"/>
                      </a:cubicBezTo>
                      <a:cubicBezTo>
                        <a:pt x="125810" y="19497"/>
                        <a:pt x="126048" y="20081"/>
                        <a:pt x="126048" y="20684"/>
                      </a:cubicBezTo>
                      <a:lnTo>
                        <a:pt x="126048" y="84859"/>
                      </a:lnTo>
                      <a:cubicBezTo>
                        <a:pt x="126048" y="85462"/>
                        <a:pt x="125810" y="86046"/>
                        <a:pt x="125393" y="86489"/>
                      </a:cubicBezTo>
                      <a:cubicBezTo>
                        <a:pt x="124976" y="86925"/>
                        <a:pt x="124405" y="87188"/>
                        <a:pt x="123796" y="87214"/>
                      </a:cubicBezTo>
                      <a:lnTo>
                        <a:pt x="20754" y="87214"/>
                      </a:lnTo>
                      <a:cubicBezTo>
                        <a:pt x="20132" y="87188"/>
                        <a:pt x="19548" y="86932"/>
                        <a:pt x="19111" y="86495"/>
                      </a:cubicBezTo>
                      <a:cubicBezTo>
                        <a:pt x="18675" y="86059"/>
                        <a:pt x="18418" y="85475"/>
                        <a:pt x="18386" y="84859"/>
                      </a:cubicBezTo>
                      <a:lnTo>
                        <a:pt x="18835" y="20684"/>
                      </a:lnTo>
                      <a:close/>
                      <a:moveTo>
                        <a:pt x="126722" y="428847"/>
                      </a:moveTo>
                      <a:cubicBezTo>
                        <a:pt x="126722" y="429456"/>
                        <a:pt x="126491" y="430040"/>
                        <a:pt x="126067" y="430483"/>
                      </a:cubicBezTo>
                      <a:cubicBezTo>
                        <a:pt x="125650" y="430919"/>
                        <a:pt x="125079" y="431182"/>
                        <a:pt x="124469" y="431208"/>
                      </a:cubicBezTo>
                      <a:lnTo>
                        <a:pt x="20754" y="431208"/>
                      </a:lnTo>
                      <a:cubicBezTo>
                        <a:pt x="20132" y="431182"/>
                        <a:pt x="19548" y="430926"/>
                        <a:pt x="19111" y="430489"/>
                      </a:cubicBezTo>
                      <a:cubicBezTo>
                        <a:pt x="18675" y="430053"/>
                        <a:pt x="18418" y="429469"/>
                        <a:pt x="18386" y="428847"/>
                      </a:cubicBezTo>
                      <a:lnTo>
                        <a:pt x="18386" y="364678"/>
                      </a:lnTo>
                      <a:cubicBezTo>
                        <a:pt x="18418" y="364062"/>
                        <a:pt x="18675" y="363478"/>
                        <a:pt x="19111" y="363042"/>
                      </a:cubicBezTo>
                      <a:cubicBezTo>
                        <a:pt x="19548" y="362606"/>
                        <a:pt x="20132" y="362349"/>
                        <a:pt x="20754" y="362323"/>
                      </a:cubicBezTo>
                      <a:lnTo>
                        <a:pt x="123796" y="362323"/>
                      </a:lnTo>
                      <a:cubicBezTo>
                        <a:pt x="124405" y="362349"/>
                        <a:pt x="124976" y="362612"/>
                        <a:pt x="125393" y="363048"/>
                      </a:cubicBezTo>
                      <a:cubicBezTo>
                        <a:pt x="125810" y="363491"/>
                        <a:pt x="126048" y="364075"/>
                        <a:pt x="126048" y="364678"/>
                      </a:cubicBezTo>
                      <a:lnTo>
                        <a:pt x="126722" y="428847"/>
                      </a:lnTo>
                      <a:close/>
                      <a:moveTo>
                        <a:pt x="473430" y="428847"/>
                      </a:moveTo>
                      <a:cubicBezTo>
                        <a:pt x="473430" y="429456"/>
                        <a:pt x="473199" y="430040"/>
                        <a:pt x="472776" y="430483"/>
                      </a:cubicBezTo>
                      <a:cubicBezTo>
                        <a:pt x="472359" y="430919"/>
                        <a:pt x="471787" y="431182"/>
                        <a:pt x="471178" y="431208"/>
                      </a:cubicBezTo>
                      <a:lnTo>
                        <a:pt x="367347" y="431208"/>
                      </a:lnTo>
                      <a:cubicBezTo>
                        <a:pt x="366744" y="431182"/>
                        <a:pt x="366166" y="430919"/>
                        <a:pt x="365749" y="430483"/>
                      </a:cubicBezTo>
                      <a:cubicBezTo>
                        <a:pt x="365332" y="430040"/>
                        <a:pt x="365095" y="429456"/>
                        <a:pt x="365095" y="428847"/>
                      </a:cubicBezTo>
                      <a:lnTo>
                        <a:pt x="365095" y="364678"/>
                      </a:lnTo>
                      <a:cubicBezTo>
                        <a:pt x="365095" y="364075"/>
                        <a:pt x="365332" y="363491"/>
                        <a:pt x="365749" y="363048"/>
                      </a:cubicBezTo>
                      <a:cubicBezTo>
                        <a:pt x="366166" y="362612"/>
                        <a:pt x="366744" y="362349"/>
                        <a:pt x="367347" y="362323"/>
                      </a:cubicBezTo>
                      <a:lnTo>
                        <a:pt x="470728" y="362323"/>
                      </a:lnTo>
                      <a:cubicBezTo>
                        <a:pt x="471338" y="362349"/>
                        <a:pt x="471909" y="362612"/>
                        <a:pt x="472326" y="363048"/>
                      </a:cubicBezTo>
                      <a:cubicBezTo>
                        <a:pt x="472750" y="363491"/>
                        <a:pt x="472981" y="364075"/>
                        <a:pt x="472981" y="364678"/>
                      </a:cubicBezTo>
                      <a:lnTo>
                        <a:pt x="473430" y="428847"/>
                      </a:lnTo>
                      <a:close/>
                      <a:moveTo>
                        <a:pt x="472532" y="169703"/>
                      </a:moveTo>
                      <a:cubicBezTo>
                        <a:pt x="472532" y="170312"/>
                        <a:pt x="472294" y="170896"/>
                        <a:pt x="471877" y="171332"/>
                      </a:cubicBezTo>
                      <a:cubicBezTo>
                        <a:pt x="471460" y="171775"/>
                        <a:pt x="470889" y="172032"/>
                        <a:pt x="470279" y="172064"/>
                      </a:cubicBezTo>
                      <a:lnTo>
                        <a:pt x="381522" y="172064"/>
                      </a:lnTo>
                      <a:cubicBezTo>
                        <a:pt x="384076" y="178012"/>
                        <a:pt x="386219" y="184134"/>
                        <a:pt x="387932" y="190378"/>
                      </a:cubicBezTo>
                      <a:lnTo>
                        <a:pt x="470728" y="190378"/>
                      </a:lnTo>
                      <a:cubicBezTo>
                        <a:pt x="471325" y="190378"/>
                        <a:pt x="471896" y="190615"/>
                        <a:pt x="472320" y="191038"/>
                      </a:cubicBezTo>
                      <a:cubicBezTo>
                        <a:pt x="472744" y="191462"/>
                        <a:pt x="472981" y="192033"/>
                        <a:pt x="472981" y="192630"/>
                      </a:cubicBezTo>
                      <a:lnTo>
                        <a:pt x="472981" y="256907"/>
                      </a:lnTo>
                      <a:cubicBezTo>
                        <a:pt x="472981" y="257504"/>
                        <a:pt x="472744" y="258075"/>
                        <a:pt x="472320" y="258499"/>
                      </a:cubicBezTo>
                      <a:cubicBezTo>
                        <a:pt x="471896" y="258922"/>
                        <a:pt x="471325" y="259160"/>
                        <a:pt x="470728" y="259160"/>
                      </a:cubicBezTo>
                      <a:lnTo>
                        <a:pt x="390069" y="259160"/>
                      </a:lnTo>
                      <a:cubicBezTo>
                        <a:pt x="388760" y="265371"/>
                        <a:pt x="387027" y="271493"/>
                        <a:pt x="384897" y="277473"/>
                      </a:cubicBezTo>
                      <a:lnTo>
                        <a:pt x="470728" y="277473"/>
                      </a:lnTo>
                      <a:cubicBezTo>
                        <a:pt x="471338" y="277505"/>
                        <a:pt x="471909" y="277762"/>
                        <a:pt x="472326" y="278205"/>
                      </a:cubicBezTo>
                      <a:cubicBezTo>
                        <a:pt x="472750" y="278641"/>
                        <a:pt x="472981" y="279225"/>
                        <a:pt x="472981" y="279835"/>
                      </a:cubicBezTo>
                      <a:lnTo>
                        <a:pt x="472981" y="341757"/>
                      </a:lnTo>
                      <a:cubicBezTo>
                        <a:pt x="472981" y="342053"/>
                        <a:pt x="472923" y="342341"/>
                        <a:pt x="472808" y="342617"/>
                      </a:cubicBezTo>
                      <a:cubicBezTo>
                        <a:pt x="472698" y="342887"/>
                        <a:pt x="472532" y="343137"/>
                        <a:pt x="472320" y="343342"/>
                      </a:cubicBezTo>
                      <a:cubicBezTo>
                        <a:pt x="472115" y="343554"/>
                        <a:pt x="471864" y="343721"/>
                        <a:pt x="471589" y="343830"/>
                      </a:cubicBezTo>
                      <a:cubicBezTo>
                        <a:pt x="471319" y="343945"/>
                        <a:pt x="471024" y="344003"/>
                        <a:pt x="470728" y="344003"/>
                      </a:cubicBezTo>
                      <a:lnTo>
                        <a:pt x="337534" y="344003"/>
                      </a:lnTo>
                      <a:cubicBezTo>
                        <a:pt x="328448" y="351331"/>
                        <a:pt x="318470" y="357485"/>
                        <a:pt x="307837" y="362323"/>
                      </a:cubicBezTo>
                      <a:lnTo>
                        <a:pt x="344285" y="362323"/>
                      </a:lnTo>
                      <a:cubicBezTo>
                        <a:pt x="344901" y="362349"/>
                        <a:pt x="345491" y="362606"/>
                        <a:pt x="345927" y="363042"/>
                      </a:cubicBezTo>
                      <a:cubicBezTo>
                        <a:pt x="346364" y="363478"/>
                        <a:pt x="346620" y="364062"/>
                        <a:pt x="346646" y="364678"/>
                      </a:cubicBezTo>
                      <a:lnTo>
                        <a:pt x="346646" y="428847"/>
                      </a:lnTo>
                      <a:cubicBezTo>
                        <a:pt x="346620" y="429469"/>
                        <a:pt x="346364" y="430053"/>
                        <a:pt x="345927" y="430489"/>
                      </a:cubicBezTo>
                      <a:cubicBezTo>
                        <a:pt x="345491" y="430926"/>
                        <a:pt x="344901" y="431182"/>
                        <a:pt x="344285" y="431208"/>
                      </a:cubicBezTo>
                      <a:lnTo>
                        <a:pt x="146967" y="431208"/>
                      </a:lnTo>
                      <a:cubicBezTo>
                        <a:pt x="146364" y="431182"/>
                        <a:pt x="145792" y="430919"/>
                        <a:pt x="145369" y="430483"/>
                      </a:cubicBezTo>
                      <a:cubicBezTo>
                        <a:pt x="144952" y="430040"/>
                        <a:pt x="144721" y="429456"/>
                        <a:pt x="144721" y="428847"/>
                      </a:cubicBezTo>
                      <a:lnTo>
                        <a:pt x="144721" y="364678"/>
                      </a:lnTo>
                      <a:cubicBezTo>
                        <a:pt x="144721" y="364075"/>
                        <a:pt x="144952" y="363491"/>
                        <a:pt x="145369" y="363048"/>
                      </a:cubicBezTo>
                      <a:cubicBezTo>
                        <a:pt x="145792" y="362612"/>
                        <a:pt x="146364" y="362349"/>
                        <a:pt x="146967" y="362323"/>
                      </a:cubicBezTo>
                      <a:lnTo>
                        <a:pt x="184544" y="362323"/>
                      </a:lnTo>
                      <a:cubicBezTo>
                        <a:pt x="173924" y="357402"/>
                        <a:pt x="163914" y="351254"/>
                        <a:pt x="154731" y="344003"/>
                      </a:cubicBezTo>
                      <a:lnTo>
                        <a:pt x="20754" y="344003"/>
                      </a:lnTo>
                      <a:cubicBezTo>
                        <a:pt x="20144" y="344003"/>
                        <a:pt x="19560" y="343772"/>
                        <a:pt x="19118" y="343355"/>
                      </a:cubicBezTo>
                      <a:cubicBezTo>
                        <a:pt x="18681" y="342932"/>
                        <a:pt x="18418" y="342360"/>
                        <a:pt x="18386" y="341757"/>
                      </a:cubicBezTo>
                      <a:lnTo>
                        <a:pt x="18386" y="279835"/>
                      </a:lnTo>
                      <a:cubicBezTo>
                        <a:pt x="18418" y="279219"/>
                        <a:pt x="18675" y="278635"/>
                        <a:pt x="19111" y="278199"/>
                      </a:cubicBezTo>
                      <a:cubicBezTo>
                        <a:pt x="19548" y="277762"/>
                        <a:pt x="20132" y="277499"/>
                        <a:pt x="20754" y="277473"/>
                      </a:cubicBezTo>
                      <a:lnTo>
                        <a:pt x="107484" y="277473"/>
                      </a:lnTo>
                      <a:cubicBezTo>
                        <a:pt x="105392" y="271487"/>
                        <a:pt x="103698" y="265371"/>
                        <a:pt x="102421" y="259160"/>
                      </a:cubicBezTo>
                      <a:lnTo>
                        <a:pt x="20754" y="259160"/>
                      </a:lnTo>
                      <a:cubicBezTo>
                        <a:pt x="20144" y="259160"/>
                        <a:pt x="19560" y="258922"/>
                        <a:pt x="19118" y="258505"/>
                      </a:cubicBezTo>
                      <a:cubicBezTo>
                        <a:pt x="18681" y="258088"/>
                        <a:pt x="18418" y="257517"/>
                        <a:pt x="18386" y="256907"/>
                      </a:cubicBezTo>
                      <a:lnTo>
                        <a:pt x="18386" y="192630"/>
                      </a:lnTo>
                      <a:cubicBezTo>
                        <a:pt x="18418" y="192020"/>
                        <a:pt x="18681" y="191449"/>
                        <a:pt x="19118" y="191032"/>
                      </a:cubicBezTo>
                      <a:cubicBezTo>
                        <a:pt x="19560" y="190615"/>
                        <a:pt x="20144" y="190378"/>
                        <a:pt x="20754" y="190378"/>
                      </a:cubicBezTo>
                      <a:lnTo>
                        <a:pt x="104558" y="190378"/>
                      </a:lnTo>
                      <a:cubicBezTo>
                        <a:pt x="106220" y="184121"/>
                        <a:pt x="108369" y="177993"/>
                        <a:pt x="110975" y="172064"/>
                      </a:cubicBezTo>
                      <a:lnTo>
                        <a:pt x="20978" y="172064"/>
                      </a:lnTo>
                      <a:cubicBezTo>
                        <a:pt x="20356" y="172032"/>
                        <a:pt x="19772" y="171775"/>
                        <a:pt x="19336" y="171339"/>
                      </a:cubicBezTo>
                      <a:cubicBezTo>
                        <a:pt x="18899" y="170902"/>
                        <a:pt x="18643" y="170319"/>
                        <a:pt x="18611" y="169703"/>
                      </a:cubicBezTo>
                      <a:lnTo>
                        <a:pt x="18611" y="107780"/>
                      </a:lnTo>
                      <a:cubicBezTo>
                        <a:pt x="18643" y="107177"/>
                        <a:pt x="18906" y="106606"/>
                        <a:pt x="19342" y="106182"/>
                      </a:cubicBezTo>
                      <a:cubicBezTo>
                        <a:pt x="19785" y="105765"/>
                        <a:pt x="20369" y="105534"/>
                        <a:pt x="20978" y="105534"/>
                      </a:cubicBezTo>
                      <a:lnTo>
                        <a:pt x="167218" y="105534"/>
                      </a:lnTo>
                      <a:cubicBezTo>
                        <a:pt x="180090" y="97218"/>
                        <a:pt x="194220" y="91032"/>
                        <a:pt x="209069" y="87214"/>
                      </a:cubicBezTo>
                      <a:lnTo>
                        <a:pt x="146967" y="87214"/>
                      </a:lnTo>
                      <a:cubicBezTo>
                        <a:pt x="146364" y="87188"/>
                        <a:pt x="145792" y="86925"/>
                        <a:pt x="145369" y="86489"/>
                      </a:cubicBezTo>
                      <a:cubicBezTo>
                        <a:pt x="144952" y="86046"/>
                        <a:pt x="144721" y="85462"/>
                        <a:pt x="144721" y="84859"/>
                      </a:cubicBezTo>
                      <a:lnTo>
                        <a:pt x="144721" y="20684"/>
                      </a:lnTo>
                      <a:cubicBezTo>
                        <a:pt x="144721" y="20081"/>
                        <a:pt x="144952" y="19497"/>
                        <a:pt x="145369" y="19054"/>
                      </a:cubicBezTo>
                      <a:cubicBezTo>
                        <a:pt x="145792" y="18618"/>
                        <a:pt x="146364" y="18355"/>
                        <a:pt x="146967" y="18329"/>
                      </a:cubicBezTo>
                      <a:lnTo>
                        <a:pt x="344400" y="18329"/>
                      </a:lnTo>
                      <a:cubicBezTo>
                        <a:pt x="345016" y="18355"/>
                        <a:pt x="345600" y="18612"/>
                        <a:pt x="346037" y="19048"/>
                      </a:cubicBezTo>
                      <a:cubicBezTo>
                        <a:pt x="346473" y="19484"/>
                        <a:pt x="346736" y="20068"/>
                        <a:pt x="346761" y="20684"/>
                      </a:cubicBezTo>
                      <a:lnTo>
                        <a:pt x="346761" y="84859"/>
                      </a:lnTo>
                      <a:cubicBezTo>
                        <a:pt x="346736" y="85475"/>
                        <a:pt x="346473" y="86059"/>
                        <a:pt x="346037" y="86495"/>
                      </a:cubicBezTo>
                      <a:cubicBezTo>
                        <a:pt x="345600" y="86932"/>
                        <a:pt x="345016" y="87188"/>
                        <a:pt x="344400" y="87214"/>
                      </a:cubicBezTo>
                      <a:lnTo>
                        <a:pt x="283203" y="87214"/>
                      </a:lnTo>
                      <a:cubicBezTo>
                        <a:pt x="298083" y="91032"/>
                        <a:pt x="312252" y="97218"/>
                        <a:pt x="325162" y="105534"/>
                      </a:cubicBezTo>
                      <a:lnTo>
                        <a:pt x="470728" y="105534"/>
                      </a:lnTo>
                      <a:cubicBezTo>
                        <a:pt x="471024" y="105534"/>
                        <a:pt x="471319" y="105592"/>
                        <a:pt x="471589" y="105707"/>
                      </a:cubicBezTo>
                      <a:cubicBezTo>
                        <a:pt x="471864" y="105817"/>
                        <a:pt x="472115" y="105983"/>
                        <a:pt x="472320" y="106195"/>
                      </a:cubicBezTo>
                      <a:cubicBezTo>
                        <a:pt x="472532" y="106401"/>
                        <a:pt x="472698" y="106651"/>
                        <a:pt x="472808" y="106920"/>
                      </a:cubicBezTo>
                      <a:cubicBezTo>
                        <a:pt x="472923" y="107196"/>
                        <a:pt x="472981" y="107485"/>
                        <a:pt x="472981" y="107780"/>
                      </a:cubicBezTo>
                      <a:lnTo>
                        <a:pt x="472532" y="169703"/>
                      </a:lnTo>
                      <a:close/>
                      <a:moveTo>
                        <a:pt x="472532" y="84859"/>
                      </a:moveTo>
                      <a:cubicBezTo>
                        <a:pt x="472532" y="85462"/>
                        <a:pt x="472294" y="86046"/>
                        <a:pt x="471877" y="86489"/>
                      </a:cubicBezTo>
                      <a:cubicBezTo>
                        <a:pt x="471460" y="86925"/>
                        <a:pt x="470889" y="87188"/>
                        <a:pt x="470279" y="87214"/>
                      </a:cubicBezTo>
                      <a:lnTo>
                        <a:pt x="367347" y="87214"/>
                      </a:lnTo>
                      <a:cubicBezTo>
                        <a:pt x="366744" y="87188"/>
                        <a:pt x="366166" y="86925"/>
                        <a:pt x="365749" y="86489"/>
                      </a:cubicBezTo>
                      <a:cubicBezTo>
                        <a:pt x="365332" y="86046"/>
                        <a:pt x="365095" y="85462"/>
                        <a:pt x="365095" y="84859"/>
                      </a:cubicBezTo>
                      <a:lnTo>
                        <a:pt x="365095" y="20684"/>
                      </a:lnTo>
                      <a:cubicBezTo>
                        <a:pt x="365095" y="20081"/>
                        <a:pt x="365332" y="19497"/>
                        <a:pt x="365749" y="19054"/>
                      </a:cubicBezTo>
                      <a:cubicBezTo>
                        <a:pt x="366166" y="18618"/>
                        <a:pt x="366744" y="18355"/>
                        <a:pt x="367347" y="18329"/>
                      </a:cubicBezTo>
                      <a:lnTo>
                        <a:pt x="470728" y="18329"/>
                      </a:lnTo>
                      <a:cubicBezTo>
                        <a:pt x="471338" y="18355"/>
                        <a:pt x="471909" y="18618"/>
                        <a:pt x="472326" y="19054"/>
                      </a:cubicBezTo>
                      <a:cubicBezTo>
                        <a:pt x="472750" y="19497"/>
                        <a:pt x="472981" y="20081"/>
                        <a:pt x="472981" y="20684"/>
                      </a:cubicBezTo>
                      <a:lnTo>
                        <a:pt x="472532" y="84859"/>
                      </a:ln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51" name="Freeform: Shape 250">
                  <a:extLst>
                    <a:ext uri="{FF2B5EF4-FFF2-40B4-BE49-F238E27FC236}">
                      <a16:creationId xmlns:a16="http://schemas.microsoft.com/office/drawing/2014/main" id="{E8DCB517-A218-5224-57B4-60C41A5DE3A3}"/>
                    </a:ext>
                  </a:extLst>
                </p:cNvPr>
                <p:cNvSpPr/>
                <p:nvPr/>
              </p:nvSpPr>
              <p:spPr>
                <a:xfrm>
                  <a:off x="3021396" y="3154282"/>
                  <a:ext cx="266388" cy="266114"/>
                </a:xfrm>
                <a:custGeom>
                  <a:avLst/>
                  <a:gdLst>
                    <a:gd name="connsiteX0" fmla="*/ 133194 w 266388"/>
                    <a:gd name="connsiteY0" fmla="*/ 0 h 266114"/>
                    <a:gd name="connsiteX1" fmla="*/ 59195 w 266388"/>
                    <a:gd name="connsiteY1" fmla="*/ 22427 h 266114"/>
                    <a:gd name="connsiteX2" fmla="*/ 10138 w 266388"/>
                    <a:gd name="connsiteY2" fmla="*/ 82136 h 266114"/>
                    <a:gd name="connsiteX3" fmla="*/ 2560 w 266388"/>
                    <a:gd name="connsiteY3" fmla="*/ 159016 h 266114"/>
                    <a:gd name="connsiteX4" fmla="*/ 39014 w 266388"/>
                    <a:gd name="connsiteY4" fmla="*/ 227143 h 266114"/>
                    <a:gd name="connsiteX5" fmla="*/ 107212 w 266388"/>
                    <a:gd name="connsiteY5" fmla="*/ 263559 h 266114"/>
                    <a:gd name="connsiteX6" fmla="*/ 184169 w 266388"/>
                    <a:gd name="connsiteY6" fmla="*/ 255987 h 266114"/>
                    <a:gd name="connsiteX7" fmla="*/ 243942 w 266388"/>
                    <a:gd name="connsiteY7" fmla="*/ 206982 h 266114"/>
                    <a:gd name="connsiteX8" fmla="*/ 266388 w 266388"/>
                    <a:gd name="connsiteY8" fmla="*/ 133060 h 266114"/>
                    <a:gd name="connsiteX9" fmla="*/ 227342 w 266388"/>
                    <a:gd name="connsiteY9" fmla="*/ 39002 h 266114"/>
                    <a:gd name="connsiteX10" fmla="*/ 133194 w 266388"/>
                    <a:gd name="connsiteY10" fmla="*/ 0 h 266114"/>
                    <a:gd name="connsiteX11" fmla="*/ 133194 w 266388"/>
                    <a:gd name="connsiteY11" fmla="*/ 247235 h 266114"/>
                    <a:gd name="connsiteX12" fmla="*/ 69327 w 266388"/>
                    <a:gd name="connsiteY12" fmla="*/ 227856 h 266114"/>
                    <a:gd name="connsiteX13" fmla="*/ 27027 w 266388"/>
                    <a:gd name="connsiteY13" fmla="*/ 176271 h 266114"/>
                    <a:gd name="connsiteX14" fmla="*/ 20591 w 266388"/>
                    <a:gd name="connsiteY14" fmla="*/ 109901 h 266114"/>
                    <a:gd name="connsiteX15" fmla="*/ 52181 w 266388"/>
                    <a:gd name="connsiteY15" fmla="*/ 51162 h 266114"/>
                    <a:gd name="connsiteX16" fmla="*/ 111133 w 266388"/>
                    <a:gd name="connsiteY16" fmla="*/ 19892 h 266114"/>
                    <a:gd name="connsiteX17" fmla="*/ 177541 w 266388"/>
                    <a:gd name="connsiteY17" fmla="*/ 26649 h 266114"/>
                    <a:gd name="connsiteX18" fmla="*/ 228972 w 266388"/>
                    <a:gd name="connsiteY18" fmla="*/ 69161 h 266114"/>
                    <a:gd name="connsiteX19" fmla="*/ 248055 w 266388"/>
                    <a:gd name="connsiteY19" fmla="*/ 133060 h 266114"/>
                    <a:gd name="connsiteX20" fmla="*/ 214341 w 266388"/>
                    <a:gd name="connsiteY20" fmla="*/ 214085 h 266114"/>
                    <a:gd name="connsiteX21" fmla="*/ 133194 w 266388"/>
                    <a:gd name="connsiteY21" fmla="*/ 247684 h 266114"/>
                    <a:gd name="connsiteX22" fmla="*/ 133194 w 266388"/>
                    <a:gd name="connsiteY22" fmla="*/ 247235 h 2661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66388" h="266114">
                      <a:moveTo>
                        <a:pt x="133194" y="0"/>
                      </a:moveTo>
                      <a:cubicBezTo>
                        <a:pt x="106853" y="0"/>
                        <a:pt x="81102" y="7803"/>
                        <a:pt x="59195" y="22427"/>
                      </a:cubicBezTo>
                      <a:cubicBezTo>
                        <a:pt x="37294" y="37044"/>
                        <a:pt x="20219" y="57829"/>
                        <a:pt x="10138" y="82136"/>
                      </a:cubicBezTo>
                      <a:cubicBezTo>
                        <a:pt x="57" y="106449"/>
                        <a:pt x="-2580" y="133207"/>
                        <a:pt x="2560" y="159016"/>
                      </a:cubicBezTo>
                      <a:cubicBezTo>
                        <a:pt x="7700" y="184824"/>
                        <a:pt x="20386" y="208535"/>
                        <a:pt x="39014" y="227143"/>
                      </a:cubicBezTo>
                      <a:cubicBezTo>
                        <a:pt x="57642" y="245752"/>
                        <a:pt x="81372" y="258426"/>
                        <a:pt x="107212" y="263559"/>
                      </a:cubicBezTo>
                      <a:cubicBezTo>
                        <a:pt x="133046" y="268693"/>
                        <a:pt x="159830" y="266055"/>
                        <a:pt x="184169" y="255987"/>
                      </a:cubicBezTo>
                      <a:cubicBezTo>
                        <a:pt x="208502" y="245913"/>
                        <a:pt x="229305" y="228863"/>
                        <a:pt x="243942" y="206982"/>
                      </a:cubicBezTo>
                      <a:cubicBezTo>
                        <a:pt x="258579" y="185100"/>
                        <a:pt x="266388" y="159375"/>
                        <a:pt x="266388" y="133060"/>
                      </a:cubicBezTo>
                      <a:cubicBezTo>
                        <a:pt x="266363" y="97780"/>
                        <a:pt x="252316" y="63950"/>
                        <a:pt x="227342" y="39002"/>
                      </a:cubicBezTo>
                      <a:cubicBezTo>
                        <a:pt x="202374" y="14059"/>
                        <a:pt x="168512" y="32"/>
                        <a:pt x="133194" y="0"/>
                      </a:cubicBezTo>
                      <a:close/>
                      <a:moveTo>
                        <a:pt x="133194" y="247235"/>
                      </a:moveTo>
                      <a:cubicBezTo>
                        <a:pt x="110453" y="247235"/>
                        <a:pt x="88225" y="240490"/>
                        <a:pt x="69327" y="227856"/>
                      </a:cubicBezTo>
                      <a:cubicBezTo>
                        <a:pt x="50423" y="215227"/>
                        <a:pt x="35703" y="197273"/>
                        <a:pt x="27027" y="176271"/>
                      </a:cubicBezTo>
                      <a:cubicBezTo>
                        <a:pt x="18352" y="155275"/>
                        <a:pt x="16112" y="132174"/>
                        <a:pt x="20591" y="109901"/>
                      </a:cubicBezTo>
                      <a:cubicBezTo>
                        <a:pt x="25064" y="87628"/>
                        <a:pt x="36062" y="67184"/>
                        <a:pt x="52181" y="51162"/>
                      </a:cubicBezTo>
                      <a:cubicBezTo>
                        <a:pt x="68300" y="35139"/>
                        <a:pt x="88815" y="24256"/>
                        <a:pt x="111133" y="19892"/>
                      </a:cubicBezTo>
                      <a:cubicBezTo>
                        <a:pt x="133451" y="15529"/>
                        <a:pt x="156564" y="17884"/>
                        <a:pt x="177541" y="26649"/>
                      </a:cubicBezTo>
                      <a:cubicBezTo>
                        <a:pt x="198517" y="35421"/>
                        <a:pt x="216414" y="50218"/>
                        <a:pt x="228972" y="69161"/>
                      </a:cubicBezTo>
                      <a:cubicBezTo>
                        <a:pt x="241523" y="88103"/>
                        <a:pt x="248165" y="110338"/>
                        <a:pt x="248055" y="133060"/>
                      </a:cubicBezTo>
                      <a:cubicBezTo>
                        <a:pt x="247991" y="163463"/>
                        <a:pt x="235870" y="192595"/>
                        <a:pt x="214341" y="214085"/>
                      </a:cubicBezTo>
                      <a:cubicBezTo>
                        <a:pt x="192806" y="235575"/>
                        <a:pt x="163629" y="247658"/>
                        <a:pt x="133194" y="247684"/>
                      </a:cubicBezTo>
                      <a:lnTo>
                        <a:pt x="133194" y="247235"/>
                      </a:ln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52" name="Freeform: Shape 251">
                  <a:extLst>
                    <a:ext uri="{FF2B5EF4-FFF2-40B4-BE49-F238E27FC236}">
                      <a16:creationId xmlns:a16="http://schemas.microsoft.com/office/drawing/2014/main" id="{6CDBDF89-2782-EB7E-38C8-CF987C7E104E}"/>
                    </a:ext>
                  </a:extLst>
                </p:cNvPr>
                <p:cNvSpPr/>
                <p:nvPr/>
              </p:nvSpPr>
              <p:spPr>
                <a:xfrm>
                  <a:off x="3094932" y="3186308"/>
                  <a:ext cx="121806" cy="201270"/>
                </a:xfrm>
                <a:custGeom>
                  <a:avLst/>
                  <a:gdLst>
                    <a:gd name="connsiteX0" fmla="*/ 91947 w 121806"/>
                    <a:gd name="connsiteY0" fmla="*/ 66979 h 201270"/>
                    <a:gd name="connsiteX1" fmla="*/ 72260 w 121806"/>
                    <a:gd name="connsiteY1" fmla="*/ 38995 h 201270"/>
                    <a:gd name="connsiteX2" fmla="*/ 69219 w 121806"/>
                    <a:gd name="connsiteY2" fmla="*/ 19559 h 201270"/>
                    <a:gd name="connsiteX3" fmla="*/ 79909 w 121806"/>
                    <a:gd name="connsiteY3" fmla="*/ 4383 h 201270"/>
                    <a:gd name="connsiteX4" fmla="*/ 64836 w 121806"/>
                    <a:gd name="connsiteY4" fmla="*/ 0 h 201270"/>
                    <a:gd name="connsiteX5" fmla="*/ 44809 w 121806"/>
                    <a:gd name="connsiteY5" fmla="*/ 8541 h 201270"/>
                    <a:gd name="connsiteX6" fmla="*/ 35139 w 121806"/>
                    <a:gd name="connsiteY6" fmla="*/ 67319 h 201270"/>
                    <a:gd name="connsiteX7" fmla="*/ 23884 w 121806"/>
                    <a:gd name="connsiteY7" fmla="*/ 65632 h 201270"/>
                    <a:gd name="connsiteX8" fmla="*/ 6449 w 121806"/>
                    <a:gd name="connsiteY8" fmla="*/ 72260 h 201270"/>
                    <a:gd name="connsiteX9" fmla="*/ 14239 w 121806"/>
                    <a:gd name="connsiteY9" fmla="*/ 77567 h 201270"/>
                    <a:gd name="connsiteX10" fmla="*/ 18891 w 121806"/>
                    <a:gd name="connsiteY10" fmla="*/ 85755 h 201270"/>
                    <a:gd name="connsiteX11" fmla="*/ 19443 w 121806"/>
                    <a:gd name="connsiteY11" fmla="*/ 95162 h 201270"/>
                    <a:gd name="connsiteX12" fmla="*/ 15786 w 121806"/>
                    <a:gd name="connsiteY12" fmla="*/ 103837 h 201270"/>
                    <a:gd name="connsiteX13" fmla="*/ 9375 w 121806"/>
                    <a:gd name="connsiteY13" fmla="*/ 115080 h 201270"/>
                    <a:gd name="connsiteX14" fmla="*/ 129 w 121806"/>
                    <a:gd name="connsiteY14" fmla="*/ 151175 h 201270"/>
                    <a:gd name="connsiteX15" fmla="*/ 13989 w 121806"/>
                    <a:gd name="connsiteY15" fmla="*/ 185768 h 201270"/>
                    <a:gd name="connsiteX16" fmla="*/ 37949 w 121806"/>
                    <a:gd name="connsiteY16" fmla="*/ 201271 h 201270"/>
                    <a:gd name="connsiteX17" fmla="*/ 34349 w 121806"/>
                    <a:gd name="connsiteY17" fmla="*/ 195091 h 201270"/>
                    <a:gd name="connsiteX18" fmla="*/ 25815 w 121806"/>
                    <a:gd name="connsiteY18" fmla="*/ 169129 h 201270"/>
                    <a:gd name="connsiteX19" fmla="*/ 35023 w 121806"/>
                    <a:gd name="connsiteY19" fmla="*/ 143397 h 201270"/>
                    <a:gd name="connsiteX20" fmla="*/ 41883 w 121806"/>
                    <a:gd name="connsiteY20" fmla="*/ 135306 h 201270"/>
                    <a:gd name="connsiteX21" fmla="*/ 54299 w 121806"/>
                    <a:gd name="connsiteY21" fmla="*/ 117107 h 201270"/>
                    <a:gd name="connsiteX22" fmla="*/ 56398 w 121806"/>
                    <a:gd name="connsiteY22" fmla="*/ 95188 h 201270"/>
                    <a:gd name="connsiteX23" fmla="*/ 56963 w 121806"/>
                    <a:gd name="connsiteY23" fmla="*/ 91254 h 201270"/>
                    <a:gd name="connsiteX24" fmla="*/ 75186 w 121806"/>
                    <a:gd name="connsiteY24" fmla="*/ 120470 h 201270"/>
                    <a:gd name="connsiteX25" fmla="*/ 74936 w 121806"/>
                    <a:gd name="connsiteY25" fmla="*/ 138270 h 201270"/>
                    <a:gd name="connsiteX26" fmla="*/ 66973 w 121806"/>
                    <a:gd name="connsiteY26" fmla="*/ 154184 h 201270"/>
                    <a:gd name="connsiteX27" fmla="*/ 80808 w 121806"/>
                    <a:gd name="connsiteY27" fmla="*/ 151713 h 201270"/>
                    <a:gd name="connsiteX28" fmla="*/ 92056 w 121806"/>
                    <a:gd name="connsiteY28" fmla="*/ 142839 h 201270"/>
                    <a:gd name="connsiteX29" fmla="*/ 82161 w 121806"/>
                    <a:gd name="connsiteY29" fmla="*/ 199025 h 201270"/>
                    <a:gd name="connsiteX30" fmla="*/ 120406 w 121806"/>
                    <a:gd name="connsiteY30" fmla="*/ 122607 h 201270"/>
                    <a:gd name="connsiteX31" fmla="*/ 91947 w 121806"/>
                    <a:gd name="connsiteY31" fmla="*/ 66979 h 2012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121806" h="201270">
                      <a:moveTo>
                        <a:pt x="91947" y="66979"/>
                      </a:moveTo>
                      <a:cubicBezTo>
                        <a:pt x="84799" y="58079"/>
                        <a:pt x="78221" y="48730"/>
                        <a:pt x="72260" y="38995"/>
                      </a:cubicBezTo>
                      <a:cubicBezTo>
                        <a:pt x="69135" y="33028"/>
                        <a:pt x="68070" y="26194"/>
                        <a:pt x="69219" y="19559"/>
                      </a:cubicBezTo>
                      <a:cubicBezTo>
                        <a:pt x="70457" y="13822"/>
                        <a:pt x="76194" y="9330"/>
                        <a:pt x="79909" y="4383"/>
                      </a:cubicBezTo>
                      <a:cubicBezTo>
                        <a:pt x="75360" y="1624"/>
                        <a:pt x="70156" y="109"/>
                        <a:pt x="64836" y="0"/>
                      </a:cubicBezTo>
                      <a:cubicBezTo>
                        <a:pt x="57302" y="154"/>
                        <a:pt x="50129" y="3215"/>
                        <a:pt x="44809" y="8541"/>
                      </a:cubicBezTo>
                      <a:cubicBezTo>
                        <a:pt x="27708" y="24391"/>
                        <a:pt x="28273" y="44950"/>
                        <a:pt x="35139" y="67319"/>
                      </a:cubicBezTo>
                      <a:cubicBezTo>
                        <a:pt x="31468" y="66299"/>
                        <a:pt x="27689" y="65728"/>
                        <a:pt x="23884" y="65632"/>
                      </a:cubicBezTo>
                      <a:cubicBezTo>
                        <a:pt x="17435" y="65523"/>
                        <a:pt x="11191" y="67897"/>
                        <a:pt x="6449" y="72260"/>
                      </a:cubicBezTo>
                      <a:cubicBezTo>
                        <a:pt x="9420" y="73409"/>
                        <a:pt x="12083" y="75225"/>
                        <a:pt x="14239" y="77567"/>
                      </a:cubicBezTo>
                      <a:cubicBezTo>
                        <a:pt x="16395" y="79903"/>
                        <a:pt x="17987" y="82707"/>
                        <a:pt x="18891" y="85755"/>
                      </a:cubicBezTo>
                      <a:cubicBezTo>
                        <a:pt x="19790" y="88809"/>
                        <a:pt x="19982" y="92024"/>
                        <a:pt x="19443" y="95162"/>
                      </a:cubicBezTo>
                      <a:cubicBezTo>
                        <a:pt x="18904" y="98293"/>
                        <a:pt x="17653" y="101264"/>
                        <a:pt x="15786" y="103837"/>
                      </a:cubicBezTo>
                      <a:cubicBezTo>
                        <a:pt x="13764" y="107546"/>
                        <a:pt x="11621" y="111031"/>
                        <a:pt x="9375" y="115080"/>
                      </a:cubicBezTo>
                      <a:cubicBezTo>
                        <a:pt x="2535" y="125828"/>
                        <a:pt x="-706" y="138469"/>
                        <a:pt x="129" y="151175"/>
                      </a:cubicBezTo>
                      <a:cubicBezTo>
                        <a:pt x="956" y="163880"/>
                        <a:pt x="5807" y="175995"/>
                        <a:pt x="13989" y="185768"/>
                      </a:cubicBezTo>
                      <a:cubicBezTo>
                        <a:pt x="20078" y="193397"/>
                        <a:pt x="28484" y="198839"/>
                        <a:pt x="37949" y="201271"/>
                      </a:cubicBezTo>
                      <a:cubicBezTo>
                        <a:pt x="36146" y="198242"/>
                        <a:pt x="35363" y="196554"/>
                        <a:pt x="34349" y="195091"/>
                      </a:cubicBezTo>
                      <a:cubicBezTo>
                        <a:pt x="28696" y="187622"/>
                        <a:pt x="25693" y="178491"/>
                        <a:pt x="25815" y="169129"/>
                      </a:cubicBezTo>
                      <a:cubicBezTo>
                        <a:pt x="25943" y="159767"/>
                        <a:pt x="29178" y="150719"/>
                        <a:pt x="35023" y="143397"/>
                      </a:cubicBezTo>
                      <a:cubicBezTo>
                        <a:pt x="37160" y="140587"/>
                        <a:pt x="39521" y="137892"/>
                        <a:pt x="41883" y="135306"/>
                      </a:cubicBezTo>
                      <a:cubicBezTo>
                        <a:pt x="47491" y="130384"/>
                        <a:pt x="51758" y="124121"/>
                        <a:pt x="54299" y="117107"/>
                      </a:cubicBezTo>
                      <a:cubicBezTo>
                        <a:pt x="56834" y="110094"/>
                        <a:pt x="57553" y="102554"/>
                        <a:pt x="56398" y="95188"/>
                      </a:cubicBezTo>
                      <a:cubicBezTo>
                        <a:pt x="56372" y="93853"/>
                        <a:pt x="56558" y="92524"/>
                        <a:pt x="56963" y="91254"/>
                      </a:cubicBezTo>
                      <a:cubicBezTo>
                        <a:pt x="66466" y="98383"/>
                        <a:pt x="72966" y="108804"/>
                        <a:pt x="75186" y="120470"/>
                      </a:cubicBezTo>
                      <a:cubicBezTo>
                        <a:pt x="76444" y="126348"/>
                        <a:pt x="76361" y="132431"/>
                        <a:pt x="74936" y="138270"/>
                      </a:cubicBezTo>
                      <a:cubicBezTo>
                        <a:pt x="73518" y="144103"/>
                        <a:pt x="70791" y="149545"/>
                        <a:pt x="66973" y="154184"/>
                      </a:cubicBezTo>
                      <a:cubicBezTo>
                        <a:pt x="71708" y="154409"/>
                        <a:pt x="76438" y="153561"/>
                        <a:pt x="80808" y="151713"/>
                      </a:cubicBezTo>
                      <a:cubicBezTo>
                        <a:pt x="84869" y="149172"/>
                        <a:pt x="88642" y="146195"/>
                        <a:pt x="92056" y="142839"/>
                      </a:cubicBezTo>
                      <a:cubicBezTo>
                        <a:pt x="103305" y="154858"/>
                        <a:pt x="100270" y="175764"/>
                        <a:pt x="82161" y="199025"/>
                      </a:cubicBezTo>
                      <a:cubicBezTo>
                        <a:pt x="108708" y="192056"/>
                        <a:pt x="127156" y="154749"/>
                        <a:pt x="120406" y="122607"/>
                      </a:cubicBezTo>
                      <a:cubicBezTo>
                        <a:pt x="115118" y="102208"/>
                        <a:pt x="105403" y="83214"/>
                        <a:pt x="91947" y="66979"/>
                      </a:cubicBez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</p:grpSp>
          <p:sp>
            <p:nvSpPr>
              <p:cNvPr id="247" name="TextBox 246">
                <a:extLst>
                  <a:ext uri="{FF2B5EF4-FFF2-40B4-BE49-F238E27FC236}">
                    <a16:creationId xmlns:a16="http://schemas.microsoft.com/office/drawing/2014/main" id="{E65CC6A4-48D0-8023-847D-24D3787D555A}"/>
                  </a:ext>
                </a:extLst>
              </p:cNvPr>
              <p:cNvSpPr txBox="1"/>
              <p:nvPr/>
            </p:nvSpPr>
            <p:spPr>
              <a:xfrm>
                <a:off x="2465572" y="3457113"/>
                <a:ext cx="1323056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Network </a:t>
                </a:r>
              </a:p>
              <a:p>
                <a:pPr algn="ctr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Firewall </a:t>
                </a:r>
                <a:r>
                  <a:rPr lang="en-US" sz="120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Appliance</a:t>
                </a:r>
                <a:endParaRPr lang="en-US" sz="1200" spc="0" baseline="0" dirty="0">
                  <a:solidFill>
                    <a:srgbClr val="000000"/>
                  </a:solidFill>
                  <a:latin typeface="Oracle Sans"/>
                  <a:cs typeface="Oracle Sans"/>
                  <a:sym typeface="Oracle Sans"/>
                  <a:rtl val="0"/>
                </a:endParaRPr>
              </a:p>
            </p:txBody>
          </p:sp>
        </p:grpSp>
      </p:grpSp>
      <p:grpSp>
        <p:nvGrpSpPr>
          <p:cNvPr id="333" name="Group 332">
            <a:extLst>
              <a:ext uri="{FF2B5EF4-FFF2-40B4-BE49-F238E27FC236}">
                <a16:creationId xmlns:a16="http://schemas.microsoft.com/office/drawing/2014/main" id="{5CCE571D-313D-2C24-D51B-2FF51D327F8C}"/>
              </a:ext>
            </a:extLst>
          </p:cNvPr>
          <p:cNvGrpSpPr/>
          <p:nvPr/>
        </p:nvGrpSpPr>
        <p:grpSpPr>
          <a:xfrm>
            <a:off x="830803" y="4520953"/>
            <a:ext cx="8637700" cy="800477"/>
            <a:chOff x="435884" y="4531022"/>
            <a:chExt cx="8637700" cy="800477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D75D515-1782-1305-10E9-E2EE0B9F4842}"/>
                </a:ext>
              </a:extLst>
            </p:cNvPr>
            <p:cNvSpPr txBox="1"/>
            <p:nvPr/>
          </p:nvSpPr>
          <p:spPr>
            <a:xfrm>
              <a:off x="435884" y="4658756"/>
              <a:ext cx="2806262" cy="3258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 defTabSz="228600">
                <a:spcAft>
                  <a:spcPts val="1200"/>
                </a:spcAft>
              </a:pPr>
              <a:r>
                <a:rPr lang="de-CH" b="1" noProof="0" dirty="0"/>
                <a:t>IAM</a:t>
              </a:r>
            </a:p>
          </p:txBody>
        </p:sp>
        <p:grpSp>
          <p:nvGrpSpPr>
            <p:cNvPr id="264" name="Graphic 3">
              <a:extLst>
                <a:ext uri="{FF2B5EF4-FFF2-40B4-BE49-F238E27FC236}">
                  <a16:creationId xmlns:a16="http://schemas.microsoft.com/office/drawing/2014/main" id="{CEDF42D6-0FE8-D9FF-A957-84FDA1DEDAC4}"/>
                </a:ext>
              </a:extLst>
            </p:cNvPr>
            <p:cNvGrpSpPr/>
            <p:nvPr/>
          </p:nvGrpSpPr>
          <p:grpSpPr>
            <a:xfrm>
              <a:off x="4315821" y="4611309"/>
              <a:ext cx="526360" cy="720190"/>
              <a:chOff x="1902414" y="1752065"/>
              <a:chExt cx="526360" cy="720190"/>
            </a:xfrm>
          </p:grpSpPr>
          <p:grpSp>
            <p:nvGrpSpPr>
              <p:cNvPr id="265" name="Graphic 3">
                <a:extLst>
                  <a:ext uri="{FF2B5EF4-FFF2-40B4-BE49-F238E27FC236}">
                    <a16:creationId xmlns:a16="http://schemas.microsoft.com/office/drawing/2014/main" id="{B35C1F46-EE33-425E-2A2A-CEE98202C4E6}"/>
                  </a:ext>
                </a:extLst>
              </p:cNvPr>
              <p:cNvGrpSpPr/>
              <p:nvPr/>
            </p:nvGrpSpPr>
            <p:grpSpPr>
              <a:xfrm>
                <a:off x="1915427" y="1752065"/>
                <a:ext cx="513347" cy="483793"/>
                <a:chOff x="1915427" y="1752065"/>
                <a:chExt cx="513347" cy="483793"/>
              </a:xfrm>
            </p:grpSpPr>
            <p:sp>
              <p:nvSpPr>
                <p:cNvPr id="267" name="Freeform: Shape 266">
                  <a:extLst>
                    <a:ext uri="{FF2B5EF4-FFF2-40B4-BE49-F238E27FC236}">
                      <a16:creationId xmlns:a16="http://schemas.microsoft.com/office/drawing/2014/main" id="{8E2842DA-E3CD-1021-EDEE-46689B14414D}"/>
                    </a:ext>
                  </a:extLst>
                </p:cNvPr>
                <p:cNvSpPr/>
                <p:nvPr/>
              </p:nvSpPr>
              <p:spPr>
                <a:xfrm>
                  <a:off x="1921164" y="1757816"/>
                  <a:ext cx="501848" cy="472638"/>
                </a:xfrm>
                <a:custGeom>
                  <a:avLst/>
                  <a:gdLst>
                    <a:gd name="connsiteX0" fmla="*/ 381558 w 501848"/>
                    <a:gd name="connsiteY0" fmla="*/ 468956 h 472638"/>
                    <a:gd name="connsiteX1" fmla="*/ 274038 w 501848"/>
                    <a:gd name="connsiteY1" fmla="*/ 329004 h 472638"/>
                    <a:gd name="connsiteX2" fmla="*/ 274038 w 501848"/>
                    <a:gd name="connsiteY2" fmla="*/ 279903 h 472638"/>
                    <a:gd name="connsiteX3" fmla="*/ 0 w 501848"/>
                    <a:gd name="connsiteY3" fmla="*/ 279903 h 472638"/>
                    <a:gd name="connsiteX4" fmla="*/ 0 w 501848"/>
                    <a:gd name="connsiteY4" fmla="*/ 0 h 472638"/>
                    <a:gd name="connsiteX5" fmla="*/ 402490 w 501848"/>
                    <a:gd name="connsiteY5" fmla="*/ 0 h 472638"/>
                    <a:gd name="connsiteX6" fmla="*/ 402490 w 501848"/>
                    <a:gd name="connsiteY6" fmla="*/ 181121 h 472638"/>
                    <a:gd name="connsiteX7" fmla="*/ 501848 w 501848"/>
                    <a:gd name="connsiteY7" fmla="*/ 224244 h 472638"/>
                    <a:gd name="connsiteX8" fmla="*/ 501848 w 501848"/>
                    <a:gd name="connsiteY8" fmla="*/ 329120 h 472638"/>
                    <a:gd name="connsiteX9" fmla="*/ 394328 w 501848"/>
                    <a:gd name="connsiteY9" fmla="*/ 469418 h 472638"/>
                    <a:gd name="connsiteX10" fmla="*/ 388001 w 501848"/>
                    <a:gd name="connsiteY10" fmla="*/ 472639 h 472638"/>
                    <a:gd name="connsiteX11" fmla="*/ 381558 w 501848"/>
                    <a:gd name="connsiteY11" fmla="*/ 468956 h 4726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501848" h="472638">
                      <a:moveTo>
                        <a:pt x="381558" y="468956"/>
                      </a:moveTo>
                      <a:cubicBezTo>
                        <a:pt x="316241" y="436416"/>
                        <a:pt x="277259" y="385242"/>
                        <a:pt x="274038" y="329004"/>
                      </a:cubicBezTo>
                      <a:lnTo>
                        <a:pt x="274038" y="279903"/>
                      </a:lnTo>
                      <a:lnTo>
                        <a:pt x="0" y="279903"/>
                      </a:lnTo>
                      <a:lnTo>
                        <a:pt x="0" y="0"/>
                      </a:lnTo>
                      <a:lnTo>
                        <a:pt x="402490" y="0"/>
                      </a:lnTo>
                      <a:lnTo>
                        <a:pt x="402490" y="181121"/>
                      </a:lnTo>
                      <a:lnTo>
                        <a:pt x="501848" y="224244"/>
                      </a:lnTo>
                      <a:lnTo>
                        <a:pt x="501848" y="329120"/>
                      </a:lnTo>
                      <a:cubicBezTo>
                        <a:pt x="498627" y="385813"/>
                        <a:pt x="459414" y="436871"/>
                        <a:pt x="394328" y="469418"/>
                      </a:cubicBezTo>
                      <a:lnTo>
                        <a:pt x="388001" y="472639"/>
                      </a:lnTo>
                      <a:lnTo>
                        <a:pt x="381558" y="46895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68" name="Freeform: Shape 267">
                  <a:extLst>
                    <a:ext uri="{FF2B5EF4-FFF2-40B4-BE49-F238E27FC236}">
                      <a16:creationId xmlns:a16="http://schemas.microsoft.com/office/drawing/2014/main" id="{61278263-58F6-0581-0BF4-10A7F19393F3}"/>
                    </a:ext>
                  </a:extLst>
                </p:cNvPr>
                <p:cNvSpPr/>
                <p:nvPr/>
              </p:nvSpPr>
              <p:spPr>
                <a:xfrm>
                  <a:off x="1915427" y="1752065"/>
                  <a:ext cx="513347" cy="483793"/>
                </a:xfrm>
                <a:custGeom>
                  <a:avLst/>
                  <a:gdLst>
                    <a:gd name="connsiteX0" fmla="*/ 402490 w 513347"/>
                    <a:gd name="connsiteY0" fmla="*/ 11500 h 483793"/>
                    <a:gd name="connsiteX1" fmla="*/ 402490 w 513347"/>
                    <a:gd name="connsiteY1" fmla="*/ 190666 h 483793"/>
                    <a:gd name="connsiteX2" fmla="*/ 502079 w 513347"/>
                    <a:gd name="connsiteY2" fmla="*/ 233330 h 483793"/>
                    <a:gd name="connsiteX3" fmla="*/ 502079 w 513347"/>
                    <a:gd name="connsiteY3" fmla="*/ 334409 h 483793"/>
                    <a:gd name="connsiteX4" fmla="*/ 397774 w 513347"/>
                    <a:gd name="connsiteY4" fmla="*/ 469535 h 483793"/>
                    <a:gd name="connsiteX5" fmla="*/ 393981 w 513347"/>
                    <a:gd name="connsiteY5" fmla="*/ 471486 h 483793"/>
                    <a:gd name="connsiteX6" fmla="*/ 390183 w 513347"/>
                    <a:gd name="connsiteY6" fmla="*/ 469535 h 483793"/>
                    <a:gd name="connsiteX7" fmla="*/ 285768 w 513347"/>
                    <a:gd name="connsiteY7" fmla="*/ 334409 h 483793"/>
                    <a:gd name="connsiteX8" fmla="*/ 285768 w 513347"/>
                    <a:gd name="connsiteY8" fmla="*/ 279903 h 483793"/>
                    <a:gd name="connsiteX9" fmla="*/ 11499 w 513347"/>
                    <a:gd name="connsiteY9" fmla="*/ 279903 h 483793"/>
                    <a:gd name="connsiteX10" fmla="*/ 11499 w 513347"/>
                    <a:gd name="connsiteY10" fmla="*/ 11500 h 483793"/>
                    <a:gd name="connsiteX11" fmla="*/ 402490 w 513347"/>
                    <a:gd name="connsiteY11" fmla="*/ 11500 h 483793"/>
                    <a:gd name="connsiteX12" fmla="*/ 413989 w 513347"/>
                    <a:gd name="connsiteY12" fmla="*/ 0 h 483793"/>
                    <a:gd name="connsiteX13" fmla="*/ 0 w 513347"/>
                    <a:gd name="connsiteY13" fmla="*/ 0 h 483793"/>
                    <a:gd name="connsiteX14" fmla="*/ 0 w 513347"/>
                    <a:gd name="connsiteY14" fmla="*/ 291404 h 483793"/>
                    <a:gd name="connsiteX15" fmla="*/ 274038 w 513347"/>
                    <a:gd name="connsiteY15" fmla="*/ 291404 h 483793"/>
                    <a:gd name="connsiteX16" fmla="*/ 274038 w 513347"/>
                    <a:gd name="connsiteY16" fmla="*/ 333492 h 483793"/>
                    <a:gd name="connsiteX17" fmla="*/ 274038 w 513347"/>
                    <a:gd name="connsiteY17" fmla="*/ 334185 h 483793"/>
                    <a:gd name="connsiteX18" fmla="*/ 384779 w 513347"/>
                    <a:gd name="connsiteY18" fmla="*/ 479308 h 483793"/>
                    <a:gd name="connsiteX19" fmla="*/ 388578 w 513347"/>
                    <a:gd name="connsiteY19" fmla="*/ 481150 h 483793"/>
                    <a:gd name="connsiteX20" fmla="*/ 393750 w 513347"/>
                    <a:gd name="connsiteY20" fmla="*/ 483793 h 483793"/>
                    <a:gd name="connsiteX21" fmla="*/ 398813 w 513347"/>
                    <a:gd name="connsiteY21" fmla="*/ 481150 h 483793"/>
                    <a:gd name="connsiteX22" fmla="*/ 402606 w 513347"/>
                    <a:gd name="connsiteY22" fmla="*/ 479308 h 483793"/>
                    <a:gd name="connsiteX23" fmla="*/ 513347 w 513347"/>
                    <a:gd name="connsiteY23" fmla="*/ 334525 h 483793"/>
                    <a:gd name="connsiteX24" fmla="*/ 513347 w 513347"/>
                    <a:gd name="connsiteY24" fmla="*/ 225740 h 483793"/>
                    <a:gd name="connsiteX25" fmla="*/ 506449 w 513347"/>
                    <a:gd name="connsiteY25" fmla="*/ 222750 h 483793"/>
                    <a:gd name="connsiteX26" fmla="*/ 413989 w 513347"/>
                    <a:gd name="connsiteY26" fmla="*/ 183076 h 483793"/>
                    <a:gd name="connsiteX27" fmla="*/ 413989 w 513347"/>
                    <a:gd name="connsiteY27" fmla="*/ 0 h 4837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513347" h="483793">
                      <a:moveTo>
                        <a:pt x="402490" y="11500"/>
                      </a:moveTo>
                      <a:lnTo>
                        <a:pt x="402490" y="190666"/>
                      </a:lnTo>
                      <a:lnTo>
                        <a:pt x="502079" y="233330"/>
                      </a:lnTo>
                      <a:lnTo>
                        <a:pt x="502079" y="334409"/>
                      </a:lnTo>
                      <a:cubicBezTo>
                        <a:pt x="498974" y="388689"/>
                        <a:pt x="461025" y="437907"/>
                        <a:pt x="397774" y="469535"/>
                      </a:cubicBezTo>
                      <a:lnTo>
                        <a:pt x="393981" y="471486"/>
                      </a:lnTo>
                      <a:lnTo>
                        <a:pt x="390183" y="469535"/>
                      </a:lnTo>
                      <a:cubicBezTo>
                        <a:pt x="326938" y="437907"/>
                        <a:pt x="288873" y="389036"/>
                        <a:pt x="285768" y="334409"/>
                      </a:cubicBezTo>
                      <a:lnTo>
                        <a:pt x="285768" y="279903"/>
                      </a:lnTo>
                      <a:lnTo>
                        <a:pt x="11499" y="279903"/>
                      </a:lnTo>
                      <a:lnTo>
                        <a:pt x="11499" y="11500"/>
                      </a:lnTo>
                      <a:lnTo>
                        <a:pt x="402490" y="11500"/>
                      </a:lnTo>
                      <a:close/>
                      <a:moveTo>
                        <a:pt x="413989" y="0"/>
                      </a:moveTo>
                      <a:lnTo>
                        <a:pt x="0" y="0"/>
                      </a:lnTo>
                      <a:lnTo>
                        <a:pt x="0" y="291404"/>
                      </a:lnTo>
                      <a:lnTo>
                        <a:pt x="274038" y="291404"/>
                      </a:lnTo>
                      <a:lnTo>
                        <a:pt x="274038" y="333492"/>
                      </a:lnTo>
                      <a:lnTo>
                        <a:pt x="274038" y="334185"/>
                      </a:lnTo>
                      <a:cubicBezTo>
                        <a:pt x="277490" y="392944"/>
                        <a:pt x="317736" y="445729"/>
                        <a:pt x="384779" y="479308"/>
                      </a:cubicBezTo>
                      <a:lnTo>
                        <a:pt x="388578" y="481150"/>
                      </a:lnTo>
                      <a:lnTo>
                        <a:pt x="393750" y="483793"/>
                      </a:lnTo>
                      <a:lnTo>
                        <a:pt x="398813" y="481150"/>
                      </a:lnTo>
                      <a:lnTo>
                        <a:pt x="402606" y="479308"/>
                      </a:lnTo>
                      <a:cubicBezTo>
                        <a:pt x="469649" y="445729"/>
                        <a:pt x="510011" y="392944"/>
                        <a:pt x="513347" y="334525"/>
                      </a:cubicBezTo>
                      <a:lnTo>
                        <a:pt x="513347" y="225740"/>
                      </a:lnTo>
                      <a:lnTo>
                        <a:pt x="506449" y="222750"/>
                      </a:lnTo>
                      <a:lnTo>
                        <a:pt x="413989" y="183076"/>
                      </a:lnTo>
                      <a:lnTo>
                        <a:pt x="413989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69" name="Freeform: Shape 268">
                  <a:extLst>
                    <a:ext uri="{FF2B5EF4-FFF2-40B4-BE49-F238E27FC236}">
                      <a16:creationId xmlns:a16="http://schemas.microsoft.com/office/drawing/2014/main" id="{FB90FAE7-1272-1812-E9B4-2CD8D6860BF1}"/>
                    </a:ext>
                  </a:extLst>
                </p:cNvPr>
                <p:cNvSpPr/>
                <p:nvPr/>
              </p:nvSpPr>
              <p:spPr>
                <a:xfrm>
                  <a:off x="1926932" y="1763567"/>
                  <a:ext cx="390759" cy="268403"/>
                </a:xfrm>
                <a:custGeom>
                  <a:avLst/>
                  <a:gdLst>
                    <a:gd name="connsiteX0" fmla="*/ 17018 w 390759"/>
                    <a:gd name="connsiteY0" fmla="*/ 17020 h 268403"/>
                    <a:gd name="connsiteX1" fmla="*/ 373736 w 390759"/>
                    <a:gd name="connsiteY1" fmla="*/ 17020 h 268403"/>
                    <a:gd name="connsiteX2" fmla="*/ 373736 w 390759"/>
                    <a:gd name="connsiteY2" fmla="*/ 165251 h 268403"/>
                    <a:gd name="connsiteX3" fmla="*/ 382245 w 390759"/>
                    <a:gd name="connsiteY3" fmla="*/ 161571 h 268403"/>
                    <a:gd name="connsiteX4" fmla="*/ 390760 w 390759"/>
                    <a:gd name="connsiteY4" fmla="*/ 165251 h 268403"/>
                    <a:gd name="connsiteX5" fmla="*/ 390760 w 390759"/>
                    <a:gd name="connsiteY5" fmla="*/ 0 h 268403"/>
                    <a:gd name="connsiteX6" fmla="*/ 0 w 390759"/>
                    <a:gd name="connsiteY6" fmla="*/ 0 h 268403"/>
                    <a:gd name="connsiteX7" fmla="*/ 0 w 390759"/>
                    <a:gd name="connsiteY7" fmla="*/ 268404 h 268403"/>
                    <a:gd name="connsiteX8" fmla="*/ 261268 w 390759"/>
                    <a:gd name="connsiteY8" fmla="*/ 268404 h 268403"/>
                    <a:gd name="connsiteX9" fmla="*/ 261268 w 390759"/>
                    <a:gd name="connsiteY9" fmla="*/ 251384 h 268403"/>
                    <a:gd name="connsiteX10" fmla="*/ 17018 w 390759"/>
                    <a:gd name="connsiteY10" fmla="*/ 251384 h 268403"/>
                    <a:gd name="connsiteX11" fmla="*/ 17018 w 390759"/>
                    <a:gd name="connsiteY11" fmla="*/ 17020 h 2684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390759" h="268403">
                      <a:moveTo>
                        <a:pt x="17018" y="17020"/>
                      </a:moveTo>
                      <a:lnTo>
                        <a:pt x="373736" y="17020"/>
                      </a:lnTo>
                      <a:lnTo>
                        <a:pt x="373736" y="165251"/>
                      </a:lnTo>
                      <a:lnTo>
                        <a:pt x="382245" y="161571"/>
                      </a:lnTo>
                      <a:lnTo>
                        <a:pt x="390760" y="165251"/>
                      </a:lnTo>
                      <a:lnTo>
                        <a:pt x="390760" y="0"/>
                      </a:lnTo>
                      <a:lnTo>
                        <a:pt x="0" y="0"/>
                      </a:lnTo>
                      <a:lnTo>
                        <a:pt x="0" y="268404"/>
                      </a:lnTo>
                      <a:lnTo>
                        <a:pt x="261268" y="268404"/>
                      </a:lnTo>
                      <a:lnTo>
                        <a:pt x="261268" y="251384"/>
                      </a:lnTo>
                      <a:lnTo>
                        <a:pt x="17018" y="251384"/>
                      </a:lnTo>
                      <a:lnTo>
                        <a:pt x="17018" y="17020"/>
                      </a:ln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70" name="Freeform: Shape 269">
                  <a:extLst>
                    <a:ext uri="{FF2B5EF4-FFF2-40B4-BE49-F238E27FC236}">
                      <a16:creationId xmlns:a16="http://schemas.microsoft.com/office/drawing/2014/main" id="{508BA42E-CC7D-6926-19F9-8D90C4674FD5}"/>
                    </a:ext>
                  </a:extLst>
                </p:cNvPr>
                <p:cNvSpPr/>
                <p:nvPr/>
              </p:nvSpPr>
              <p:spPr>
                <a:xfrm>
                  <a:off x="2200957" y="1939056"/>
                  <a:ext cx="216305" cy="284160"/>
                </a:xfrm>
                <a:custGeom>
                  <a:avLst/>
                  <a:gdLst>
                    <a:gd name="connsiteX0" fmla="*/ 108207 w 216305"/>
                    <a:gd name="connsiteY0" fmla="*/ 0 h 284160"/>
                    <a:gd name="connsiteX1" fmla="*/ 0 w 216305"/>
                    <a:gd name="connsiteY1" fmla="*/ 45998 h 284160"/>
                    <a:gd name="connsiteX2" fmla="*/ 0 w 216305"/>
                    <a:gd name="connsiteY2" fmla="*/ 147084 h 284160"/>
                    <a:gd name="connsiteX3" fmla="*/ 104415 w 216305"/>
                    <a:gd name="connsiteY3" fmla="*/ 282204 h 284160"/>
                    <a:gd name="connsiteX4" fmla="*/ 108207 w 216305"/>
                    <a:gd name="connsiteY4" fmla="*/ 284161 h 284160"/>
                    <a:gd name="connsiteX5" fmla="*/ 112006 w 216305"/>
                    <a:gd name="connsiteY5" fmla="*/ 282204 h 284160"/>
                    <a:gd name="connsiteX6" fmla="*/ 216305 w 216305"/>
                    <a:gd name="connsiteY6" fmla="*/ 147084 h 284160"/>
                    <a:gd name="connsiteX7" fmla="*/ 216305 w 216305"/>
                    <a:gd name="connsiteY7" fmla="*/ 46344 h 284160"/>
                    <a:gd name="connsiteX8" fmla="*/ 108207 w 216305"/>
                    <a:gd name="connsiteY8" fmla="*/ 0 h 284160"/>
                    <a:gd name="connsiteX9" fmla="*/ 199288 w 216305"/>
                    <a:gd name="connsiteY9" fmla="*/ 146507 h 284160"/>
                    <a:gd name="connsiteX10" fmla="*/ 116716 w 216305"/>
                    <a:gd name="connsiteY10" fmla="*/ 260585 h 284160"/>
                    <a:gd name="connsiteX11" fmla="*/ 116716 w 216305"/>
                    <a:gd name="connsiteY11" fmla="*/ 116149 h 284160"/>
                    <a:gd name="connsiteX12" fmla="*/ 99698 w 216305"/>
                    <a:gd name="connsiteY12" fmla="*/ 116149 h 284160"/>
                    <a:gd name="connsiteX13" fmla="*/ 99698 w 216305"/>
                    <a:gd name="connsiteY13" fmla="*/ 260816 h 284160"/>
                    <a:gd name="connsiteX14" fmla="*/ 17017 w 216305"/>
                    <a:gd name="connsiteY14" fmla="*/ 146738 h 284160"/>
                    <a:gd name="connsiteX15" fmla="*/ 17017 w 216305"/>
                    <a:gd name="connsiteY15" fmla="*/ 57498 h 284160"/>
                    <a:gd name="connsiteX16" fmla="*/ 99698 w 216305"/>
                    <a:gd name="connsiteY16" fmla="*/ 22079 h 284160"/>
                    <a:gd name="connsiteX17" fmla="*/ 99698 w 216305"/>
                    <a:gd name="connsiteY17" fmla="*/ 97977 h 284160"/>
                    <a:gd name="connsiteX18" fmla="*/ 116947 w 216305"/>
                    <a:gd name="connsiteY18" fmla="*/ 97977 h 284160"/>
                    <a:gd name="connsiteX19" fmla="*/ 116947 w 216305"/>
                    <a:gd name="connsiteY19" fmla="*/ 22079 h 284160"/>
                    <a:gd name="connsiteX20" fmla="*/ 199519 w 216305"/>
                    <a:gd name="connsiteY20" fmla="*/ 57498 h 284160"/>
                    <a:gd name="connsiteX21" fmla="*/ 199288 w 216305"/>
                    <a:gd name="connsiteY21" fmla="*/ 146507 h 284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16305" h="284160">
                      <a:moveTo>
                        <a:pt x="108207" y="0"/>
                      </a:moveTo>
                      <a:lnTo>
                        <a:pt x="0" y="45998"/>
                      </a:lnTo>
                      <a:lnTo>
                        <a:pt x="0" y="147084"/>
                      </a:lnTo>
                      <a:cubicBezTo>
                        <a:pt x="3099" y="201358"/>
                        <a:pt x="41164" y="250582"/>
                        <a:pt x="104415" y="282204"/>
                      </a:cubicBezTo>
                      <a:lnTo>
                        <a:pt x="108207" y="284161"/>
                      </a:lnTo>
                      <a:lnTo>
                        <a:pt x="112006" y="282204"/>
                      </a:lnTo>
                      <a:cubicBezTo>
                        <a:pt x="175250" y="250582"/>
                        <a:pt x="213199" y="201704"/>
                        <a:pt x="216305" y="147084"/>
                      </a:cubicBezTo>
                      <a:lnTo>
                        <a:pt x="216305" y="46344"/>
                      </a:lnTo>
                      <a:lnTo>
                        <a:pt x="108207" y="0"/>
                      </a:lnTo>
                      <a:close/>
                      <a:moveTo>
                        <a:pt x="199288" y="146507"/>
                      </a:moveTo>
                      <a:cubicBezTo>
                        <a:pt x="196760" y="190892"/>
                        <a:pt x="166857" y="231831"/>
                        <a:pt x="116716" y="260585"/>
                      </a:cubicBezTo>
                      <a:lnTo>
                        <a:pt x="116716" y="116149"/>
                      </a:lnTo>
                      <a:lnTo>
                        <a:pt x="99698" y="116149"/>
                      </a:lnTo>
                      <a:lnTo>
                        <a:pt x="99698" y="260816"/>
                      </a:lnTo>
                      <a:cubicBezTo>
                        <a:pt x="49564" y="232063"/>
                        <a:pt x="19199" y="191123"/>
                        <a:pt x="17017" y="146738"/>
                      </a:cubicBezTo>
                      <a:lnTo>
                        <a:pt x="17017" y="57498"/>
                      </a:lnTo>
                      <a:lnTo>
                        <a:pt x="99698" y="22079"/>
                      </a:lnTo>
                      <a:lnTo>
                        <a:pt x="99698" y="97977"/>
                      </a:lnTo>
                      <a:lnTo>
                        <a:pt x="116947" y="97977"/>
                      </a:lnTo>
                      <a:lnTo>
                        <a:pt x="116947" y="22079"/>
                      </a:lnTo>
                      <a:lnTo>
                        <a:pt x="199519" y="57498"/>
                      </a:lnTo>
                      <a:lnTo>
                        <a:pt x="199288" y="146507"/>
                      </a:ln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71" name="Freeform: Shape 270">
                  <a:extLst>
                    <a:ext uri="{FF2B5EF4-FFF2-40B4-BE49-F238E27FC236}">
                      <a16:creationId xmlns:a16="http://schemas.microsoft.com/office/drawing/2014/main" id="{46F859AA-F861-D609-F2E6-2E20B880643A}"/>
                    </a:ext>
                  </a:extLst>
                </p:cNvPr>
                <p:cNvSpPr/>
                <p:nvPr/>
              </p:nvSpPr>
              <p:spPr>
                <a:xfrm>
                  <a:off x="2145419" y="1808645"/>
                  <a:ext cx="92684" cy="73023"/>
                </a:xfrm>
                <a:custGeom>
                  <a:avLst/>
                  <a:gdLst>
                    <a:gd name="connsiteX0" fmla="*/ 12076 w 92684"/>
                    <a:gd name="connsiteY0" fmla="*/ 29324 h 73023"/>
                    <a:gd name="connsiteX1" fmla="*/ 0 w 92684"/>
                    <a:gd name="connsiteY1" fmla="*/ 41284 h 73023"/>
                    <a:gd name="connsiteX2" fmla="*/ 31738 w 92684"/>
                    <a:gd name="connsiteY2" fmla="*/ 73024 h 73023"/>
                    <a:gd name="connsiteX3" fmla="*/ 92685 w 92684"/>
                    <a:gd name="connsiteY3" fmla="*/ 12075 h 73023"/>
                    <a:gd name="connsiteX4" fmla="*/ 80730 w 92684"/>
                    <a:gd name="connsiteY4" fmla="*/ 0 h 73023"/>
                    <a:gd name="connsiteX5" fmla="*/ 31738 w 92684"/>
                    <a:gd name="connsiteY5" fmla="*/ 48989 h 73023"/>
                    <a:gd name="connsiteX6" fmla="*/ 12076 w 92684"/>
                    <a:gd name="connsiteY6" fmla="*/ 29324 h 730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2684" h="73023">
                      <a:moveTo>
                        <a:pt x="12076" y="29324"/>
                      </a:moveTo>
                      <a:lnTo>
                        <a:pt x="0" y="41284"/>
                      </a:lnTo>
                      <a:lnTo>
                        <a:pt x="31738" y="73024"/>
                      </a:lnTo>
                      <a:lnTo>
                        <a:pt x="92685" y="12075"/>
                      </a:lnTo>
                      <a:lnTo>
                        <a:pt x="80730" y="0"/>
                      </a:lnTo>
                      <a:lnTo>
                        <a:pt x="31738" y="48989"/>
                      </a:lnTo>
                      <a:lnTo>
                        <a:pt x="12076" y="29324"/>
                      </a:ln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72" name="Freeform: Shape 271">
                  <a:extLst>
                    <a:ext uri="{FF2B5EF4-FFF2-40B4-BE49-F238E27FC236}">
                      <a16:creationId xmlns:a16="http://schemas.microsoft.com/office/drawing/2014/main" id="{978A1FD9-E845-EABC-51F9-BE91923AA9B3}"/>
                    </a:ext>
                  </a:extLst>
                </p:cNvPr>
                <p:cNvSpPr/>
                <p:nvPr/>
              </p:nvSpPr>
              <p:spPr>
                <a:xfrm>
                  <a:off x="2154056" y="1897419"/>
                  <a:ext cx="68647" cy="68653"/>
                </a:xfrm>
                <a:custGeom>
                  <a:avLst/>
                  <a:gdLst>
                    <a:gd name="connsiteX0" fmla="*/ 68647 w 68647"/>
                    <a:gd name="connsiteY0" fmla="*/ 56579 h 68653"/>
                    <a:gd name="connsiteX1" fmla="*/ 46343 w 68647"/>
                    <a:gd name="connsiteY1" fmla="*/ 34384 h 68653"/>
                    <a:gd name="connsiteX2" fmla="*/ 68647 w 68647"/>
                    <a:gd name="connsiteY2" fmla="*/ 12075 h 68653"/>
                    <a:gd name="connsiteX3" fmla="*/ 56693 w 68647"/>
                    <a:gd name="connsiteY3" fmla="*/ 0 h 68653"/>
                    <a:gd name="connsiteX4" fmla="*/ 34381 w 68647"/>
                    <a:gd name="connsiteY4" fmla="*/ 22309 h 68653"/>
                    <a:gd name="connsiteX5" fmla="*/ 12070 w 68647"/>
                    <a:gd name="connsiteY5" fmla="*/ 0 h 68653"/>
                    <a:gd name="connsiteX6" fmla="*/ 0 w 68647"/>
                    <a:gd name="connsiteY6" fmla="*/ 12075 h 68653"/>
                    <a:gd name="connsiteX7" fmla="*/ 22305 w 68647"/>
                    <a:gd name="connsiteY7" fmla="*/ 34384 h 68653"/>
                    <a:gd name="connsiteX8" fmla="*/ 0 w 68647"/>
                    <a:gd name="connsiteY8" fmla="*/ 56579 h 68653"/>
                    <a:gd name="connsiteX9" fmla="*/ 12070 w 68647"/>
                    <a:gd name="connsiteY9" fmla="*/ 68653 h 68653"/>
                    <a:gd name="connsiteX10" fmla="*/ 34381 w 68647"/>
                    <a:gd name="connsiteY10" fmla="*/ 46344 h 68653"/>
                    <a:gd name="connsiteX11" fmla="*/ 56693 w 68647"/>
                    <a:gd name="connsiteY11" fmla="*/ 68653 h 68653"/>
                    <a:gd name="connsiteX12" fmla="*/ 68647 w 68647"/>
                    <a:gd name="connsiteY12" fmla="*/ 56579 h 686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68647" h="68653">
                      <a:moveTo>
                        <a:pt x="68647" y="56579"/>
                      </a:moveTo>
                      <a:lnTo>
                        <a:pt x="46343" y="34384"/>
                      </a:lnTo>
                      <a:lnTo>
                        <a:pt x="68647" y="12075"/>
                      </a:lnTo>
                      <a:lnTo>
                        <a:pt x="56693" y="0"/>
                      </a:lnTo>
                      <a:lnTo>
                        <a:pt x="34381" y="22309"/>
                      </a:lnTo>
                      <a:lnTo>
                        <a:pt x="12070" y="0"/>
                      </a:lnTo>
                      <a:lnTo>
                        <a:pt x="0" y="12075"/>
                      </a:lnTo>
                      <a:lnTo>
                        <a:pt x="22305" y="34384"/>
                      </a:lnTo>
                      <a:lnTo>
                        <a:pt x="0" y="56579"/>
                      </a:lnTo>
                      <a:lnTo>
                        <a:pt x="12070" y="68653"/>
                      </a:lnTo>
                      <a:lnTo>
                        <a:pt x="34381" y="46344"/>
                      </a:lnTo>
                      <a:lnTo>
                        <a:pt x="56693" y="68653"/>
                      </a:lnTo>
                      <a:lnTo>
                        <a:pt x="68647" y="56579"/>
                      </a:ln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73" name="Freeform: Shape 272">
                  <a:extLst>
                    <a:ext uri="{FF2B5EF4-FFF2-40B4-BE49-F238E27FC236}">
                      <a16:creationId xmlns:a16="http://schemas.microsoft.com/office/drawing/2014/main" id="{A520AA9F-2679-9DC7-66AC-EC1E03208B94}"/>
                    </a:ext>
                  </a:extLst>
                </p:cNvPr>
                <p:cNvSpPr/>
                <p:nvPr/>
              </p:nvSpPr>
              <p:spPr>
                <a:xfrm>
                  <a:off x="1983497" y="1910997"/>
                  <a:ext cx="115913" cy="66468"/>
                </a:xfrm>
                <a:custGeom>
                  <a:avLst/>
                  <a:gdLst>
                    <a:gd name="connsiteX0" fmla="*/ 115914 w 115913"/>
                    <a:gd name="connsiteY0" fmla="*/ 66468 h 66468"/>
                    <a:gd name="connsiteX1" fmla="*/ 115914 w 115913"/>
                    <a:gd name="connsiteY1" fmla="*/ 29209 h 66468"/>
                    <a:gd name="connsiteX2" fmla="*/ 107360 w 115913"/>
                    <a:gd name="connsiteY2" fmla="*/ 8555 h 66468"/>
                    <a:gd name="connsiteX3" fmla="*/ 86704 w 115913"/>
                    <a:gd name="connsiteY3" fmla="*/ 0 h 66468"/>
                    <a:gd name="connsiteX4" fmla="*/ 29209 w 115913"/>
                    <a:gd name="connsiteY4" fmla="*/ 0 h 66468"/>
                    <a:gd name="connsiteX5" fmla="*/ 8554 w 115913"/>
                    <a:gd name="connsiteY5" fmla="*/ 8555 h 66468"/>
                    <a:gd name="connsiteX6" fmla="*/ 0 w 115913"/>
                    <a:gd name="connsiteY6" fmla="*/ 29209 h 66468"/>
                    <a:gd name="connsiteX7" fmla="*/ 0 w 115913"/>
                    <a:gd name="connsiteY7" fmla="*/ 66468 h 66468"/>
                    <a:gd name="connsiteX8" fmla="*/ 16440 w 115913"/>
                    <a:gd name="connsiteY8" fmla="*/ 66468 h 66468"/>
                    <a:gd name="connsiteX9" fmla="*/ 16440 w 115913"/>
                    <a:gd name="connsiteY9" fmla="*/ 29209 h 66468"/>
                    <a:gd name="connsiteX10" fmla="*/ 17377 w 115913"/>
                    <a:gd name="connsiteY10" fmla="*/ 24500 h 66468"/>
                    <a:gd name="connsiteX11" fmla="*/ 20046 w 115913"/>
                    <a:gd name="connsiteY11" fmla="*/ 20508 h 66468"/>
                    <a:gd name="connsiteX12" fmla="*/ 24038 w 115913"/>
                    <a:gd name="connsiteY12" fmla="*/ 17841 h 66468"/>
                    <a:gd name="connsiteX13" fmla="*/ 28748 w 115913"/>
                    <a:gd name="connsiteY13" fmla="*/ 16905 h 66468"/>
                    <a:gd name="connsiteX14" fmla="*/ 86242 w 115913"/>
                    <a:gd name="connsiteY14" fmla="*/ 16905 h 66468"/>
                    <a:gd name="connsiteX15" fmla="*/ 90939 w 115913"/>
                    <a:gd name="connsiteY15" fmla="*/ 17843 h 66468"/>
                    <a:gd name="connsiteX16" fmla="*/ 94905 w 115913"/>
                    <a:gd name="connsiteY16" fmla="*/ 20515 h 66468"/>
                    <a:gd name="connsiteX17" fmla="*/ 97542 w 115913"/>
                    <a:gd name="connsiteY17" fmla="*/ 24509 h 66468"/>
                    <a:gd name="connsiteX18" fmla="*/ 98434 w 115913"/>
                    <a:gd name="connsiteY18" fmla="*/ 29209 h 66468"/>
                    <a:gd name="connsiteX19" fmla="*/ 98434 w 115913"/>
                    <a:gd name="connsiteY19" fmla="*/ 66468 h 66468"/>
                    <a:gd name="connsiteX20" fmla="*/ 115914 w 115913"/>
                    <a:gd name="connsiteY20" fmla="*/ 66468 h 664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115913" h="66468">
                      <a:moveTo>
                        <a:pt x="115914" y="66468"/>
                      </a:moveTo>
                      <a:lnTo>
                        <a:pt x="115914" y="29209"/>
                      </a:lnTo>
                      <a:cubicBezTo>
                        <a:pt x="115914" y="21462"/>
                        <a:pt x="112840" y="14033"/>
                        <a:pt x="107360" y="8555"/>
                      </a:cubicBezTo>
                      <a:cubicBezTo>
                        <a:pt x="101880" y="3078"/>
                        <a:pt x="94449" y="0"/>
                        <a:pt x="86704" y="0"/>
                      </a:cubicBezTo>
                      <a:lnTo>
                        <a:pt x="29209" y="0"/>
                      </a:lnTo>
                      <a:cubicBezTo>
                        <a:pt x="21458" y="0"/>
                        <a:pt x="14034" y="3078"/>
                        <a:pt x="8554" y="8555"/>
                      </a:cubicBezTo>
                      <a:cubicBezTo>
                        <a:pt x="3074" y="14033"/>
                        <a:pt x="0" y="21462"/>
                        <a:pt x="0" y="29209"/>
                      </a:cubicBezTo>
                      <a:lnTo>
                        <a:pt x="0" y="66468"/>
                      </a:lnTo>
                      <a:lnTo>
                        <a:pt x="16440" y="66468"/>
                      </a:lnTo>
                      <a:lnTo>
                        <a:pt x="16440" y="29209"/>
                      </a:lnTo>
                      <a:cubicBezTo>
                        <a:pt x="16440" y="27593"/>
                        <a:pt x="16761" y="25993"/>
                        <a:pt x="17377" y="24500"/>
                      </a:cubicBezTo>
                      <a:cubicBezTo>
                        <a:pt x="17999" y="23008"/>
                        <a:pt x="18904" y="21651"/>
                        <a:pt x="20046" y="20508"/>
                      </a:cubicBezTo>
                      <a:cubicBezTo>
                        <a:pt x="21188" y="19366"/>
                        <a:pt x="22542" y="18459"/>
                        <a:pt x="24038" y="17841"/>
                      </a:cubicBezTo>
                      <a:cubicBezTo>
                        <a:pt x="25533" y="17223"/>
                        <a:pt x="27130" y="16905"/>
                        <a:pt x="28748" y="16905"/>
                      </a:cubicBezTo>
                      <a:lnTo>
                        <a:pt x="86242" y="16905"/>
                      </a:lnTo>
                      <a:cubicBezTo>
                        <a:pt x="87853" y="16905"/>
                        <a:pt x="89451" y="17223"/>
                        <a:pt x="90939" y="17843"/>
                      </a:cubicBezTo>
                      <a:cubicBezTo>
                        <a:pt x="92422" y="18463"/>
                        <a:pt x="93769" y="19371"/>
                        <a:pt x="94905" y="20515"/>
                      </a:cubicBezTo>
                      <a:cubicBezTo>
                        <a:pt x="96041" y="21659"/>
                        <a:pt x="96933" y="23017"/>
                        <a:pt x="97542" y="24509"/>
                      </a:cubicBezTo>
                      <a:cubicBezTo>
                        <a:pt x="98146" y="26001"/>
                        <a:pt x="98454" y="27599"/>
                        <a:pt x="98434" y="29209"/>
                      </a:cubicBezTo>
                      <a:lnTo>
                        <a:pt x="98434" y="66468"/>
                      </a:lnTo>
                      <a:lnTo>
                        <a:pt x="115914" y="66468"/>
                      </a:ln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74" name="Freeform: Shape 273">
                  <a:extLst>
                    <a:ext uri="{FF2B5EF4-FFF2-40B4-BE49-F238E27FC236}">
                      <a16:creationId xmlns:a16="http://schemas.microsoft.com/office/drawing/2014/main" id="{BA365371-92A8-0C38-CA06-5D356A23EBC5}"/>
                    </a:ext>
                  </a:extLst>
                </p:cNvPr>
                <p:cNvSpPr/>
                <p:nvPr/>
              </p:nvSpPr>
              <p:spPr>
                <a:xfrm>
                  <a:off x="2001682" y="1818071"/>
                  <a:ext cx="79116" cy="79118"/>
                </a:xfrm>
                <a:custGeom>
                  <a:avLst/>
                  <a:gdLst>
                    <a:gd name="connsiteX0" fmla="*/ 39560 w 79116"/>
                    <a:gd name="connsiteY0" fmla="*/ 79118 h 79118"/>
                    <a:gd name="connsiteX1" fmla="*/ 61538 w 79116"/>
                    <a:gd name="connsiteY1" fmla="*/ 72451 h 79118"/>
                    <a:gd name="connsiteX2" fmla="*/ 76104 w 79116"/>
                    <a:gd name="connsiteY2" fmla="*/ 54698 h 79118"/>
                    <a:gd name="connsiteX3" fmla="*/ 78356 w 79116"/>
                    <a:gd name="connsiteY3" fmla="*/ 31841 h 79118"/>
                    <a:gd name="connsiteX4" fmla="*/ 67531 w 79116"/>
                    <a:gd name="connsiteY4" fmla="*/ 11587 h 79118"/>
                    <a:gd name="connsiteX5" fmla="*/ 47273 w 79116"/>
                    <a:gd name="connsiteY5" fmla="*/ 760 h 79118"/>
                    <a:gd name="connsiteX6" fmla="*/ 24423 w 79116"/>
                    <a:gd name="connsiteY6" fmla="*/ 3011 h 79118"/>
                    <a:gd name="connsiteX7" fmla="*/ 6667 w 79116"/>
                    <a:gd name="connsiteY7" fmla="*/ 17581 h 79118"/>
                    <a:gd name="connsiteX8" fmla="*/ 0 w 79116"/>
                    <a:gd name="connsiteY8" fmla="*/ 39559 h 79118"/>
                    <a:gd name="connsiteX9" fmla="*/ 11583 w 79116"/>
                    <a:gd name="connsiteY9" fmla="*/ 67531 h 79118"/>
                    <a:gd name="connsiteX10" fmla="*/ 39560 w 79116"/>
                    <a:gd name="connsiteY10" fmla="*/ 79118 h 79118"/>
                    <a:gd name="connsiteX11" fmla="*/ 39560 w 79116"/>
                    <a:gd name="connsiteY11" fmla="*/ 17020 h 79118"/>
                    <a:gd name="connsiteX12" fmla="*/ 52336 w 79116"/>
                    <a:gd name="connsiteY12" fmla="*/ 20896 h 79118"/>
                    <a:gd name="connsiteX13" fmla="*/ 60806 w 79116"/>
                    <a:gd name="connsiteY13" fmla="*/ 31218 h 79118"/>
                    <a:gd name="connsiteX14" fmla="*/ 62115 w 79116"/>
                    <a:gd name="connsiteY14" fmla="*/ 44506 h 79118"/>
                    <a:gd name="connsiteX15" fmla="*/ 55820 w 79116"/>
                    <a:gd name="connsiteY15" fmla="*/ 56282 h 79118"/>
                    <a:gd name="connsiteX16" fmla="*/ 44045 w 79116"/>
                    <a:gd name="connsiteY16" fmla="*/ 62576 h 79118"/>
                    <a:gd name="connsiteX17" fmla="*/ 30756 w 79116"/>
                    <a:gd name="connsiteY17" fmla="*/ 61268 h 79118"/>
                    <a:gd name="connsiteX18" fmla="*/ 20438 w 79116"/>
                    <a:gd name="connsiteY18" fmla="*/ 52797 h 79118"/>
                    <a:gd name="connsiteX19" fmla="*/ 16556 w 79116"/>
                    <a:gd name="connsiteY19" fmla="*/ 40019 h 79118"/>
                    <a:gd name="connsiteX20" fmla="*/ 23293 w 79116"/>
                    <a:gd name="connsiteY20" fmla="*/ 23756 h 79118"/>
                    <a:gd name="connsiteX21" fmla="*/ 39560 w 79116"/>
                    <a:gd name="connsiteY21" fmla="*/ 17020 h 791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79116" h="79118">
                      <a:moveTo>
                        <a:pt x="39560" y="79118"/>
                      </a:moveTo>
                      <a:cubicBezTo>
                        <a:pt x="47382" y="79118"/>
                        <a:pt x="55031" y="76798"/>
                        <a:pt x="61538" y="72451"/>
                      </a:cubicBezTo>
                      <a:cubicBezTo>
                        <a:pt x="68044" y="68104"/>
                        <a:pt x="73114" y="61926"/>
                        <a:pt x="76104" y="54698"/>
                      </a:cubicBezTo>
                      <a:cubicBezTo>
                        <a:pt x="79101" y="47469"/>
                        <a:pt x="79883" y="39515"/>
                        <a:pt x="78356" y="31841"/>
                      </a:cubicBezTo>
                      <a:cubicBezTo>
                        <a:pt x="76829" y="24168"/>
                        <a:pt x="73062" y="17119"/>
                        <a:pt x="67531" y="11587"/>
                      </a:cubicBezTo>
                      <a:cubicBezTo>
                        <a:pt x="62000" y="6054"/>
                        <a:pt x="54948" y="2287"/>
                        <a:pt x="47273" y="760"/>
                      </a:cubicBezTo>
                      <a:cubicBezTo>
                        <a:pt x="39605" y="-766"/>
                        <a:pt x="31648" y="17"/>
                        <a:pt x="24423" y="3011"/>
                      </a:cubicBezTo>
                      <a:cubicBezTo>
                        <a:pt x="17191" y="6005"/>
                        <a:pt x="11011" y="11076"/>
                        <a:pt x="6667" y="17581"/>
                      </a:cubicBezTo>
                      <a:cubicBezTo>
                        <a:pt x="2317" y="24087"/>
                        <a:pt x="0" y="31735"/>
                        <a:pt x="0" y="39559"/>
                      </a:cubicBezTo>
                      <a:cubicBezTo>
                        <a:pt x="0" y="50051"/>
                        <a:pt x="4165" y="60113"/>
                        <a:pt x="11583" y="67531"/>
                      </a:cubicBezTo>
                      <a:cubicBezTo>
                        <a:pt x="19007" y="74950"/>
                        <a:pt x="29068" y="79118"/>
                        <a:pt x="39560" y="79118"/>
                      </a:cubicBezTo>
                      <a:close/>
                      <a:moveTo>
                        <a:pt x="39560" y="17020"/>
                      </a:moveTo>
                      <a:cubicBezTo>
                        <a:pt x="44110" y="17020"/>
                        <a:pt x="48556" y="18369"/>
                        <a:pt x="52336" y="20896"/>
                      </a:cubicBezTo>
                      <a:cubicBezTo>
                        <a:pt x="56115" y="23423"/>
                        <a:pt x="59067" y="27015"/>
                        <a:pt x="60806" y="31218"/>
                      </a:cubicBezTo>
                      <a:cubicBezTo>
                        <a:pt x="62545" y="35420"/>
                        <a:pt x="63001" y="40045"/>
                        <a:pt x="62115" y="44506"/>
                      </a:cubicBezTo>
                      <a:cubicBezTo>
                        <a:pt x="61230" y="48967"/>
                        <a:pt x="59035" y="53066"/>
                        <a:pt x="55820" y="56282"/>
                      </a:cubicBezTo>
                      <a:cubicBezTo>
                        <a:pt x="52605" y="59499"/>
                        <a:pt x="48505" y="61689"/>
                        <a:pt x="44045" y="62576"/>
                      </a:cubicBezTo>
                      <a:cubicBezTo>
                        <a:pt x="39586" y="63464"/>
                        <a:pt x="34959" y="63009"/>
                        <a:pt x="30756" y="61268"/>
                      </a:cubicBezTo>
                      <a:cubicBezTo>
                        <a:pt x="26553" y="59527"/>
                        <a:pt x="22959" y="56579"/>
                        <a:pt x="20438" y="52797"/>
                      </a:cubicBezTo>
                      <a:cubicBezTo>
                        <a:pt x="17910" y="49015"/>
                        <a:pt x="16556" y="44568"/>
                        <a:pt x="16556" y="40019"/>
                      </a:cubicBezTo>
                      <a:cubicBezTo>
                        <a:pt x="16556" y="33919"/>
                        <a:pt x="18981" y="28069"/>
                        <a:pt x="23293" y="23756"/>
                      </a:cubicBezTo>
                      <a:cubicBezTo>
                        <a:pt x="27605" y="19443"/>
                        <a:pt x="33458" y="17020"/>
                        <a:pt x="39560" y="17020"/>
                      </a:cubicBez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</p:grpSp>
          <p:sp>
            <p:nvSpPr>
              <p:cNvPr id="266" name="TextBox 265">
                <a:extLst>
                  <a:ext uri="{FF2B5EF4-FFF2-40B4-BE49-F238E27FC236}">
                    <a16:creationId xmlns:a16="http://schemas.microsoft.com/office/drawing/2014/main" id="{24B5B9C6-FAE0-87EF-5DDF-4C6D34D3ED9B}"/>
                  </a:ext>
                </a:extLst>
              </p:cNvPr>
              <p:cNvSpPr txBox="1"/>
              <p:nvPr/>
            </p:nvSpPr>
            <p:spPr>
              <a:xfrm>
                <a:off x="1902414" y="2195256"/>
                <a:ext cx="444352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IAM</a:t>
                </a:r>
              </a:p>
            </p:txBody>
          </p:sp>
        </p:grpSp>
        <p:grpSp>
          <p:nvGrpSpPr>
            <p:cNvPr id="275" name="Graphic 3">
              <a:extLst>
                <a:ext uri="{FF2B5EF4-FFF2-40B4-BE49-F238E27FC236}">
                  <a16:creationId xmlns:a16="http://schemas.microsoft.com/office/drawing/2014/main" id="{BBD729E3-289E-319A-B43A-E73E7C7FCAE2}"/>
                </a:ext>
              </a:extLst>
            </p:cNvPr>
            <p:cNvGrpSpPr/>
            <p:nvPr/>
          </p:nvGrpSpPr>
          <p:grpSpPr>
            <a:xfrm>
              <a:off x="5717827" y="4597007"/>
              <a:ext cx="524576" cy="701396"/>
              <a:chOff x="1070008" y="1770586"/>
              <a:chExt cx="524576" cy="701396"/>
            </a:xfrm>
          </p:grpSpPr>
          <p:grpSp>
            <p:nvGrpSpPr>
              <p:cNvPr id="276" name="Graphic 3">
                <a:extLst>
                  <a:ext uri="{FF2B5EF4-FFF2-40B4-BE49-F238E27FC236}">
                    <a16:creationId xmlns:a16="http://schemas.microsoft.com/office/drawing/2014/main" id="{B26B09A2-0B57-131E-DE2C-9126FCF39230}"/>
                  </a:ext>
                </a:extLst>
              </p:cNvPr>
              <p:cNvGrpSpPr/>
              <p:nvPr/>
            </p:nvGrpSpPr>
            <p:grpSpPr>
              <a:xfrm>
                <a:off x="1081237" y="1770586"/>
                <a:ext cx="513347" cy="464303"/>
                <a:chOff x="1081237" y="1770586"/>
                <a:chExt cx="513347" cy="464303"/>
              </a:xfrm>
            </p:grpSpPr>
            <p:sp>
              <p:nvSpPr>
                <p:cNvPr id="278" name="Freeform: Shape 277">
                  <a:extLst>
                    <a:ext uri="{FF2B5EF4-FFF2-40B4-BE49-F238E27FC236}">
                      <a16:creationId xmlns:a16="http://schemas.microsoft.com/office/drawing/2014/main" id="{CF3D6F4F-726D-F036-D5AC-4CAFD2F1ED5A}"/>
                    </a:ext>
                  </a:extLst>
                </p:cNvPr>
                <p:cNvSpPr/>
                <p:nvPr/>
              </p:nvSpPr>
              <p:spPr>
                <a:xfrm>
                  <a:off x="1087840" y="1776254"/>
                  <a:ext cx="499822" cy="452173"/>
                </a:xfrm>
                <a:custGeom>
                  <a:avLst/>
                  <a:gdLst>
                    <a:gd name="connsiteX0" fmla="*/ 243057 w 499822"/>
                    <a:gd name="connsiteY0" fmla="*/ 448028 h 452173"/>
                    <a:gd name="connsiteX1" fmla="*/ 118789 w 499822"/>
                    <a:gd name="connsiteY1" fmla="*/ 286016 h 452173"/>
                    <a:gd name="connsiteX2" fmla="*/ 118789 w 499822"/>
                    <a:gd name="connsiteY2" fmla="*/ 256375 h 452173"/>
                    <a:gd name="connsiteX3" fmla="*/ 0 w 499822"/>
                    <a:gd name="connsiteY3" fmla="*/ 256375 h 452173"/>
                    <a:gd name="connsiteX4" fmla="*/ 1341 w 499822"/>
                    <a:gd name="connsiteY4" fmla="*/ 238320 h 452173"/>
                    <a:gd name="connsiteX5" fmla="*/ 21246 w 499822"/>
                    <a:gd name="connsiteY5" fmla="*/ 181028 h 452173"/>
                    <a:gd name="connsiteX6" fmla="*/ 66517 w 499822"/>
                    <a:gd name="connsiteY6" fmla="*/ 140725 h 452173"/>
                    <a:gd name="connsiteX7" fmla="*/ 76271 w 499822"/>
                    <a:gd name="connsiteY7" fmla="*/ 131941 h 452173"/>
                    <a:gd name="connsiteX8" fmla="*/ 81141 w 499822"/>
                    <a:gd name="connsiteY8" fmla="*/ 119742 h 452173"/>
                    <a:gd name="connsiteX9" fmla="*/ 99775 w 499822"/>
                    <a:gd name="connsiteY9" fmla="*/ 79699 h 452173"/>
                    <a:gd name="connsiteX10" fmla="*/ 134747 w 499822"/>
                    <a:gd name="connsiteY10" fmla="*/ 52768 h 452173"/>
                    <a:gd name="connsiteX11" fmla="*/ 172029 w 499822"/>
                    <a:gd name="connsiteY11" fmla="*/ 44960 h 452173"/>
                    <a:gd name="connsiteX12" fmla="*/ 180557 w 499822"/>
                    <a:gd name="connsiteY12" fmla="*/ 44960 h 452173"/>
                    <a:gd name="connsiteX13" fmla="*/ 183483 w 499822"/>
                    <a:gd name="connsiteY13" fmla="*/ 44960 h 452173"/>
                    <a:gd name="connsiteX14" fmla="*/ 194642 w 499822"/>
                    <a:gd name="connsiteY14" fmla="*/ 42733 h 452173"/>
                    <a:gd name="connsiteX15" fmla="*/ 203946 w 499822"/>
                    <a:gd name="connsiteY15" fmla="*/ 36177 h 452173"/>
                    <a:gd name="connsiteX16" fmla="*/ 249371 w 499822"/>
                    <a:gd name="connsiteY16" fmla="*/ 6419 h 452173"/>
                    <a:gd name="connsiteX17" fmla="*/ 303395 w 499822"/>
                    <a:gd name="connsiteY17" fmla="*/ 1199 h 452173"/>
                    <a:gd name="connsiteX18" fmla="*/ 353658 w 499822"/>
                    <a:gd name="connsiteY18" fmla="*/ 21711 h 452173"/>
                    <a:gd name="connsiteX19" fmla="*/ 388649 w 499822"/>
                    <a:gd name="connsiteY19" fmla="*/ 63259 h 452173"/>
                    <a:gd name="connsiteX20" fmla="*/ 396991 w 499822"/>
                    <a:gd name="connsiteY20" fmla="*/ 73858 h 452173"/>
                    <a:gd name="connsiteX21" fmla="*/ 409119 w 499822"/>
                    <a:gd name="connsiteY21" fmla="*/ 79729 h 452173"/>
                    <a:gd name="connsiteX22" fmla="*/ 445669 w 499822"/>
                    <a:gd name="connsiteY22" fmla="*/ 94856 h 452173"/>
                    <a:gd name="connsiteX23" fmla="*/ 495996 w 499822"/>
                    <a:gd name="connsiteY23" fmla="*/ 163576 h 452173"/>
                    <a:gd name="connsiteX24" fmla="*/ 485999 w 499822"/>
                    <a:gd name="connsiteY24" fmla="*/ 248201 h 452173"/>
                    <a:gd name="connsiteX25" fmla="*/ 481366 w 499822"/>
                    <a:gd name="connsiteY25" fmla="*/ 256862 h 452173"/>
                    <a:gd name="connsiteX26" fmla="*/ 382193 w 499822"/>
                    <a:gd name="connsiteY26" fmla="*/ 256862 h 452173"/>
                    <a:gd name="connsiteX27" fmla="*/ 382193 w 499822"/>
                    <a:gd name="connsiteY27" fmla="*/ 286138 h 452173"/>
                    <a:gd name="connsiteX28" fmla="*/ 257925 w 499822"/>
                    <a:gd name="connsiteY28" fmla="*/ 448516 h 452173"/>
                    <a:gd name="connsiteX29" fmla="*/ 250488 w 499822"/>
                    <a:gd name="connsiteY29" fmla="*/ 452174 h 452173"/>
                    <a:gd name="connsiteX30" fmla="*/ 243057 w 499822"/>
                    <a:gd name="connsiteY30" fmla="*/ 448028 h 4521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499822" h="452173">
                      <a:moveTo>
                        <a:pt x="243057" y="448028"/>
                      </a:moveTo>
                      <a:cubicBezTo>
                        <a:pt x="167762" y="410208"/>
                        <a:pt x="122562" y="351166"/>
                        <a:pt x="118789" y="286016"/>
                      </a:cubicBezTo>
                      <a:lnTo>
                        <a:pt x="118789" y="256375"/>
                      </a:lnTo>
                      <a:lnTo>
                        <a:pt x="0" y="256375"/>
                      </a:lnTo>
                      <a:lnTo>
                        <a:pt x="1341" y="238320"/>
                      </a:lnTo>
                      <a:cubicBezTo>
                        <a:pt x="2984" y="217834"/>
                        <a:pt x="9837" y="198112"/>
                        <a:pt x="21246" y="181028"/>
                      </a:cubicBezTo>
                      <a:cubicBezTo>
                        <a:pt x="32655" y="163945"/>
                        <a:pt x="48242" y="150071"/>
                        <a:pt x="66517" y="140725"/>
                      </a:cubicBezTo>
                      <a:cubicBezTo>
                        <a:pt x="70399" y="138585"/>
                        <a:pt x="73736" y="135580"/>
                        <a:pt x="76271" y="131941"/>
                      </a:cubicBezTo>
                      <a:cubicBezTo>
                        <a:pt x="78812" y="128302"/>
                        <a:pt x="80474" y="124129"/>
                        <a:pt x="81141" y="119742"/>
                      </a:cubicBezTo>
                      <a:cubicBezTo>
                        <a:pt x="84054" y="105091"/>
                        <a:pt x="90445" y="91356"/>
                        <a:pt x="99775" y="79699"/>
                      </a:cubicBezTo>
                      <a:cubicBezTo>
                        <a:pt x="109106" y="68042"/>
                        <a:pt x="121099" y="58805"/>
                        <a:pt x="134747" y="52768"/>
                      </a:cubicBezTo>
                      <a:cubicBezTo>
                        <a:pt x="146522" y="47673"/>
                        <a:pt x="159202" y="45017"/>
                        <a:pt x="172029" y="44960"/>
                      </a:cubicBezTo>
                      <a:cubicBezTo>
                        <a:pt x="174865" y="44779"/>
                        <a:pt x="177714" y="44779"/>
                        <a:pt x="180557" y="44960"/>
                      </a:cubicBezTo>
                      <a:lnTo>
                        <a:pt x="183483" y="44960"/>
                      </a:lnTo>
                      <a:cubicBezTo>
                        <a:pt x="187314" y="45005"/>
                        <a:pt x="191119" y="44245"/>
                        <a:pt x="194642" y="42733"/>
                      </a:cubicBezTo>
                      <a:cubicBezTo>
                        <a:pt x="198165" y="41221"/>
                        <a:pt x="201335" y="38987"/>
                        <a:pt x="203946" y="36177"/>
                      </a:cubicBezTo>
                      <a:cubicBezTo>
                        <a:pt x="216459" y="22723"/>
                        <a:pt x="232046" y="12512"/>
                        <a:pt x="249371" y="6419"/>
                      </a:cubicBezTo>
                      <a:cubicBezTo>
                        <a:pt x="266690" y="326"/>
                        <a:pt x="285229" y="-1465"/>
                        <a:pt x="303395" y="1199"/>
                      </a:cubicBezTo>
                      <a:cubicBezTo>
                        <a:pt x="321561" y="3862"/>
                        <a:pt x="338809" y="10901"/>
                        <a:pt x="353658" y="21711"/>
                      </a:cubicBezTo>
                      <a:cubicBezTo>
                        <a:pt x="368513" y="32521"/>
                        <a:pt x="380519" y="46779"/>
                        <a:pt x="388649" y="63259"/>
                      </a:cubicBezTo>
                      <a:cubicBezTo>
                        <a:pt x="390593" y="67380"/>
                        <a:pt x="393442" y="71004"/>
                        <a:pt x="396991" y="73858"/>
                      </a:cubicBezTo>
                      <a:cubicBezTo>
                        <a:pt x="400533" y="76711"/>
                        <a:pt x="404685" y="78719"/>
                        <a:pt x="409119" y="79729"/>
                      </a:cubicBezTo>
                      <a:cubicBezTo>
                        <a:pt x="422093" y="82589"/>
                        <a:pt x="434465" y="87709"/>
                        <a:pt x="445669" y="94856"/>
                      </a:cubicBezTo>
                      <a:cubicBezTo>
                        <a:pt x="470528" y="110559"/>
                        <a:pt x="488508" y="135117"/>
                        <a:pt x="495996" y="163576"/>
                      </a:cubicBezTo>
                      <a:cubicBezTo>
                        <a:pt x="503478" y="192034"/>
                        <a:pt x="499904" y="222276"/>
                        <a:pt x="485999" y="248201"/>
                      </a:cubicBezTo>
                      <a:lnTo>
                        <a:pt x="481366" y="256862"/>
                      </a:lnTo>
                      <a:lnTo>
                        <a:pt x="382193" y="256862"/>
                      </a:lnTo>
                      <a:lnTo>
                        <a:pt x="382193" y="286138"/>
                      </a:lnTo>
                      <a:cubicBezTo>
                        <a:pt x="378536" y="351654"/>
                        <a:pt x="333458" y="410695"/>
                        <a:pt x="257925" y="448516"/>
                      </a:cubicBezTo>
                      <a:lnTo>
                        <a:pt x="250488" y="452174"/>
                      </a:lnTo>
                      <a:lnTo>
                        <a:pt x="243057" y="44802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79" name="Freeform: Shape 278">
                  <a:extLst>
                    <a:ext uri="{FF2B5EF4-FFF2-40B4-BE49-F238E27FC236}">
                      <a16:creationId xmlns:a16="http://schemas.microsoft.com/office/drawing/2014/main" id="{5035E66E-722A-BD02-E04D-6EC7D5503804}"/>
                    </a:ext>
                  </a:extLst>
                </p:cNvPr>
                <p:cNvSpPr/>
                <p:nvPr/>
              </p:nvSpPr>
              <p:spPr>
                <a:xfrm>
                  <a:off x="1081237" y="1770586"/>
                  <a:ext cx="513347" cy="464303"/>
                </a:xfrm>
                <a:custGeom>
                  <a:avLst/>
                  <a:gdLst>
                    <a:gd name="connsiteX0" fmla="*/ 293744 w 513347"/>
                    <a:gd name="connsiteY0" fmla="*/ 12199 h 464303"/>
                    <a:gd name="connsiteX1" fmla="*/ 350321 w 513347"/>
                    <a:gd name="connsiteY1" fmla="*/ 28178 h 464303"/>
                    <a:gd name="connsiteX2" fmla="*/ 389868 w 513347"/>
                    <a:gd name="connsiteY2" fmla="*/ 71732 h 464303"/>
                    <a:gd name="connsiteX3" fmla="*/ 399898 w 513347"/>
                    <a:gd name="connsiteY3" fmla="*/ 84014 h 464303"/>
                    <a:gd name="connsiteX4" fmla="*/ 414239 w 513347"/>
                    <a:gd name="connsiteY4" fmla="*/ 90763 h 464303"/>
                    <a:gd name="connsiteX5" fmla="*/ 449083 w 513347"/>
                    <a:gd name="connsiteY5" fmla="*/ 105158 h 464303"/>
                    <a:gd name="connsiteX6" fmla="*/ 496920 w 513347"/>
                    <a:gd name="connsiteY6" fmla="*/ 170226 h 464303"/>
                    <a:gd name="connsiteX7" fmla="*/ 487340 w 513347"/>
                    <a:gd name="connsiteY7" fmla="*/ 250452 h 464303"/>
                    <a:gd name="connsiteX8" fmla="*/ 484414 w 513347"/>
                    <a:gd name="connsiteY8" fmla="*/ 255942 h 464303"/>
                    <a:gd name="connsiteX9" fmla="*/ 382681 w 513347"/>
                    <a:gd name="connsiteY9" fmla="*/ 255942 h 464303"/>
                    <a:gd name="connsiteX10" fmla="*/ 382681 w 513347"/>
                    <a:gd name="connsiteY10" fmla="*/ 291318 h 464303"/>
                    <a:gd name="connsiteX11" fmla="*/ 261698 w 513347"/>
                    <a:gd name="connsiteY11" fmla="*/ 448204 h 464303"/>
                    <a:gd name="connsiteX12" fmla="*/ 257072 w 513347"/>
                    <a:gd name="connsiteY12" fmla="*/ 450520 h 464303"/>
                    <a:gd name="connsiteX13" fmla="*/ 252317 w 513347"/>
                    <a:gd name="connsiteY13" fmla="*/ 448204 h 464303"/>
                    <a:gd name="connsiteX14" fmla="*/ 131462 w 513347"/>
                    <a:gd name="connsiteY14" fmla="*/ 291318 h 464303"/>
                    <a:gd name="connsiteX15" fmla="*/ 131462 w 513347"/>
                    <a:gd name="connsiteY15" fmla="*/ 256185 h 464303"/>
                    <a:gd name="connsiteX16" fmla="*/ 13161 w 513347"/>
                    <a:gd name="connsiteY16" fmla="*/ 256185 h 464303"/>
                    <a:gd name="connsiteX17" fmla="*/ 14008 w 513347"/>
                    <a:gd name="connsiteY17" fmla="*/ 244962 h 464303"/>
                    <a:gd name="connsiteX18" fmla="*/ 32322 w 513347"/>
                    <a:gd name="connsiteY18" fmla="*/ 190250 h 464303"/>
                    <a:gd name="connsiteX19" fmla="*/ 74929 w 513347"/>
                    <a:gd name="connsiteY19" fmla="*/ 151393 h 464303"/>
                    <a:gd name="connsiteX20" fmla="*/ 86955 w 513347"/>
                    <a:gd name="connsiteY20" fmla="*/ 141298 h 464303"/>
                    <a:gd name="connsiteX21" fmla="*/ 93448 w 513347"/>
                    <a:gd name="connsiteY21" fmla="*/ 126995 h 464303"/>
                    <a:gd name="connsiteX22" fmla="*/ 110748 w 513347"/>
                    <a:gd name="connsiteY22" fmla="*/ 89564 h 464303"/>
                    <a:gd name="connsiteX23" fmla="*/ 143397 w 513347"/>
                    <a:gd name="connsiteY23" fmla="*/ 64412 h 464303"/>
                    <a:gd name="connsiteX24" fmla="*/ 178247 w 513347"/>
                    <a:gd name="connsiteY24" fmla="*/ 57093 h 464303"/>
                    <a:gd name="connsiteX25" fmla="*/ 186287 w 513347"/>
                    <a:gd name="connsiteY25" fmla="*/ 57093 h 464303"/>
                    <a:gd name="connsiteX26" fmla="*/ 189817 w 513347"/>
                    <a:gd name="connsiteY26" fmla="*/ 57093 h 464303"/>
                    <a:gd name="connsiteX27" fmla="*/ 203093 w 513347"/>
                    <a:gd name="connsiteY27" fmla="*/ 54203 h 464303"/>
                    <a:gd name="connsiteX28" fmla="*/ 214188 w 513347"/>
                    <a:gd name="connsiteY28" fmla="*/ 46357 h 464303"/>
                    <a:gd name="connsiteX29" fmla="*/ 250392 w 513347"/>
                    <a:gd name="connsiteY29" fmla="*/ 20933 h 464303"/>
                    <a:gd name="connsiteX30" fmla="*/ 293744 w 513347"/>
                    <a:gd name="connsiteY30" fmla="*/ 12199 h 464303"/>
                    <a:gd name="connsiteX31" fmla="*/ 293744 w 513347"/>
                    <a:gd name="connsiteY31" fmla="*/ 0 h 464303"/>
                    <a:gd name="connsiteX32" fmla="*/ 245958 w 513347"/>
                    <a:gd name="connsiteY32" fmla="*/ 10012 h 464303"/>
                    <a:gd name="connsiteX33" fmla="*/ 206148 w 513347"/>
                    <a:gd name="connsiteY33" fmla="*/ 38306 h 464303"/>
                    <a:gd name="connsiteX34" fmla="*/ 198877 w 513347"/>
                    <a:gd name="connsiteY34" fmla="*/ 43390 h 464303"/>
                    <a:gd name="connsiteX35" fmla="*/ 190182 w 513347"/>
                    <a:gd name="connsiteY35" fmla="*/ 45137 h 464303"/>
                    <a:gd name="connsiteX36" fmla="*/ 187750 w 513347"/>
                    <a:gd name="connsiteY36" fmla="*/ 45137 h 464303"/>
                    <a:gd name="connsiteX37" fmla="*/ 178613 w 513347"/>
                    <a:gd name="connsiteY37" fmla="*/ 45137 h 464303"/>
                    <a:gd name="connsiteX38" fmla="*/ 115939 w 513347"/>
                    <a:gd name="connsiteY38" fmla="*/ 67696 h 464303"/>
                    <a:gd name="connsiteX39" fmla="*/ 81751 w 513347"/>
                    <a:gd name="connsiteY39" fmla="*/ 124921 h 464303"/>
                    <a:gd name="connsiteX40" fmla="*/ 77490 w 513347"/>
                    <a:gd name="connsiteY40" fmla="*/ 134364 h 464303"/>
                    <a:gd name="connsiteX41" fmla="*/ 69565 w 513347"/>
                    <a:gd name="connsiteY41" fmla="*/ 141024 h 464303"/>
                    <a:gd name="connsiteX42" fmla="*/ 22382 w 513347"/>
                    <a:gd name="connsiteY42" fmla="*/ 183721 h 464303"/>
                    <a:gd name="connsiteX43" fmla="*/ 1829 w 513347"/>
                    <a:gd name="connsiteY43" fmla="*/ 243986 h 464303"/>
                    <a:gd name="connsiteX44" fmla="*/ 975 w 513347"/>
                    <a:gd name="connsiteY44" fmla="*/ 255209 h 464303"/>
                    <a:gd name="connsiteX45" fmla="*/ 0 w 513347"/>
                    <a:gd name="connsiteY45" fmla="*/ 268385 h 464303"/>
                    <a:gd name="connsiteX46" fmla="*/ 119276 w 513347"/>
                    <a:gd name="connsiteY46" fmla="*/ 268385 h 464303"/>
                    <a:gd name="connsiteX47" fmla="*/ 119276 w 513347"/>
                    <a:gd name="connsiteY47" fmla="*/ 290952 h 464303"/>
                    <a:gd name="connsiteX48" fmla="*/ 119276 w 513347"/>
                    <a:gd name="connsiteY48" fmla="*/ 291806 h 464303"/>
                    <a:gd name="connsiteX49" fmla="*/ 246959 w 513347"/>
                    <a:gd name="connsiteY49" fmla="*/ 459305 h 464303"/>
                    <a:gd name="connsiteX50" fmla="*/ 251592 w 513347"/>
                    <a:gd name="connsiteY50" fmla="*/ 461621 h 464303"/>
                    <a:gd name="connsiteX51" fmla="*/ 257072 w 513347"/>
                    <a:gd name="connsiteY51" fmla="*/ 464303 h 464303"/>
                    <a:gd name="connsiteX52" fmla="*/ 262552 w 513347"/>
                    <a:gd name="connsiteY52" fmla="*/ 461621 h 464303"/>
                    <a:gd name="connsiteX53" fmla="*/ 267184 w 513347"/>
                    <a:gd name="connsiteY53" fmla="*/ 459305 h 464303"/>
                    <a:gd name="connsiteX54" fmla="*/ 394867 w 513347"/>
                    <a:gd name="connsiteY54" fmla="*/ 292172 h 464303"/>
                    <a:gd name="connsiteX55" fmla="*/ 394867 w 513347"/>
                    <a:gd name="connsiteY55" fmla="*/ 268385 h 464303"/>
                    <a:gd name="connsiteX56" fmla="*/ 492332 w 513347"/>
                    <a:gd name="connsiteY56" fmla="*/ 268385 h 464303"/>
                    <a:gd name="connsiteX57" fmla="*/ 495746 w 513347"/>
                    <a:gd name="connsiteY57" fmla="*/ 262041 h 464303"/>
                    <a:gd name="connsiteX58" fmla="*/ 498672 w 513347"/>
                    <a:gd name="connsiteY58" fmla="*/ 256552 h 464303"/>
                    <a:gd name="connsiteX59" fmla="*/ 509247 w 513347"/>
                    <a:gd name="connsiteY59" fmla="*/ 167119 h 464303"/>
                    <a:gd name="connsiteX60" fmla="*/ 455660 w 513347"/>
                    <a:gd name="connsiteY60" fmla="*/ 94788 h 464303"/>
                    <a:gd name="connsiteX61" fmla="*/ 416922 w 513347"/>
                    <a:gd name="connsiteY61" fmla="*/ 78930 h 464303"/>
                    <a:gd name="connsiteX62" fmla="*/ 407489 w 513347"/>
                    <a:gd name="connsiteY62" fmla="*/ 74597 h 464303"/>
                    <a:gd name="connsiteX63" fmla="*/ 400713 w 513347"/>
                    <a:gd name="connsiteY63" fmla="*/ 66730 h 464303"/>
                    <a:gd name="connsiteX64" fmla="*/ 356770 w 513347"/>
                    <a:gd name="connsiteY64" fmla="*/ 18026 h 464303"/>
                    <a:gd name="connsiteX65" fmla="*/ 293744 w 513347"/>
                    <a:gd name="connsiteY65" fmla="*/ 0 h 4643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</a:cxnLst>
                  <a:rect l="l" t="t" r="r" b="b"/>
                  <a:pathLst>
                    <a:path w="513347" h="464303">
                      <a:moveTo>
                        <a:pt x="293744" y="12199"/>
                      </a:moveTo>
                      <a:cubicBezTo>
                        <a:pt x="313726" y="12117"/>
                        <a:pt x="333329" y="17653"/>
                        <a:pt x="350321" y="28178"/>
                      </a:cubicBezTo>
                      <a:cubicBezTo>
                        <a:pt x="367319" y="38703"/>
                        <a:pt x="381019" y="53793"/>
                        <a:pt x="389868" y="71732"/>
                      </a:cubicBezTo>
                      <a:cubicBezTo>
                        <a:pt x="392255" y="76524"/>
                        <a:pt x="395682" y="80721"/>
                        <a:pt x="399898" y="84014"/>
                      </a:cubicBezTo>
                      <a:cubicBezTo>
                        <a:pt x="404114" y="87307"/>
                        <a:pt x="409016" y="89613"/>
                        <a:pt x="414239" y="90763"/>
                      </a:cubicBezTo>
                      <a:cubicBezTo>
                        <a:pt x="426585" y="93548"/>
                        <a:pt x="438367" y="98416"/>
                        <a:pt x="449083" y="105158"/>
                      </a:cubicBezTo>
                      <a:cubicBezTo>
                        <a:pt x="472710" y="119971"/>
                        <a:pt x="489817" y="143237"/>
                        <a:pt x="496920" y="170226"/>
                      </a:cubicBezTo>
                      <a:cubicBezTo>
                        <a:pt x="504030" y="197215"/>
                        <a:pt x="500604" y="225902"/>
                        <a:pt x="487340" y="250452"/>
                      </a:cubicBezTo>
                      <a:lnTo>
                        <a:pt x="484414" y="255942"/>
                      </a:lnTo>
                      <a:lnTo>
                        <a:pt x="382681" y="255942"/>
                      </a:lnTo>
                      <a:lnTo>
                        <a:pt x="382681" y="291318"/>
                      </a:lnTo>
                      <a:cubicBezTo>
                        <a:pt x="379152" y="354267"/>
                        <a:pt x="335043" y="411480"/>
                        <a:pt x="261698" y="448204"/>
                      </a:cubicBezTo>
                      <a:lnTo>
                        <a:pt x="257072" y="450520"/>
                      </a:lnTo>
                      <a:lnTo>
                        <a:pt x="252317" y="448204"/>
                      </a:lnTo>
                      <a:cubicBezTo>
                        <a:pt x="179216" y="411602"/>
                        <a:pt x="134991" y="354267"/>
                        <a:pt x="131462" y="291318"/>
                      </a:cubicBezTo>
                      <a:lnTo>
                        <a:pt x="131462" y="256185"/>
                      </a:lnTo>
                      <a:lnTo>
                        <a:pt x="13161" y="256185"/>
                      </a:lnTo>
                      <a:lnTo>
                        <a:pt x="14008" y="244962"/>
                      </a:lnTo>
                      <a:cubicBezTo>
                        <a:pt x="15356" y="225460"/>
                        <a:pt x="21663" y="206626"/>
                        <a:pt x="32322" y="190250"/>
                      </a:cubicBezTo>
                      <a:cubicBezTo>
                        <a:pt x="42986" y="173873"/>
                        <a:pt x="57649" y="160497"/>
                        <a:pt x="74929" y="151393"/>
                      </a:cubicBezTo>
                      <a:cubicBezTo>
                        <a:pt x="79639" y="148970"/>
                        <a:pt x="83746" y="145521"/>
                        <a:pt x="86955" y="141298"/>
                      </a:cubicBezTo>
                      <a:cubicBezTo>
                        <a:pt x="90157" y="137076"/>
                        <a:pt x="92377" y="132188"/>
                        <a:pt x="93448" y="126995"/>
                      </a:cubicBezTo>
                      <a:cubicBezTo>
                        <a:pt x="96118" y="113303"/>
                        <a:pt x="102054" y="100461"/>
                        <a:pt x="110748" y="89564"/>
                      </a:cubicBezTo>
                      <a:cubicBezTo>
                        <a:pt x="119450" y="78666"/>
                        <a:pt x="130653" y="70037"/>
                        <a:pt x="143397" y="64412"/>
                      </a:cubicBezTo>
                      <a:cubicBezTo>
                        <a:pt x="154396" y="59620"/>
                        <a:pt x="166254" y="57129"/>
                        <a:pt x="178247" y="57093"/>
                      </a:cubicBezTo>
                      <a:lnTo>
                        <a:pt x="186287" y="57093"/>
                      </a:lnTo>
                      <a:lnTo>
                        <a:pt x="189817" y="57093"/>
                      </a:lnTo>
                      <a:cubicBezTo>
                        <a:pt x="194392" y="57030"/>
                        <a:pt x="198903" y="56047"/>
                        <a:pt x="203093" y="54203"/>
                      </a:cubicBezTo>
                      <a:cubicBezTo>
                        <a:pt x="207277" y="52359"/>
                        <a:pt x="211050" y="49691"/>
                        <a:pt x="214188" y="46357"/>
                      </a:cubicBezTo>
                      <a:cubicBezTo>
                        <a:pt x="224371" y="35469"/>
                        <a:pt x="236698" y="26812"/>
                        <a:pt x="250392" y="20933"/>
                      </a:cubicBezTo>
                      <a:cubicBezTo>
                        <a:pt x="264085" y="15054"/>
                        <a:pt x="278844" y="12080"/>
                        <a:pt x="293744" y="12199"/>
                      </a:cubicBezTo>
                      <a:close/>
                      <a:moveTo>
                        <a:pt x="293744" y="0"/>
                      </a:moveTo>
                      <a:cubicBezTo>
                        <a:pt x="277297" y="13"/>
                        <a:pt x="261031" y="3421"/>
                        <a:pt x="245958" y="10012"/>
                      </a:cubicBezTo>
                      <a:cubicBezTo>
                        <a:pt x="230884" y="16604"/>
                        <a:pt x="217332" y="26235"/>
                        <a:pt x="206148" y="38306"/>
                      </a:cubicBezTo>
                      <a:cubicBezTo>
                        <a:pt x="204101" y="40484"/>
                        <a:pt x="201624" y="42214"/>
                        <a:pt x="198877" y="43390"/>
                      </a:cubicBezTo>
                      <a:cubicBezTo>
                        <a:pt x="196131" y="44566"/>
                        <a:pt x="193173" y="45160"/>
                        <a:pt x="190182" y="45137"/>
                      </a:cubicBezTo>
                      <a:lnTo>
                        <a:pt x="187750" y="45137"/>
                      </a:lnTo>
                      <a:cubicBezTo>
                        <a:pt x="184702" y="44955"/>
                        <a:pt x="181654" y="44955"/>
                        <a:pt x="178613" y="45137"/>
                      </a:cubicBezTo>
                      <a:cubicBezTo>
                        <a:pt x="155743" y="45179"/>
                        <a:pt x="133599" y="53151"/>
                        <a:pt x="115939" y="67696"/>
                      </a:cubicBezTo>
                      <a:cubicBezTo>
                        <a:pt x="98280" y="82241"/>
                        <a:pt x="86197" y="102463"/>
                        <a:pt x="81751" y="124921"/>
                      </a:cubicBezTo>
                      <a:cubicBezTo>
                        <a:pt x="81058" y="128348"/>
                        <a:pt x="79601" y="131576"/>
                        <a:pt x="77490" y="134364"/>
                      </a:cubicBezTo>
                      <a:cubicBezTo>
                        <a:pt x="75385" y="137151"/>
                        <a:pt x="72677" y="139428"/>
                        <a:pt x="69565" y="141024"/>
                      </a:cubicBezTo>
                      <a:cubicBezTo>
                        <a:pt x="50475" y="151013"/>
                        <a:pt x="34234" y="165707"/>
                        <a:pt x="22382" y="183721"/>
                      </a:cubicBezTo>
                      <a:cubicBezTo>
                        <a:pt x="10530" y="201736"/>
                        <a:pt x="3459" y="222476"/>
                        <a:pt x="1829" y="243986"/>
                      </a:cubicBezTo>
                      <a:lnTo>
                        <a:pt x="975" y="255209"/>
                      </a:lnTo>
                      <a:lnTo>
                        <a:pt x="0" y="268385"/>
                      </a:lnTo>
                      <a:lnTo>
                        <a:pt x="119276" y="268385"/>
                      </a:lnTo>
                      <a:lnTo>
                        <a:pt x="119276" y="290952"/>
                      </a:lnTo>
                      <a:lnTo>
                        <a:pt x="119276" y="291806"/>
                      </a:lnTo>
                      <a:cubicBezTo>
                        <a:pt x="123178" y="359638"/>
                        <a:pt x="169597" y="420509"/>
                        <a:pt x="246959" y="459305"/>
                      </a:cubicBezTo>
                      <a:lnTo>
                        <a:pt x="251592" y="461621"/>
                      </a:lnTo>
                      <a:lnTo>
                        <a:pt x="257072" y="464303"/>
                      </a:lnTo>
                      <a:lnTo>
                        <a:pt x="262552" y="461621"/>
                      </a:lnTo>
                      <a:lnTo>
                        <a:pt x="267184" y="459305"/>
                      </a:lnTo>
                      <a:cubicBezTo>
                        <a:pt x="344546" y="420509"/>
                        <a:pt x="391087" y="359516"/>
                        <a:pt x="394867" y="292172"/>
                      </a:cubicBezTo>
                      <a:lnTo>
                        <a:pt x="394867" y="268385"/>
                      </a:lnTo>
                      <a:lnTo>
                        <a:pt x="492332" y="268385"/>
                      </a:lnTo>
                      <a:lnTo>
                        <a:pt x="495746" y="262041"/>
                      </a:lnTo>
                      <a:lnTo>
                        <a:pt x="498672" y="256552"/>
                      </a:lnTo>
                      <a:cubicBezTo>
                        <a:pt x="513456" y="229183"/>
                        <a:pt x="517242" y="197190"/>
                        <a:pt x="509247" y="167119"/>
                      </a:cubicBezTo>
                      <a:cubicBezTo>
                        <a:pt x="501252" y="137048"/>
                        <a:pt x="482085" y="111173"/>
                        <a:pt x="455660" y="94788"/>
                      </a:cubicBezTo>
                      <a:cubicBezTo>
                        <a:pt x="443789" y="87238"/>
                        <a:pt x="430673" y="81868"/>
                        <a:pt x="416922" y="78930"/>
                      </a:cubicBezTo>
                      <a:cubicBezTo>
                        <a:pt x="413501" y="78180"/>
                        <a:pt x="410286" y="76702"/>
                        <a:pt x="407489" y="74597"/>
                      </a:cubicBezTo>
                      <a:cubicBezTo>
                        <a:pt x="404691" y="72492"/>
                        <a:pt x="402381" y="69809"/>
                        <a:pt x="400713" y="66730"/>
                      </a:cubicBezTo>
                      <a:cubicBezTo>
                        <a:pt x="390908" y="46697"/>
                        <a:pt x="375687" y="29823"/>
                        <a:pt x="356770" y="18026"/>
                      </a:cubicBezTo>
                      <a:cubicBezTo>
                        <a:pt x="337860" y="6229"/>
                        <a:pt x="316023" y="-17"/>
                        <a:pt x="293744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80" name="Freeform: Shape 279">
                  <a:extLst>
                    <a:ext uri="{FF2B5EF4-FFF2-40B4-BE49-F238E27FC236}">
                      <a16:creationId xmlns:a16="http://schemas.microsoft.com/office/drawing/2014/main" id="{8455A0DE-31B4-3FDF-6EEB-1A6C6F7F2D59}"/>
                    </a:ext>
                  </a:extLst>
                </p:cNvPr>
                <p:cNvSpPr/>
                <p:nvPr/>
              </p:nvSpPr>
              <p:spPr>
                <a:xfrm>
                  <a:off x="1276162" y="1952355"/>
                  <a:ext cx="121835" cy="121992"/>
                </a:xfrm>
                <a:custGeom>
                  <a:avLst/>
                  <a:gdLst>
                    <a:gd name="connsiteX0" fmla="*/ 0 w 121835"/>
                    <a:gd name="connsiteY0" fmla="*/ 60997 h 121992"/>
                    <a:gd name="connsiteX1" fmla="*/ 10267 w 121835"/>
                    <a:gd name="connsiteY1" fmla="*/ 94886 h 121992"/>
                    <a:gd name="connsiteX2" fmla="*/ 37609 w 121835"/>
                    <a:gd name="connsiteY2" fmla="*/ 117352 h 121992"/>
                    <a:gd name="connsiteX3" fmla="*/ 72806 w 121835"/>
                    <a:gd name="connsiteY3" fmla="*/ 120823 h 121992"/>
                    <a:gd name="connsiteX4" fmla="*/ 103991 w 121835"/>
                    <a:gd name="connsiteY4" fmla="*/ 104127 h 121992"/>
                    <a:gd name="connsiteX5" fmla="*/ 120662 w 121835"/>
                    <a:gd name="connsiteY5" fmla="*/ 72897 h 121992"/>
                    <a:gd name="connsiteX6" fmla="*/ 117197 w 121835"/>
                    <a:gd name="connsiteY6" fmla="*/ 37654 h 121992"/>
                    <a:gd name="connsiteX7" fmla="*/ 94764 w 121835"/>
                    <a:gd name="connsiteY7" fmla="*/ 10280 h 121992"/>
                    <a:gd name="connsiteX8" fmla="*/ 60922 w 121835"/>
                    <a:gd name="connsiteY8" fmla="*/ 0 h 121992"/>
                    <a:gd name="connsiteX9" fmla="*/ 17845 w 121835"/>
                    <a:gd name="connsiteY9" fmla="*/ 17865 h 121992"/>
                    <a:gd name="connsiteX10" fmla="*/ 0 w 121835"/>
                    <a:gd name="connsiteY10" fmla="*/ 60997 h 121992"/>
                    <a:gd name="connsiteX11" fmla="*/ 101245 w 121835"/>
                    <a:gd name="connsiteY11" fmla="*/ 60997 h 121992"/>
                    <a:gd name="connsiteX12" fmla="*/ 94462 w 121835"/>
                    <a:gd name="connsiteY12" fmla="*/ 83375 h 121992"/>
                    <a:gd name="connsiteX13" fmla="*/ 76399 w 121835"/>
                    <a:gd name="connsiteY13" fmla="*/ 98204 h 121992"/>
                    <a:gd name="connsiteX14" fmla="*/ 53151 w 121835"/>
                    <a:gd name="connsiteY14" fmla="*/ 100469 h 121992"/>
                    <a:gd name="connsiteX15" fmla="*/ 32565 w 121835"/>
                    <a:gd name="connsiteY15" fmla="*/ 89419 h 121992"/>
                    <a:gd name="connsiteX16" fmla="*/ 21593 w 121835"/>
                    <a:gd name="connsiteY16" fmla="*/ 68775 h 121992"/>
                    <a:gd name="connsiteX17" fmla="*/ 23928 w 121835"/>
                    <a:gd name="connsiteY17" fmla="*/ 45506 h 121992"/>
                    <a:gd name="connsiteX18" fmla="*/ 38790 w 121835"/>
                    <a:gd name="connsiteY18" fmla="*/ 27464 h 121992"/>
                    <a:gd name="connsiteX19" fmla="*/ 61159 w 121835"/>
                    <a:gd name="connsiteY19" fmla="*/ 20739 h 121992"/>
                    <a:gd name="connsiteX20" fmla="*/ 76662 w 121835"/>
                    <a:gd name="connsiteY20" fmla="*/ 23697 h 121992"/>
                    <a:gd name="connsiteX21" fmla="*/ 89829 w 121835"/>
                    <a:gd name="connsiteY21" fmla="*/ 32400 h 121992"/>
                    <a:gd name="connsiteX22" fmla="*/ 98640 w 121835"/>
                    <a:gd name="connsiteY22" fmla="*/ 45506 h 121992"/>
                    <a:gd name="connsiteX23" fmla="*/ 101733 w 121835"/>
                    <a:gd name="connsiteY23" fmla="*/ 60997 h 121992"/>
                    <a:gd name="connsiteX24" fmla="*/ 101245 w 121835"/>
                    <a:gd name="connsiteY24" fmla="*/ 60997 h 1219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121835" h="121992">
                      <a:moveTo>
                        <a:pt x="0" y="60997"/>
                      </a:moveTo>
                      <a:cubicBezTo>
                        <a:pt x="0" y="73060"/>
                        <a:pt x="3574" y="84854"/>
                        <a:pt x="10267" y="94886"/>
                      </a:cubicBezTo>
                      <a:cubicBezTo>
                        <a:pt x="16960" y="104916"/>
                        <a:pt x="26476" y="112732"/>
                        <a:pt x="37609" y="117352"/>
                      </a:cubicBezTo>
                      <a:cubicBezTo>
                        <a:pt x="48736" y="121966"/>
                        <a:pt x="60986" y="123172"/>
                        <a:pt x="72806" y="120823"/>
                      </a:cubicBezTo>
                      <a:cubicBezTo>
                        <a:pt x="84619" y="118468"/>
                        <a:pt x="95476" y="112661"/>
                        <a:pt x="103991" y="104127"/>
                      </a:cubicBezTo>
                      <a:cubicBezTo>
                        <a:pt x="112513" y="95599"/>
                        <a:pt x="118314" y="84729"/>
                        <a:pt x="120662" y="72897"/>
                      </a:cubicBezTo>
                      <a:cubicBezTo>
                        <a:pt x="123017" y="61064"/>
                        <a:pt x="121811" y="48800"/>
                        <a:pt x="117197" y="37654"/>
                      </a:cubicBezTo>
                      <a:cubicBezTo>
                        <a:pt x="112590" y="26509"/>
                        <a:pt x="104781" y="16982"/>
                        <a:pt x="94764" y="10280"/>
                      </a:cubicBezTo>
                      <a:cubicBezTo>
                        <a:pt x="84747" y="3577"/>
                        <a:pt x="72966" y="0"/>
                        <a:pt x="60922" y="0"/>
                      </a:cubicBezTo>
                      <a:cubicBezTo>
                        <a:pt x="44764" y="0"/>
                        <a:pt x="29267" y="6426"/>
                        <a:pt x="17845" y="17865"/>
                      </a:cubicBezTo>
                      <a:cubicBezTo>
                        <a:pt x="6417" y="29304"/>
                        <a:pt x="0" y="44819"/>
                        <a:pt x="0" y="60997"/>
                      </a:cubicBezTo>
                      <a:close/>
                      <a:moveTo>
                        <a:pt x="101245" y="60997"/>
                      </a:moveTo>
                      <a:cubicBezTo>
                        <a:pt x="101245" y="68964"/>
                        <a:pt x="98884" y="76752"/>
                        <a:pt x="94462" y="83375"/>
                      </a:cubicBezTo>
                      <a:cubicBezTo>
                        <a:pt x="90041" y="89998"/>
                        <a:pt x="83753" y="95156"/>
                        <a:pt x="76399" y="98204"/>
                      </a:cubicBezTo>
                      <a:cubicBezTo>
                        <a:pt x="69045" y="101246"/>
                        <a:pt x="60954" y="102035"/>
                        <a:pt x="53151" y="100469"/>
                      </a:cubicBezTo>
                      <a:cubicBezTo>
                        <a:pt x="45348" y="98910"/>
                        <a:pt x="38187" y="95060"/>
                        <a:pt x="32565" y="89419"/>
                      </a:cubicBezTo>
                      <a:cubicBezTo>
                        <a:pt x="26951" y="83777"/>
                        <a:pt x="23133" y="76593"/>
                        <a:pt x="21593" y="68775"/>
                      </a:cubicBezTo>
                      <a:cubicBezTo>
                        <a:pt x="20053" y="60958"/>
                        <a:pt x="20868" y="52860"/>
                        <a:pt x="23928" y="45506"/>
                      </a:cubicBezTo>
                      <a:cubicBezTo>
                        <a:pt x="26989" y="38152"/>
                        <a:pt x="32161" y="31873"/>
                        <a:pt x="38790" y="27464"/>
                      </a:cubicBezTo>
                      <a:cubicBezTo>
                        <a:pt x="45418" y="23055"/>
                        <a:pt x="53202" y="20715"/>
                        <a:pt x="61159" y="20739"/>
                      </a:cubicBezTo>
                      <a:cubicBezTo>
                        <a:pt x="66472" y="20690"/>
                        <a:pt x="71740" y="21696"/>
                        <a:pt x="76662" y="23697"/>
                      </a:cubicBezTo>
                      <a:cubicBezTo>
                        <a:pt x="81584" y="25699"/>
                        <a:pt x="86056" y="28657"/>
                        <a:pt x="89829" y="32400"/>
                      </a:cubicBezTo>
                      <a:cubicBezTo>
                        <a:pt x="93603" y="36143"/>
                        <a:pt x="96593" y="40597"/>
                        <a:pt x="98640" y="45506"/>
                      </a:cubicBezTo>
                      <a:cubicBezTo>
                        <a:pt x="100680" y="50414"/>
                        <a:pt x="101733" y="55679"/>
                        <a:pt x="101733" y="60997"/>
                      </a:cubicBezTo>
                      <a:lnTo>
                        <a:pt x="101245" y="60997"/>
                      </a:ln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81" name="Freeform: Shape 280">
                  <a:extLst>
                    <a:ext uri="{FF2B5EF4-FFF2-40B4-BE49-F238E27FC236}">
                      <a16:creationId xmlns:a16="http://schemas.microsoft.com/office/drawing/2014/main" id="{8A9CE1E8-6972-9F08-9B11-0056A01BE3C9}"/>
                    </a:ext>
                  </a:extLst>
                </p:cNvPr>
                <p:cNvSpPr/>
                <p:nvPr/>
              </p:nvSpPr>
              <p:spPr>
                <a:xfrm>
                  <a:off x="1254357" y="2069816"/>
                  <a:ext cx="168005" cy="46130"/>
                </a:xfrm>
                <a:custGeom>
                  <a:avLst/>
                  <a:gdLst>
                    <a:gd name="connsiteX0" fmla="*/ 131455 w 168005"/>
                    <a:gd name="connsiteY0" fmla="*/ 19 h 46130"/>
                    <a:gd name="connsiteX1" fmla="*/ 118423 w 168005"/>
                    <a:gd name="connsiteY1" fmla="*/ 19 h 46130"/>
                    <a:gd name="connsiteX2" fmla="*/ 115253 w 168005"/>
                    <a:gd name="connsiteY2" fmla="*/ 4043 h 46130"/>
                    <a:gd name="connsiteX3" fmla="*/ 101149 w 168005"/>
                    <a:gd name="connsiteY3" fmla="*/ 15606 h 46130"/>
                    <a:gd name="connsiteX4" fmla="*/ 83393 w 168005"/>
                    <a:gd name="connsiteY4" fmla="*/ 19745 h 46130"/>
                    <a:gd name="connsiteX5" fmla="*/ 65638 w 168005"/>
                    <a:gd name="connsiteY5" fmla="*/ 15606 h 46130"/>
                    <a:gd name="connsiteX6" fmla="*/ 51534 w 168005"/>
                    <a:gd name="connsiteY6" fmla="*/ 4043 h 46130"/>
                    <a:gd name="connsiteX7" fmla="*/ 48492 w 168005"/>
                    <a:gd name="connsiteY7" fmla="*/ 19 h 46130"/>
                    <a:gd name="connsiteX8" fmla="*/ 34843 w 168005"/>
                    <a:gd name="connsiteY8" fmla="*/ 19 h 46130"/>
                    <a:gd name="connsiteX9" fmla="*/ 15304 w 168005"/>
                    <a:gd name="connsiteY9" fmla="*/ 4858 h 46130"/>
                    <a:gd name="connsiteX10" fmla="*/ 0 w 168005"/>
                    <a:gd name="connsiteY10" fmla="*/ 17955 h 46130"/>
                    <a:gd name="connsiteX11" fmla="*/ 12179 w 168005"/>
                    <a:gd name="connsiteY11" fmla="*/ 44424 h 46130"/>
                    <a:gd name="connsiteX12" fmla="*/ 18853 w 168005"/>
                    <a:gd name="connsiteY12" fmla="*/ 28292 h 46130"/>
                    <a:gd name="connsiteX13" fmla="*/ 34965 w 168005"/>
                    <a:gd name="connsiteY13" fmla="*/ 21612 h 46130"/>
                    <a:gd name="connsiteX14" fmla="*/ 38501 w 168005"/>
                    <a:gd name="connsiteY14" fmla="*/ 21612 h 46130"/>
                    <a:gd name="connsiteX15" fmla="*/ 58913 w 168005"/>
                    <a:gd name="connsiteY15" fmla="*/ 36320 h 46130"/>
                    <a:gd name="connsiteX16" fmla="*/ 83515 w 168005"/>
                    <a:gd name="connsiteY16" fmla="*/ 41517 h 46130"/>
                    <a:gd name="connsiteX17" fmla="*/ 108124 w 168005"/>
                    <a:gd name="connsiteY17" fmla="*/ 36320 h 46130"/>
                    <a:gd name="connsiteX18" fmla="*/ 128536 w 168005"/>
                    <a:gd name="connsiteY18" fmla="*/ 21612 h 46130"/>
                    <a:gd name="connsiteX19" fmla="*/ 131455 w 168005"/>
                    <a:gd name="connsiteY19" fmla="*/ 21612 h 46130"/>
                    <a:gd name="connsiteX20" fmla="*/ 147613 w 168005"/>
                    <a:gd name="connsiteY20" fmla="*/ 28286 h 46130"/>
                    <a:gd name="connsiteX21" fmla="*/ 154364 w 168005"/>
                    <a:gd name="connsiteY21" fmla="*/ 44424 h 46130"/>
                    <a:gd name="connsiteX22" fmla="*/ 154364 w 168005"/>
                    <a:gd name="connsiteY22" fmla="*/ 46131 h 46130"/>
                    <a:gd name="connsiteX23" fmla="*/ 168006 w 168005"/>
                    <a:gd name="connsiteY23" fmla="*/ 17955 h 46130"/>
                    <a:gd name="connsiteX24" fmla="*/ 151951 w 168005"/>
                    <a:gd name="connsiteY24" fmla="*/ 4453 h 46130"/>
                    <a:gd name="connsiteX25" fmla="*/ 131455 w 168005"/>
                    <a:gd name="connsiteY25" fmla="*/ 19 h 461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168005" h="46130">
                      <a:moveTo>
                        <a:pt x="131455" y="19"/>
                      </a:moveTo>
                      <a:lnTo>
                        <a:pt x="118423" y="19"/>
                      </a:lnTo>
                      <a:lnTo>
                        <a:pt x="115253" y="4043"/>
                      </a:lnTo>
                      <a:cubicBezTo>
                        <a:pt x="111499" y="8932"/>
                        <a:pt x="106674" y="12885"/>
                        <a:pt x="101149" y="15606"/>
                      </a:cubicBezTo>
                      <a:cubicBezTo>
                        <a:pt x="95624" y="18333"/>
                        <a:pt x="89553" y="19745"/>
                        <a:pt x="83393" y="19745"/>
                      </a:cubicBezTo>
                      <a:cubicBezTo>
                        <a:pt x="77240" y="19745"/>
                        <a:pt x="71163" y="18333"/>
                        <a:pt x="65638" y="15606"/>
                      </a:cubicBezTo>
                      <a:cubicBezTo>
                        <a:pt x="60113" y="12885"/>
                        <a:pt x="55287" y="8932"/>
                        <a:pt x="51534" y="4043"/>
                      </a:cubicBezTo>
                      <a:lnTo>
                        <a:pt x="48492" y="19"/>
                      </a:lnTo>
                      <a:lnTo>
                        <a:pt x="34843" y="19"/>
                      </a:lnTo>
                      <a:cubicBezTo>
                        <a:pt x="28042" y="90"/>
                        <a:pt x="21355" y="1746"/>
                        <a:pt x="15304" y="4858"/>
                      </a:cubicBezTo>
                      <a:cubicBezTo>
                        <a:pt x="9253" y="7970"/>
                        <a:pt x="4017" y="12455"/>
                        <a:pt x="0" y="17955"/>
                      </a:cubicBezTo>
                      <a:cubicBezTo>
                        <a:pt x="3048" y="27208"/>
                        <a:pt x="7136" y="36088"/>
                        <a:pt x="12179" y="44424"/>
                      </a:cubicBezTo>
                      <a:cubicBezTo>
                        <a:pt x="12179" y="38373"/>
                        <a:pt x="14585" y="32572"/>
                        <a:pt x="18853" y="28292"/>
                      </a:cubicBezTo>
                      <a:cubicBezTo>
                        <a:pt x="23126" y="24012"/>
                        <a:pt x="28921" y="21612"/>
                        <a:pt x="34965" y="21612"/>
                      </a:cubicBezTo>
                      <a:lnTo>
                        <a:pt x="38501" y="21612"/>
                      </a:lnTo>
                      <a:cubicBezTo>
                        <a:pt x="44206" y="27881"/>
                        <a:pt x="51161" y="32893"/>
                        <a:pt x="58913" y="36320"/>
                      </a:cubicBezTo>
                      <a:cubicBezTo>
                        <a:pt x="66665" y="39746"/>
                        <a:pt x="75045" y="41517"/>
                        <a:pt x="83515" y="41517"/>
                      </a:cubicBezTo>
                      <a:cubicBezTo>
                        <a:pt x="91992" y="41517"/>
                        <a:pt x="100372" y="39746"/>
                        <a:pt x="108124" y="36320"/>
                      </a:cubicBezTo>
                      <a:cubicBezTo>
                        <a:pt x="115875" y="32893"/>
                        <a:pt x="122825" y="27881"/>
                        <a:pt x="128536" y="21612"/>
                      </a:cubicBezTo>
                      <a:lnTo>
                        <a:pt x="131455" y="21612"/>
                      </a:lnTo>
                      <a:cubicBezTo>
                        <a:pt x="137513" y="21612"/>
                        <a:pt x="143320" y="24012"/>
                        <a:pt x="147613" y="28286"/>
                      </a:cubicBezTo>
                      <a:cubicBezTo>
                        <a:pt x="151906" y="32559"/>
                        <a:pt x="154331" y="38360"/>
                        <a:pt x="154364" y="44424"/>
                      </a:cubicBezTo>
                      <a:lnTo>
                        <a:pt x="154364" y="46131"/>
                      </a:lnTo>
                      <a:cubicBezTo>
                        <a:pt x="160030" y="37327"/>
                        <a:pt x="164611" y="27862"/>
                        <a:pt x="168006" y="17955"/>
                      </a:cubicBezTo>
                      <a:cubicBezTo>
                        <a:pt x="163835" y="12211"/>
                        <a:pt x="158323" y="7578"/>
                        <a:pt x="151951" y="4453"/>
                      </a:cubicBezTo>
                      <a:cubicBezTo>
                        <a:pt x="145579" y="1328"/>
                        <a:pt x="138546" y="-192"/>
                        <a:pt x="131455" y="19"/>
                      </a:cubicBez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82" name="Freeform: Shape 281">
                  <a:extLst>
                    <a:ext uri="{FF2B5EF4-FFF2-40B4-BE49-F238E27FC236}">
                      <a16:creationId xmlns:a16="http://schemas.microsoft.com/office/drawing/2014/main" id="{BBE5A909-3C97-FEE1-8DBB-7BE80C8EE7B4}"/>
                    </a:ext>
                  </a:extLst>
                </p:cNvPr>
                <p:cNvSpPr/>
                <p:nvPr/>
              </p:nvSpPr>
              <p:spPr>
                <a:xfrm>
                  <a:off x="1094392" y="1782785"/>
                  <a:ext cx="487609" cy="243987"/>
                </a:xfrm>
                <a:custGeom>
                  <a:avLst/>
                  <a:gdLst>
                    <a:gd name="connsiteX0" fmla="*/ 436050 w 487609"/>
                    <a:gd name="connsiteY0" fmla="*/ 92960 h 243987"/>
                    <a:gd name="connsiteX1" fmla="*/ 401085 w 487609"/>
                    <a:gd name="connsiteY1" fmla="*/ 78565 h 243987"/>
                    <a:gd name="connsiteX2" fmla="*/ 386743 w 487609"/>
                    <a:gd name="connsiteY2" fmla="*/ 71816 h 243987"/>
                    <a:gd name="connsiteX3" fmla="*/ 376714 w 487609"/>
                    <a:gd name="connsiteY3" fmla="*/ 59534 h 243987"/>
                    <a:gd name="connsiteX4" fmla="*/ 337167 w 487609"/>
                    <a:gd name="connsiteY4" fmla="*/ 15979 h 243987"/>
                    <a:gd name="connsiteX5" fmla="*/ 280589 w 487609"/>
                    <a:gd name="connsiteY5" fmla="*/ 1 h 243987"/>
                    <a:gd name="connsiteX6" fmla="*/ 237667 w 487609"/>
                    <a:gd name="connsiteY6" fmla="*/ 9018 h 243987"/>
                    <a:gd name="connsiteX7" fmla="*/ 201880 w 487609"/>
                    <a:gd name="connsiteY7" fmla="*/ 34404 h 243987"/>
                    <a:gd name="connsiteX8" fmla="*/ 188925 w 487609"/>
                    <a:gd name="connsiteY8" fmla="*/ 43000 h 243987"/>
                    <a:gd name="connsiteX9" fmla="*/ 173492 w 487609"/>
                    <a:gd name="connsiteY9" fmla="*/ 44894 h 243987"/>
                    <a:gd name="connsiteX10" fmla="*/ 130608 w 487609"/>
                    <a:gd name="connsiteY10" fmla="*/ 51848 h 243987"/>
                    <a:gd name="connsiteX11" fmla="*/ 97959 w 487609"/>
                    <a:gd name="connsiteY11" fmla="*/ 76999 h 243987"/>
                    <a:gd name="connsiteX12" fmla="*/ 80653 w 487609"/>
                    <a:gd name="connsiteY12" fmla="*/ 114431 h 243987"/>
                    <a:gd name="connsiteX13" fmla="*/ 74159 w 487609"/>
                    <a:gd name="connsiteY13" fmla="*/ 128734 h 243987"/>
                    <a:gd name="connsiteX14" fmla="*/ 62141 w 487609"/>
                    <a:gd name="connsiteY14" fmla="*/ 138829 h 243987"/>
                    <a:gd name="connsiteX15" fmla="*/ 19533 w 487609"/>
                    <a:gd name="connsiteY15" fmla="*/ 177685 h 243987"/>
                    <a:gd name="connsiteX16" fmla="*/ 1219 w 487609"/>
                    <a:gd name="connsiteY16" fmla="*/ 232398 h 243987"/>
                    <a:gd name="connsiteX17" fmla="*/ 0 w 487609"/>
                    <a:gd name="connsiteY17" fmla="*/ 243988 h 243987"/>
                    <a:gd name="connsiteX18" fmla="*/ 102586 w 487609"/>
                    <a:gd name="connsiteY18" fmla="*/ 243988 h 243987"/>
                    <a:gd name="connsiteX19" fmla="*/ 102586 w 487609"/>
                    <a:gd name="connsiteY19" fmla="*/ 222761 h 243987"/>
                    <a:gd name="connsiteX20" fmla="*/ 23396 w 487609"/>
                    <a:gd name="connsiteY20" fmla="*/ 222761 h 243987"/>
                    <a:gd name="connsiteX21" fmla="*/ 40349 w 487609"/>
                    <a:gd name="connsiteY21" fmla="*/ 184629 h 243987"/>
                    <a:gd name="connsiteX22" fmla="*/ 72125 w 487609"/>
                    <a:gd name="connsiteY22" fmla="*/ 157616 h 243987"/>
                    <a:gd name="connsiteX23" fmla="*/ 91235 w 487609"/>
                    <a:gd name="connsiteY23" fmla="*/ 141393 h 243987"/>
                    <a:gd name="connsiteX24" fmla="*/ 101367 w 487609"/>
                    <a:gd name="connsiteY24" fmla="*/ 118456 h 243987"/>
                    <a:gd name="connsiteX25" fmla="*/ 114515 w 487609"/>
                    <a:gd name="connsiteY25" fmla="*/ 90134 h 243987"/>
                    <a:gd name="connsiteX26" fmla="*/ 139258 w 487609"/>
                    <a:gd name="connsiteY26" fmla="*/ 71123 h 243987"/>
                    <a:gd name="connsiteX27" fmla="*/ 171670 w 487609"/>
                    <a:gd name="connsiteY27" fmla="*/ 65756 h 243987"/>
                    <a:gd name="connsiteX28" fmla="*/ 196432 w 487609"/>
                    <a:gd name="connsiteY28" fmla="*/ 62624 h 243987"/>
                    <a:gd name="connsiteX29" fmla="*/ 217236 w 487609"/>
                    <a:gd name="connsiteY29" fmla="*/ 48798 h 243987"/>
                    <a:gd name="connsiteX30" fmla="*/ 246035 w 487609"/>
                    <a:gd name="connsiteY30" fmla="*/ 28360 h 243987"/>
                    <a:gd name="connsiteX31" fmla="*/ 280589 w 487609"/>
                    <a:gd name="connsiteY31" fmla="*/ 21106 h 243987"/>
                    <a:gd name="connsiteX32" fmla="*/ 326098 w 487609"/>
                    <a:gd name="connsiteY32" fmla="*/ 33866 h 243987"/>
                    <a:gd name="connsiteX33" fmla="*/ 357829 w 487609"/>
                    <a:gd name="connsiteY33" fmla="*/ 68927 h 243987"/>
                    <a:gd name="connsiteX34" fmla="*/ 373852 w 487609"/>
                    <a:gd name="connsiteY34" fmla="*/ 88450 h 243987"/>
                    <a:gd name="connsiteX35" fmla="*/ 396696 w 487609"/>
                    <a:gd name="connsiteY35" fmla="*/ 99182 h 243987"/>
                    <a:gd name="connsiteX36" fmla="*/ 432168 w 487609"/>
                    <a:gd name="connsiteY36" fmla="*/ 115917 h 243987"/>
                    <a:gd name="connsiteX37" fmla="*/ 457008 w 487609"/>
                    <a:gd name="connsiteY37" fmla="*/ 146301 h 243987"/>
                    <a:gd name="connsiteX38" fmla="*/ 466376 w 487609"/>
                    <a:gd name="connsiteY38" fmla="*/ 184427 h 243987"/>
                    <a:gd name="connsiteX39" fmla="*/ 458464 w 487609"/>
                    <a:gd name="connsiteY39" fmla="*/ 222883 h 243987"/>
                    <a:gd name="connsiteX40" fmla="*/ 385363 w 487609"/>
                    <a:gd name="connsiteY40" fmla="*/ 222883 h 243987"/>
                    <a:gd name="connsiteX41" fmla="*/ 385363 w 487609"/>
                    <a:gd name="connsiteY41" fmla="*/ 243988 h 243987"/>
                    <a:gd name="connsiteX42" fmla="*/ 471381 w 487609"/>
                    <a:gd name="connsiteY42" fmla="*/ 243988 h 243987"/>
                    <a:gd name="connsiteX43" fmla="*/ 474307 w 487609"/>
                    <a:gd name="connsiteY43" fmla="*/ 238498 h 243987"/>
                    <a:gd name="connsiteX44" fmla="*/ 483997 w 487609"/>
                    <a:gd name="connsiteY44" fmla="*/ 158134 h 243987"/>
                    <a:gd name="connsiteX45" fmla="*/ 436050 w 487609"/>
                    <a:gd name="connsiteY45" fmla="*/ 92960 h 2439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</a:cxnLst>
                  <a:rect l="l" t="t" r="r" b="b"/>
                  <a:pathLst>
                    <a:path w="487609" h="243987">
                      <a:moveTo>
                        <a:pt x="436050" y="92960"/>
                      </a:moveTo>
                      <a:cubicBezTo>
                        <a:pt x="425295" y="86205"/>
                        <a:pt x="413469" y="81337"/>
                        <a:pt x="401085" y="78565"/>
                      </a:cubicBezTo>
                      <a:cubicBezTo>
                        <a:pt x="395861" y="77415"/>
                        <a:pt x="390959" y="75109"/>
                        <a:pt x="386743" y="71816"/>
                      </a:cubicBezTo>
                      <a:cubicBezTo>
                        <a:pt x="382527" y="68522"/>
                        <a:pt x="379101" y="64326"/>
                        <a:pt x="376714" y="59534"/>
                      </a:cubicBezTo>
                      <a:cubicBezTo>
                        <a:pt x="367865" y="41595"/>
                        <a:pt x="354165" y="26504"/>
                        <a:pt x="337167" y="15979"/>
                      </a:cubicBezTo>
                      <a:cubicBezTo>
                        <a:pt x="320175" y="5455"/>
                        <a:pt x="300571" y="-81"/>
                        <a:pt x="280589" y="1"/>
                      </a:cubicBezTo>
                      <a:cubicBezTo>
                        <a:pt x="265818" y="31"/>
                        <a:pt x="251207" y="3100"/>
                        <a:pt x="237667" y="9018"/>
                      </a:cubicBezTo>
                      <a:cubicBezTo>
                        <a:pt x="224127" y="14935"/>
                        <a:pt x="211948" y="23576"/>
                        <a:pt x="201880" y="34404"/>
                      </a:cubicBezTo>
                      <a:cubicBezTo>
                        <a:pt x="198287" y="38236"/>
                        <a:pt x="193853" y="41179"/>
                        <a:pt x="188925" y="43000"/>
                      </a:cubicBezTo>
                      <a:cubicBezTo>
                        <a:pt x="183997" y="44821"/>
                        <a:pt x="178715" y="45469"/>
                        <a:pt x="173492" y="44894"/>
                      </a:cubicBezTo>
                      <a:cubicBezTo>
                        <a:pt x="158843" y="43580"/>
                        <a:pt x="144097" y="45972"/>
                        <a:pt x="130608" y="51848"/>
                      </a:cubicBezTo>
                      <a:cubicBezTo>
                        <a:pt x="117858" y="57473"/>
                        <a:pt x="106661" y="66102"/>
                        <a:pt x="97959" y="76999"/>
                      </a:cubicBezTo>
                      <a:cubicBezTo>
                        <a:pt x="89265" y="87897"/>
                        <a:pt x="83323" y="100739"/>
                        <a:pt x="80653" y="114431"/>
                      </a:cubicBezTo>
                      <a:cubicBezTo>
                        <a:pt x="79588" y="119624"/>
                        <a:pt x="77368" y="124512"/>
                        <a:pt x="74159" y="128734"/>
                      </a:cubicBezTo>
                      <a:cubicBezTo>
                        <a:pt x="70957" y="132956"/>
                        <a:pt x="66851" y="136406"/>
                        <a:pt x="62141" y="138829"/>
                      </a:cubicBezTo>
                      <a:cubicBezTo>
                        <a:pt x="44860" y="147934"/>
                        <a:pt x="30191" y="161309"/>
                        <a:pt x="19533" y="177685"/>
                      </a:cubicBezTo>
                      <a:cubicBezTo>
                        <a:pt x="8868" y="194062"/>
                        <a:pt x="2567" y="212896"/>
                        <a:pt x="1219" y="232398"/>
                      </a:cubicBezTo>
                      <a:lnTo>
                        <a:pt x="0" y="243988"/>
                      </a:lnTo>
                      <a:lnTo>
                        <a:pt x="102586" y="243988"/>
                      </a:lnTo>
                      <a:lnTo>
                        <a:pt x="102586" y="222761"/>
                      </a:lnTo>
                      <a:lnTo>
                        <a:pt x="23396" y="222761"/>
                      </a:lnTo>
                      <a:cubicBezTo>
                        <a:pt x="26116" y="208938"/>
                        <a:pt x="31911" y="195905"/>
                        <a:pt x="40349" y="184629"/>
                      </a:cubicBezTo>
                      <a:cubicBezTo>
                        <a:pt x="48787" y="173352"/>
                        <a:pt x="59645" y="164120"/>
                        <a:pt x="72125" y="157616"/>
                      </a:cubicBezTo>
                      <a:cubicBezTo>
                        <a:pt x="79639" y="153721"/>
                        <a:pt x="86165" y="148175"/>
                        <a:pt x="91235" y="141393"/>
                      </a:cubicBezTo>
                      <a:cubicBezTo>
                        <a:pt x="96298" y="134611"/>
                        <a:pt x="99763" y="126770"/>
                        <a:pt x="101367" y="118456"/>
                      </a:cubicBezTo>
                      <a:cubicBezTo>
                        <a:pt x="103407" y="108093"/>
                        <a:pt x="107912" y="98376"/>
                        <a:pt x="114515" y="90134"/>
                      </a:cubicBezTo>
                      <a:cubicBezTo>
                        <a:pt x="121111" y="81892"/>
                        <a:pt x="129601" y="75370"/>
                        <a:pt x="139258" y="71123"/>
                      </a:cubicBezTo>
                      <a:cubicBezTo>
                        <a:pt x="149435" y="66630"/>
                        <a:pt x="160588" y="64783"/>
                        <a:pt x="171670" y="65756"/>
                      </a:cubicBezTo>
                      <a:cubicBezTo>
                        <a:pt x="180057" y="66637"/>
                        <a:pt x="188533" y="65565"/>
                        <a:pt x="196432" y="62624"/>
                      </a:cubicBezTo>
                      <a:cubicBezTo>
                        <a:pt x="204338" y="59682"/>
                        <a:pt x="211454" y="54950"/>
                        <a:pt x="217236" y="48798"/>
                      </a:cubicBezTo>
                      <a:cubicBezTo>
                        <a:pt x="225334" y="40081"/>
                        <a:pt x="235139" y="33124"/>
                        <a:pt x="246035" y="28360"/>
                      </a:cubicBezTo>
                      <a:cubicBezTo>
                        <a:pt x="256937" y="23596"/>
                        <a:pt x="268692" y="21127"/>
                        <a:pt x="280589" y="21106"/>
                      </a:cubicBezTo>
                      <a:cubicBezTo>
                        <a:pt x="296657" y="20982"/>
                        <a:pt x="312430" y="25405"/>
                        <a:pt x="326098" y="33866"/>
                      </a:cubicBezTo>
                      <a:cubicBezTo>
                        <a:pt x="339759" y="42326"/>
                        <a:pt x="350764" y="54480"/>
                        <a:pt x="357829" y="68927"/>
                      </a:cubicBezTo>
                      <a:cubicBezTo>
                        <a:pt x="361653" y="76547"/>
                        <a:pt x="367127" y="83216"/>
                        <a:pt x="373852" y="88450"/>
                      </a:cubicBezTo>
                      <a:cubicBezTo>
                        <a:pt x="380576" y="93684"/>
                        <a:pt x="388379" y="97350"/>
                        <a:pt x="396696" y="99182"/>
                      </a:cubicBezTo>
                      <a:cubicBezTo>
                        <a:pt x="409619" y="102049"/>
                        <a:pt x="421734" y="107766"/>
                        <a:pt x="432168" y="115917"/>
                      </a:cubicBezTo>
                      <a:cubicBezTo>
                        <a:pt x="442602" y="124069"/>
                        <a:pt x="451085" y="134449"/>
                        <a:pt x="457008" y="146301"/>
                      </a:cubicBezTo>
                      <a:cubicBezTo>
                        <a:pt x="462924" y="158153"/>
                        <a:pt x="466126" y="171178"/>
                        <a:pt x="466376" y="184427"/>
                      </a:cubicBezTo>
                      <a:cubicBezTo>
                        <a:pt x="466633" y="197675"/>
                        <a:pt x="463925" y="210813"/>
                        <a:pt x="458464" y="222883"/>
                      </a:cubicBezTo>
                      <a:lnTo>
                        <a:pt x="385363" y="222883"/>
                      </a:lnTo>
                      <a:lnTo>
                        <a:pt x="385363" y="243988"/>
                      </a:lnTo>
                      <a:lnTo>
                        <a:pt x="471381" y="243988"/>
                      </a:lnTo>
                      <a:lnTo>
                        <a:pt x="474307" y="238498"/>
                      </a:lnTo>
                      <a:cubicBezTo>
                        <a:pt x="487642" y="213924"/>
                        <a:pt x="491107" y="185180"/>
                        <a:pt x="483997" y="158134"/>
                      </a:cubicBezTo>
                      <a:cubicBezTo>
                        <a:pt x="476887" y="131087"/>
                        <a:pt x="459735" y="107777"/>
                        <a:pt x="436050" y="92960"/>
                      </a:cubicBez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  <p:sp>
              <p:nvSpPr>
                <p:cNvPr id="283" name="Freeform: Shape 282">
                  <a:extLst>
                    <a:ext uri="{FF2B5EF4-FFF2-40B4-BE49-F238E27FC236}">
                      <a16:creationId xmlns:a16="http://schemas.microsoft.com/office/drawing/2014/main" id="{57843B54-5F21-391D-1927-7EAD0365A593}"/>
                    </a:ext>
                  </a:extLst>
                </p:cNvPr>
                <p:cNvSpPr/>
                <p:nvPr/>
              </p:nvSpPr>
              <p:spPr>
                <a:xfrm>
                  <a:off x="1212693" y="1890512"/>
                  <a:ext cx="251219" cy="330600"/>
                </a:xfrm>
                <a:custGeom>
                  <a:avLst/>
                  <a:gdLst>
                    <a:gd name="connsiteX0" fmla="*/ 0 w 251219"/>
                    <a:gd name="connsiteY0" fmla="*/ 53921 h 330600"/>
                    <a:gd name="connsiteX1" fmla="*/ 0 w 251219"/>
                    <a:gd name="connsiteY1" fmla="*/ 171399 h 330600"/>
                    <a:gd name="connsiteX2" fmla="*/ 120855 w 251219"/>
                    <a:gd name="connsiteY2" fmla="*/ 328284 h 330600"/>
                    <a:gd name="connsiteX3" fmla="*/ 125610 w 251219"/>
                    <a:gd name="connsiteY3" fmla="*/ 330601 h 330600"/>
                    <a:gd name="connsiteX4" fmla="*/ 130236 w 251219"/>
                    <a:gd name="connsiteY4" fmla="*/ 328284 h 330600"/>
                    <a:gd name="connsiteX5" fmla="*/ 251219 w 251219"/>
                    <a:gd name="connsiteY5" fmla="*/ 171399 h 330600"/>
                    <a:gd name="connsiteX6" fmla="*/ 251219 w 251219"/>
                    <a:gd name="connsiteY6" fmla="*/ 53921 h 330600"/>
                    <a:gd name="connsiteX7" fmla="*/ 125610 w 251219"/>
                    <a:gd name="connsiteY7" fmla="*/ 0 h 330600"/>
                    <a:gd name="connsiteX8" fmla="*/ 0 w 251219"/>
                    <a:gd name="connsiteY8" fmla="*/ 53921 h 330600"/>
                    <a:gd name="connsiteX9" fmla="*/ 230384 w 251219"/>
                    <a:gd name="connsiteY9" fmla="*/ 170424 h 330600"/>
                    <a:gd name="connsiteX10" fmla="*/ 125610 w 251219"/>
                    <a:gd name="connsiteY10" fmla="*/ 307179 h 330600"/>
                    <a:gd name="connsiteX11" fmla="*/ 20951 w 251219"/>
                    <a:gd name="connsiteY11" fmla="*/ 170424 h 330600"/>
                    <a:gd name="connsiteX12" fmla="*/ 20951 w 251219"/>
                    <a:gd name="connsiteY12" fmla="*/ 67706 h 330600"/>
                    <a:gd name="connsiteX13" fmla="*/ 125610 w 251219"/>
                    <a:gd name="connsiteY13" fmla="*/ 22813 h 330600"/>
                    <a:gd name="connsiteX14" fmla="*/ 230384 w 251219"/>
                    <a:gd name="connsiteY14" fmla="*/ 67706 h 330600"/>
                    <a:gd name="connsiteX15" fmla="*/ 230384 w 251219"/>
                    <a:gd name="connsiteY15" fmla="*/ 170424 h 330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251219" h="330600">
                      <a:moveTo>
                        <a:pt x="0" y="53921"/>
                      </a:moveTo>
                      <a:lnTo>
                        <a:pt x="0" y="171399"/>
                      </a:lnTo>
                      <a:cubicBezTo>
                        <a:pt x="3529" y="234348"/>
                        <a:pt x="47632" y="291561"/>
                        <a:pt x="120855" y="328284"/>
                      </a:cubicBezTo>
                      <a:lnTo>
                        <a:pt x="125610" y="330601"/>
                      </a:lnTo>
                      <a:lnTo>
                        <a:pt x="130236" y="328284"/>
                      </a:lnTo>
                      <a:cubicBezTo>
                        <a:pt x="203337" y="291683"/>
                        <a:pt x="247690" y="234348"/>
                        <a:pt x="251219" y="171399"/>
                      </a:cubicBezTo>
                      <a:lnTo>
                        <a:pt x="251219" y="53921"/>
                      </a:lnTo>
                      <a:lnTo>
                        <a:pt x="125610" y="0"/>
                      </a:lnTo>
                      <a:lnTo>
                        <a:pt x="0" y="53921"/>
                      </a:lnTo>
                      <a:close/>
                      <a:moveTo>
                        <a:pt x="230384" y="170424"/>
                      </a:moveTo>
                      <a:cubicBezTo>
                        <a:pt x="227099" y="224344"/>
                        <a:pt x="189085" y="273876"/>
                        <a:pt x="125610" y="307179"/>
                      </a:cubicBezTo>
                      <a:cubicBezTo>
                        <a:pt x="62134" y="273876"/>
                        <a:pt x="24121" y="224344"/>
                        <a:pt x="20951" y="170424"/>
                      </a:cubicBezTo>
                      <a:lnTo>
                        <a:pt x="20951" y="67706"/>
                      </a:lnTo>
                      <a:lnTo>
                        <a:pt x="125610" y="22813"/>
                      </a:lnTo>
                      <a:lnTo>
                        <a:pt x="230384" y="67706"/>
                      </a:lnTo>
                      <a:lnTo>
                        <a:pt x="230384" y="170424"/>
                      </a:lnTo>
                      <a:close/>
                    </a:path>
                  </a:pathLst>
                </a:custGeom>
                <a:solidFill>
                  <a:srgbClr val="2D5967"/>
                </a:solidFill>
                <a:ln w="64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200"/>
                </a:p>
              </p:txBody>
            </p:sp>
          </p:grpSp>
          <p:sp>
            <p:nvSpPr>
              <p:cNvPr id="277" name="TextBox 276">
                <a:extLst>
                  <a:ext uri="{FF2B5EF4-FFF2-40B4-BE49-F238E27FC236}">
                    <a16:creationId xmlns:a16="http://schemas.microsoft.com/office/drawing/2014/main" id="{770B360F-8191-8F11-22C3-41CBC4C25CDC}"/>
                  </a:ext>
                </a:extLst>
              </p:cNvPr>
              <p:cNvSpPr txBox="1"/>
              <p:nvPr/>
            </p:nvSpPr>
            <p:spPr>
              <a:xfrm>
                <a:off x="1070008" y="2194983"/>
                <a:ext cx="467757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MFA</a:t>
                </a:r>
              </a:p>
            </p:txBody>
          </p:sp>
        </p:grpSp>
        <p:grpSp>
          <p:nvGrpSpPr>
            <p:cNvPr id="284" name="Graphic 3">
              <a:extLst>
                <a:ext uri="{FF2B5EF4-FFF2-40B4-BE49-F238E27FC236}">
                  <a16:creationId xmlns:a16="http://schemas.microsoft.com/office/drawing/2014/main" id="{9C6C72CE-18B8-09C6-026C-AC38E271311D}"/>
                </a:ext>
              </a:extLst>
            </p:cNvPr>
            <p:cNvGrpSpPr/>
            <p:nvPr/>
          </p:nvGrpSpPr>
          <p:grpSpPr>
            <a:xfrm>
              <a:off x="7078221" y="4634320"/>
              <a:ext cx="857542" cy="602806"/>
              <a:chOff x="5924505" y="1953127"/>
              <a:chExt cx="857542" cy="602806"/>
            </a:xfrm>
          </p:grpSpPr>
          <p:grpSp>
            <p:nvGrpSpPr>
              <p:cNvPr id="285" name="Graphic 3">
                <a:extLst>
                  <a:ext uri="{FF2B5EF4-FFF2-40B4-BE49-F238E27FC236}">
                    <a16:creationId xmlns:a16="http://schemas.microsoft.com/office/drawing/2014/main" id="{3081A2D2-88A3-136A-5F52-1882D582013A}"/>
                  </a:ext>
                </a:extLst>
              </p:cNvPr>
              <p:cNvGrpSpPr/>
              <p:nvPr/>
            </p:nvGrpSpPr>
            <p:grpSpPr>
              <a:xfrm>
                <a:off x="6105625" y="1953127"/>
                <a:ext cx="513347" cy="282339"/>
                <a:chOff x="6105625" y="1953127"/>
                <a:chExt cx="513347" cy="282339"/>
              </a:xfrm>
            </p:grpSpPr>
            <p:grpSp>
              <p:nvGrpSpPr>
                <p:cNvPr id="287" name="Graphic 3">
                  <a:extLst>
                    <a:ext uri="{FF2B5EF4-FFF2-40B4-BE49-F238E27FC236}">
                      <a16:creationId xmlns:a16="http://schemas.microsoft.com/office/drawing/2014/main" id="{70A82B5B-1A0D-758E-9108-05D3BC517137}"/>
                    </a:ext>
                  </a:extLst>
                </p:cNvPr>
                <p:cNvGrpSpPr/>
                <p:nvPr/>
              </p:nvGrpSpPr>
              <p:grpSpPr>
                <a:xfrm>
                  <a:off x="6105625" y="1953127"/>
                  <a:ext cx="513347" cy="282339"/>
                  <a:chOff x="6105625" y="1953127"/>
                  <a:chExt cx="513347" cy="282339"/>
                </a:xfrm>
                <a:solidFill>
                  <a:srgbClr val="FFFFFF"/>
                </a:solidFill>
              </p:grpSpPr>
              <p:sp>
                <p:nvSpPr>
                  <p:cNvPr id="296" name="Freeform: Shape 295">
                    <a:extLst>
                      <a:ext uri="{FF2B5EF4-FFF2-40B4-BE49-F238E27FC236}">
                        <a16:creationId xmlns:a16="http://schemas.microsoft.com/office/drawing/2014/main" id="{9C0DE2CA-F70E-E923-5902-ECF49B2F3F5D}"/>
                      </a:ext>
                    </a:extLst>
                  </p:cNvPr>
                  <p:cNvSpPr/>
                  <p:nvPr/>
                </p:nvSpPr>
                <p:spPr>
                  <a:xfrm>
                    <a:off x="6111734" y="1958017"/>
                    <a:ext cx="499923" cy="270115"/>
                  </a:xfrm>
                  <a:custGeom>
                    <a:avLst/>
                    <a:gdLst>
                      <a:gd name="connsiteX0" fmla="*/ 0 w 499923"/>
                      <a:gd name="connsiteY0" fmla="*/ 268897 h 270115"/>
                      <a:gd name="connsiteX1" fmla="*/ 0 w 499923"/>
                      <a:gd name="connsiteY1" fmla="*/ 196784 h 270115"/>
                      <a:gd name="connsiteX2" fmla="*/ 59895 w 499923"/>
                      <a:gd name="connsiteY2" fmla="*/ 136896 h 270115"/>
                      <a:gd name="connsiteX3" fmla="*/ 68448 w 499923"/>
                      <a:gd name="connsiteY3" fmla="*/ 136896 h 270115"/>
                      <a:gd name="connsiteX4" fmla="*/ 68448 w 499923"/>
                      <a:gd name="connsiteY4" fmla="*/ 123446 h 270115"/>
                      <a:gd name="connsiteX5" fmla="*/ 53779 w 499923"/>
                      <a:gd name="connsiteY5" fmla="*/ 85561 h 270115"/>
                      <a:gd name="connsiteX6" fmla="*/ 53779 w 499923"/>
                      <a:gd name="connsiteY6" fmla="*/ 48891 h 270115"/>
                      <a:gd name="connsiteX7" fmla="*/ 97780 w 499923"/>
                      <a:gd name="connsiteY7" fmla="*/ 0 h 270115"/>
                      <a:gd name="connsiteX8" fmla="*/ 174782 w 499923"/>
                      <a:gd name="connsiteY8" fmla="*/ 0 h 270115"/>
                      <a:gd name="connsiteX9" fmla="*/ 174782 w 499923"/>
                      <a:gd name="connsiteY9" fmla="*/ 83114 h 270115"/>
                      <a:gd name="connsiteX10" fmla="*/ 156449 w 499923"/>
                      <a:gd name="connsiteY10" fmla="*/ 125891 h 270115"/>
                      <a:gd name="connsiteX11" fmla="*/ 156449 w 499923"/>
                      <a:gd name="connsiteY11" fmla="*/ 135670 h 270115"/>
                      <a:gd name="connsiteX12" fmla="*/ 174782 w 499923"/>
                      <a:gd name="connsiteY12" fmla="*/ 135670 h 270115"/>
                      <a:gd name="connsiteX13" fmla="*/ 172343 w 499923"/>
                      <a:gd name="connsiteY13" fmla="*/ 132006 h 270115"/>
                      <a:gd name="connsiteX14" fmla="*/ 169899 w 499923"/>
                      <a:gd name="connsiteY14" fmla="*/ 129561 h 270115"/>
                      <a:gd name="connsiteX15" fmla="*/ 191895 w 499923"/>
                      <a:gd name="connsiteY15" fmla="*/ 41557 h 270115"/>
                      <a:gd name="connsiteX16" fmla="*/ 193121 w 499923"/>
                      <a:gd name="connsiteY16" fmla="*/ 36668 h 270115"/>
                      <a:gd name="connsiteX17" fmla="*/ 194340 w 499923"/>
                      <a:gd name="connsiteY17" fmla="*/ 31779 h 270115"/>
                      <a:gd name="connsiteX18" fmla="*/ 235896 w 499923"/>
                      <a:gd name="connsiteY18" fmla="*/ 3667 h 270115"/>
                      <a:gd name="connsiteX19" fmla="*/ 257899 w 499923"/>
                      <a:gd name="connsiteY19" fmla="*/ 3667 h 270115"/>
                      <a:gd name="connsiteX20" fmla="*/ 298236 w 499923"/>
                      <a:gd name="connsiteY20" fmla="*/ 30556 h 270115"/>
                      <a:gd name="connsiteX21" fmla="*/ 299455 w 499923"/>
                      <a:gd name="connsiteY21" fmla="*/ 30556 h 270115"/>
                      <a:gd name="connsiteX22" fmla="*/ 300680 w 499923"/>
                      <a:gd name="connsiteY22" fmla="*/ 36668 h 270115"/>
                      <a:gd name="connsiteX23" fmla="*/ 323909 w 499923"/>
                      <a:gd name="connsiteY23" fmla="*/ 130780 h 270115"/>
                      <a:gd name="connsiteX24" fmla="*/ 321471 w 499923"/>
                      <a:gd name="connsiteY24" fmla="*/ 135670 h 270115"/>
                      <a:gd name="connsiteX25" fmla="*/ 319032 w 499923"/>
                      <a:gd name="connsiteY25" fmla="*/ 139334 h 270115"/>
                      <a:gd name="connsiteX26" fmla="*/ 341042 w 499923"/>
                      <a:gd name="connsiteY26" fmla="*/ 139334 h 270115"/>
                      <a:gd name="connsiteX27" fmla="*/ 341042 w 499923"/>
                      <a:gd name="connsiteY27" fmla="*/ 125891 h 270115"/>
                      <a:gd name="connsiteX28" fmla="*/ 326348 w 499923"/>
                      <a:gd name="connsiteY28" fmla="*/ 87999 h 270115"/>
                      <a:gd name="connsiteX29" fmla="*/ 326348 w 499923"/>
                      <a:gd name="connsiteY29" fmla="*/ 51335 h 270115"/>
                      <a:gd name="connsiteX30" fmla="*/ 370367 w 499923"/>
                      <a:gd name="connsiteY30" fmla="*/ 2445 h 270115"/>
                      <a:gd name="connsiteX31" fmla="*/ 447369 w 499923"/>
                      <a:gd name="connsiteY31" fmla="*/ 2445 h 270115"/>
                      <a:gd name="connsiteX32" fmla="*/ 447369 w 499923"/>
                      <a:gd name="connsiteY32" fmla="*/ 85561 h 270115"/>
                      <a:gd name="connsiteX33" fmla="*/ 429017 w 499923"/>
                      <a:gd name="connsiteY33" fmla="*/ 128336 h 270115"/>
                      <a:gd name="connsiteX34" fmla="*/ 429017 w 499923"/>
                      <a:gd name="connsiteY34" fmla="*/ 138115 h 270115"/>
                      <a:gd name="connsiteX35" fmla="*/ 439990 w 499923"/>
                      <a:gd name="connsiteY35" fmla="*/ 138115 h 270115"/>
                      <a:gd name="connsiteX36" fmla="*/ 499923 w 499923"/>
                      <a:gd name="connsiteY36" fmla="*/ 198003 h 270115"/>
                      <a:gd name="connsiteX37" fmla="*/ 499923 w 499923"/>
                      <a:gd name="connsiteY37" fmla="*/ 270116 h 270115"/>
                      <a:gd name="connsiteX38" fmla="*/ 0 w 499923"/>
                      <a:gd name="connsiteY38" fmla="*/ 270116 h 270115"/>
                      <a:gd name="connsiteX39" fmla="*/ 0 w 499923"/>
                      <a:gd name="connsiteY39" fmla="*/ 268897 h 2701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</a:cxnLst>
                    <a:rect l="l" t="t" r="r" b="b"/>
                    <a:pathLst>
                      <a:path w="499923" h="270115">
                        <a:moveTo>
                          <a:pt x="0" y="268897"/>
                        </a:moveTo>
                        <a:lnTo>
                          <a:pt x="0" y="196784"/>
                        </a:lnTo>
                        <a:cubicBezTo>
                          <a:pt x="0" y="163782"/>
                          <a:pt x="26893" y="136896"/>
                          <a:pt x="59895" y="136896"/>
                        </a:cubicBezTo>
                        <a:lnTo>
                          <a:pt x="68448" y="136896"/>
                        </a:lnTo>
                        <a:lnTo>
                          <a:pt x="68448" y="123446"/>
                        </a:lnTo>
                        <a:cubicBezTo>
                          <a:pt x="59895" y="112447"/>
                          <a:pt x="53779" y="99004"/>
                          <a:pt x="53779" y="85561"/>
                        </a:cubicBezTo>
                        <a:lnTo>
                          <a:pt x="53779" y="48891"/>
                        </a:lnTo>
                        <a:cubicBezTo>
                          <a:pt x="53779" y="19556"/>
                          <a:pt x="70893" y="0"/>
                          <a:pt x="97780" y="0"/>
                        </a:cubicBezTo>
                        <a:lnTo>
                          <a:pt x="174782" y="0"/>
                        </a:lnTo>
                        <a:lnTo>
                          <a:pt x="174782" y="83114"/>
                        </a:lnTo>
                        <a:cubicBezTo>
                          <a:pt x="174782" y="99004"/>
                          <a:pt x="168673" y="114892"/>
                          <a:pt x="156449" y="125891"/>
                        </a:cubicBezTo>
                        <a:lnTo>
                          <a:pt x="156449" y="135670"/>
                        </a:lnTo>
                        <a:lnTo>
                          <a:pt x="174782" y="135670"/>
                        </a:lnTo>
                        <a:cubicBezTo>
                          <a:pt x="173563" y="134451"/>
                          <a:pt x="173563" y="133225"/>
                          <a:pt x="172343" y="132006"/>
                        </a:cubicBezTo>
                        <a:lnTo>
                          <a:pt x="169899" y="129561"/>
                        </a:lnTo>
                        <a:lnTo>
                          <a:pt x="191895" y="41557"/>
                        </a:lnTo>
                        <a:cubicBezTo>
                          <a:pt x="191895" y="40334"/>
                          <a:pt x="193121" y="37890"/>
                          <a:pt x="193121" y="36668"/>
                        </a:cubicBezTo>
                        <a:lnTo>
                          <a:pt x="194340" y="31779"/>
                        </a:lnTo>
                        <a:cubicBezTo>
                          <a:pt x="201675" y="14667"/>
                          <a:pt x="217563" y="3667"/>
                          <a:pt x="235896" y="3667"/>
                        </a:cubicBezTo>
                        <a:lnTo>
                          <a:pt x="257899" y="3667"/>
                        </a:lnTo>
                        <a:cubicBezTo>
                          <a:pt x="275013" y="3667"/>
                          <a:pt x="290901" y="14667"/>
                          <a:pt x="298236" y="30556"/>
                        </a:cubicBezTo>
                        <a:lnTo>
                          <a:pt x="299455" y="30556"/>
                        </a:lnTo>
                        <a:lnTo>
                          <a:pt x="300680" y="36668"/>
                        </a:lnTo>
                        <a:lnTo>
                          <a:pt x="323909" y="130780"/>
                        </a:lnTo>
                        <a:lnTo>
                          <a:pt x="321471" y="135670"/>
                        </a:lnTo>
                        <a:cubicBezTo>
                          <a:pt x="320252" y="136896"/>
                          <a:pt x="320252" y="138115"/>
                          <a:pt x="319032" y="139334"/>
                        </a:cubicBezTo>
                        <a:lnTo>
                          <a:pt x="341042" y="139334"/>
                        </a:lnTo>
                        <a:lnTo>
                          <a:pt x="341042" y="125891"/>
                        </a:lnTo>
                        <a:cubicBezTo>
                          <a:pt x="332444" y="114892"/>
                          <a:pt x="326348" y="101449"/>
                          <a:pt x="326348" y="87999"/>
                        </a:cubicBezTo>
                        <a:lnTo>
                          <a:pt x="326348" y="51335"/>
                        </a:lnTo>
                        <a:cubicBezTo>
                          <a:pt x="326348" y="22001"/>
                          <a:pt x="343480" y="2445"/>
                          <a:pt x="370367" y="2445"/>
                        </a:cubicBezTo>
                        <a:lnTo>
                          <a:pt x="447369" y="2445"/>
                        </a:lnTo>
                        <a:lnTo>
                          <a:pt x="447369" y="85561"/>
                        </a:lnTo>
                        <a:cubicBezTo>
                          <a:pt x="447369" y="101449"/>
                          <a:pt x="441209" y="117337"/>
                          <a:pt x="429017" y="128336"/>
                        </a:cubicBezTo>
                        <a:lnTo>
                          <a:pt x="429017" y="138115"/>
                        </a:lnTo>
                        <a:lnTo>
                          <a:pt x="439990" y="138115"/>
                        </a:lnTo>
                        <a:cubicBezTo>
                          <a:pt x="473037" y="138115"/>
                          <a:pt x="499923" y="165001"/>
                          <a:pt x="499923" y="198003"/>
                        </a:cubicBezTo>
                        <a:lnTo>
                          <a:pt x="499923" y="270116"/>
                        </a:lnTo>
                        <a:lnTo>
                          <a:pt x="0" y="270116"/>
                        </a:lnTo>
                        <a:lnTo>
                          <a:pt x="0" y="26889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97" name="Freeform: Shape 296">
                    <a:extLst>
                      <a:ext uri="{FF2B5EF4-FFF2-40B4-BE49-F238E27FC236}">
                        <a16:creationId xmlns:a16="http://schemas.microsoft.com/office/drawing/2014/main" id="{8AEC520F-C507-25CA-5922-BF503277B176}"/>
                      </a:ext>
                    </a:extLst>
                  </p:cNvPr>
                  <p:cNvSpPr/>
                  <p:nvPr/>
                </p:nvSpPr>
                <p:spPr>
                  <a:xfrm>
                    <a:off x="6105625" y="1953127"/>
                    <a:ext cx="513347" cy="282339"/>
                  </a:xfrm>
                  <a:custGeom>
                    <a:avLst/>
                    <a:gdLst>
                      <a:gd name="connsiteX0" fmla="*/ 448537 w 513347"/>
                      <a:gd name="connsiteY0" fmla="*/ 12223 h 282339"/>
                      <a:gd name="connsiteX1" fmla="*/ 448537 w 513347"/>
                      <a:gd name="connsiteY1" fmla="*/ 20778 h 282339"/>
                      <a:gd name="connsiteX2" fmla="*/ 448537 w 513347"/>
                      <a:gd name="connsiteY2" fmla="*/ 90444 h 282339"/>
                      <a:gd name="connsiteX3" fmla="*/ 430249 w 513347"/>
                      <a:gd name="connsiteY3" fmla="*/ 130780 h 282339"/>
                      <a:gd name="connsiteX4" fmla="*/ 430249 w 513347"/>
                      <a:gd name="connsiteY4" fmla="*/ 149113 h 282339"/>
                      <a:gd name="connsiteX5" fmla="*/ 447318 w 513347"/>
                      <a:gd name="connsiteY5" fmla="*/ 149113 h 282339"/>
                      <a:gd name="connsiteX6" fmla="*/ 501155 w 513347"/>
                      <a:gd name="connsiteY6" fmla="*/ 202893 h 282339"/>
                      <a:gd name="connsiteX7" fmla="*/ 501155 w 513347"/>
                      <a:gd name="connsiteY7" fmla="*/ 268896 h 282339"/>
                      <a:gd name="connsiteX8" fmla="*/ 12224 w 513347"/>
                      <a:gd name="connsiteY8" fmla="*/ 268896 h 282339"/>
                      <a:gd name="connsiteX9" fmla="*/ 12224 w 513347"/>
                      <a:gd name="connsiteY9" fmla="*/ 202893 h 282339"/>
                      <a:gd name="connsiteX10" fmla="*/ 66004 w 513347"/>
                      <a:gd name="connsiteY10" fmla="*/ 149113 h 282339"/>
                      <a:gd name="connsiteX11" fmla="*/ 80666 w 513347"/>
                      <a:gd name="connsiteY11" fmla="*/ 149113 h 282339"/>
                      <a:gd name="connsiteX12" fmla="*/ 80666 w 513347"/>
                      <a:gd name="connsiteY12" fmla="*/ 127116 h 282339"/>
                      <a:gd name="connsiteX13" fmla="*/ 66004 w 513347"/>
                      <a:gd name="connsiteY13" fmla="*/ 91670 h 282339"/>
                      <a:gd name="connsiteX14" fmla="*/ 66004 w 513347"/>
                      <a:gd name="connsiteY14" fmla="*/ 62335 h 282339"/>
                      <a:gd name="connsiteX15" fmla="*/ 66004 w 513347"/>
                      <a:gd name="connsiteY15" fmla="*/ 55002 h 282339"/>
                      <a:gd name="connsiteX16" fmla="*/ 105114 w 513347"/>
                      <a:gd name="connsiteY16" fmla="*/ 12223 h 282339"/>
                      <a:gd name="connsiteX17" fmla="*/ 176008 w 513347"/>
                      <a:gd name="connsiteY17" fmla="*/ 12223 h 282339"/>
                      <a:gd name="connsiteX18" fmla="*/ 176008 w 513347"/>
                      <a:gd name="connsiteY18" fmla="*/ 20778 h 282339"/>
                      <a:gd name="connsiteX19" fmla="*/ 176008 w 513347"/>
                      <a:gd name="connsiteY19" fmla="*/ 90444 h 282339"/>
                      <a:gd name="connsiteX20" fmla="*/ 157668 w 513347"/>
                      <a:gd name="connsiteY20" fmla="*/ 130780 h 282339"/>
                      <a:gd name="connsiteX21" fmla="*/ 157668 w 513347"/>
                      <a:gd name="connsiteY21" fmla="*/ 149113 h 282339"/>
                      <a:gd name="connsiteX22" fmla="*/ 194341 w 513347"/>
                      <a:gd name="connsiteY22" fmla="*/ 149113 h 282339"/>
                      <a:gd name="connsiteX23" fmla="*/ 184561 w 513347"/>
                      <a:gd name="connsiteY23" fmla="*/ 136896 h 282339"/>
                      <a:gd name="connsiteX24" fmla="*/ 183336 w 513347"/>
                      <a:gd name="connsiteY24" fmla="*/ 134451 h 282339"/>
                      <a:gd name="connsiteX25" fmla="*/ 205339 w 513347"/>
                      <a:gd name="connsiteY25" fmla="*/ 48891 h 282339"/>
                      <a:gd name="connsiteX26" fmla="*/ 206558 w 513347"/>
                      <a:gd name="connsiteY26" fmla="*/ 44002 h 282339"/>
                      <a:gd name="connsiteX27" fmla="*/ 243231 w 513347"/>
                      <a:gd name="connsiteY27" fmla="*/ 15889 h 282339"/>
                      <a:gd name="connsiteX28" fmla="*/ 265227 w 513347"/>
                      <a:gd name="connsiteY28" fmla="*/ 15889 h 282339"/>
                      <a:gd name="connsiteX29" fmla="*/ 301899 w 513347"/>
                      <a:gd name="connsiteY29" fmla="*/ 44002 h 282339"/>
                      <a:gd name="connsiteX30" fmla="*/ 325141 w 513347"/>
                      <a:gd name="connsiteY30" fmla="*/ 135670 h 282339"/>
                      <a:gd name="connsiteX31" fmla="*/ 323922 w 513347"/>
                      <a:gd name="connsiteY31" fmla="*/ 138115 h 282339"/>
                      <a:gd name="connsiteX32" fmla="*/ 314105 w 513347"/>
                      <a:gd name="connsiteY32" fmla="*/ 150339 h 282339"/>
                      <a:gd name="connsiteX33" fmla="*/ 354466 w 513347"/>
                      <a:gd name="connsiteY33" fmla="*/ 150339 h 282339"/>
                      <a:gd name="connsiteX34" fmla="*/ 354466 w 513347"/>
                      <a:gd name="connsiteY34" fmla="*/ 128336 h 282339"/>
                      <a:gd name="connsiteX35" fmla="*/ 339772 w 513347"/>
                      <a:gd name="connsiteY35" fmla="*/ 92889 h 282339"/>
                      <a:gd name="connsiteX36" fmla="*/ 339772 w 513347"/>
                      <a:gd name="connsiteY36" fmla="*/ 62335 h 282339"/>
                      <a:gd name="connsiteX37" fmla="*/ 339772 w 513347"/>
                      <a:gd name="connsiteY37" fmla="*/ 55002 h 282339"/>
                      <a:gd name="connsiteX38" fmla="*/ 378914 w 513347"/>
                      <a:gd name="connsiteY38" fmla="*/ 12223 h 282339"/>
                      <a:gd name="connsiteX39" fmla="*/ 448537 w 513347"/>
                      <a:gd name="connsiteY39" fmla="*/ 12223 h 282339"/>
                      <a:gd name="connsiteX40" fmla="*/ 460793 w 513347"/>
                      <a:gd name="connsiteY40" fmla="*/ 0 h 282339"/>
                      <a:gd name="connsiteX41" fmla="*/ 448537 w 513347"/>
                      <a:gd name="connsiteY41" fmla="*/ 0 h 282339"/>
                      <a:gd name="connsiteX42" fmla="*/ 378914 w 513347"/>
                      <a:gd name="connsiteY42" fmla="*/ 0 h 282339"/>
                      <a:gd name="connsiteX43" fmla="*/ 328799 w 513347"/>
                      <a:gd name="connsiteY43" fmla="*/ 55002 h 282339"/>
                      <a:gd name="connsiteX44" fmla="*/ 328799 w 513347"/>
                      <a:gd name="connsiteY44" fmla="*/ 63558 h 282339"/>
                      <a:gd name="connsiteX45" fmla="*/ 328799 w 513347"/>
                      <a:gd name="connsiteY45" fmla="*/ 92889 h 282339"/>
                      <a:gd name="connsiteX46" fmla="*/ 328799 w 513347"/>
                      <a:gd name="connsiteY46" fmla="*/ 97779 h 282339"/>
                      <a:gd name="connsiteX47" fmla="*/ 314105 w 513347"/>
                      <a:gd name="connsiteY47" fmla="*/ 40335 h 282339"/>
                      <a:gd name="connsiteX48" fmla="*/ 311666 w 513347"/>
                      <a:gd name="connsiteY48" fmla="*/ 28112 h 282339"/>
                      <a:gd name="connsiteX49" fmla="*/ 309228 w 513347"/>
                      <a:gd name="connsiteY49" fmla="*/ 28112 h 282339"/>
                      <a:gd name="connsiteX50" fmla="*/ 265227 w 513347"/>
                      <a:gd name="connsiteY50" fmla="*/ 2445 h 282339"/>
                      <a:gd name="connsiteX51" fmla="*/ 243231 w 513347"/>
                      <a:gd name="connsiteY51" fmla="*/ 2445 h 282339"/>
                      <a:gd name="connsiteX52" fmla="*/ 199230 w 513347"/>
                      <a:gd name="connsiteY52" fmla="*/ 28112 h 282339"/>
                      <a:gd name="connsiteX53" fmla="*/ 196785 w 513347"/>
                      <a:gd name="connsiteY53" fmla="*/ 28112 h 282339"/>
                      <a:gd name="connsiteX54" fmla="*/ 194341 w 513347"/>
                      <a:gd name="connsiteY54" fmla="*/ 40335 h 282339"/>
                      <a:gd name="connsiteX55" fmla="*/ 193115 w 513347"/>
                      <a:gd name="connsiteY55" fmla="*/ 45224 h 282339"/>
                      <a:gd name="connsiteX56" fmla="*/ 188225 w 513347"/>
                      <a:gd name="connsiteY56" fmla="*/ 64780 h 282339"/>
                      <a:gd name="connsiteX57" fmla="*/ 188225 w 513347"/>
                      <a:gd name="connsiteY57" fmla="*/ 20778 h 282339"/>
                      <a:gd name="connsiteX58" fmla="*/ 188225 w 513347"/>
                      <a:gd name="connsiteY58" fmla="*/ 12223 h 282339"/>
                      <a:gd name="connsiteX59" fmla="*/ 188225 w 513347"/>
                      <a:gd name="connsiteY59" fmla="*/ 0 h 282339"/>
                      <a:gd name="connsiteX60" fmla="*/ 176008 w 513347"/>
                      <a:gd name="connsiteY60" fmla="*/ 0 h 282339"/>
                      <a:gd name="connsiteX61" fmla="*/ 105114 w 513347"/>
                      <a:gd name="connsiteY61" fmla="*/ 0 h 282339"/>
                      <a:gd name="connsiteX62" fmla="*/ 53779 w 513347"/>
                      <a:gd name="connsiteY62" fmla="*/ 55002 h 282339"/>
                      <a:gd name="connsiteX63" fmla="*/ 53779 w 513347"/>
                      <a:gd name="connsiteY63" fmla="*/ 63558 h 282339"/>
                      <a:gd name="connsiteX64" fmla="*/ 53779 w 513347"/>
                      <a:gd name="connsiteY64" fmla="*/ 92889 h 282339"/>
                      <a:gd name="connsiteX65" fmla="*/ 68448 w 513347"/>
                      <a:gd name="connsiteY65" fmla="*/ 133225 h 282339"/>
                      <a:gd name="connsiteX66" fmla="*/ 68448 w 513347"/>
                      <a:gd name="connsiteY66" fmla="*/ 138115 h 282339"/>
                      <a:gd name="connsiteX67" fmla="*/ 66004 w 513347"/>
                      <a:gd name="connsiteY67" fmla="*/ 138115 h 282339"/>
                      <a:gd name="connsiteX68" fmla="*/ 0 w 513347"/>
                      <a:gd name="connsiteY68" fmla="*/ 204118 h 282339"/>
                      <a:gd name="connsiteX69" fmla="*/ 0 w 513347"/>
                      <a:gd name="connsiteY69" fmla="*/ 270116 h 282339"/>
                      <a:gd name="connsiteX70" fmla="*/ 0 w 513347"/>
                      <a:gd name="connsiteY70" fmla="*/ 282340 h 282339"/>
                      <a:gd name="connsiteX71" fmla="*/ 12224 w 513347"/>
                      <a:gd name="connsiteY71" fmla="*/ 282340 h 282339"/>
                      <a:gd name="connsiteX72" fmla="*/ 501155 w 513347"/>
                      <a:gd name="connsiteY72" fmla="*/ 282340 h 282339"/>
                      <a:gd name="connsiteX73" fmla="*/ 513347 w 513347"/>
                      <a:gd name="connsiteY73" fmla="*/ 282340 h 282339"/>
                      <a:gd name="connsiteX74" fmla="*/ 513347 w 513347"/>
                      <a:gd name="connsiteY74" fmla="*/ 270116 h 282339"/>
                      <a:gd name="connsiteX75" fmla="*/ 513347 w 513347"/>
                      <a:gd name="connsiteY75" fmla="*/ 204118 h 282339"/>
                      <a:gd name="connsiteX76" fmla="*/ 447318 w 513347"/>
                      <a:gd name="connsiteY76" fmla="*/ 138115 h 282339"/>
                      <a:gd name="connsiteX77" fmla="*/ 442441 w 513347"/>
                      <a:gd name="connsiteY77" fmla="*/ 138115 h 282339"/>
                      <a:gd name="connsiteX78" fmla="*/ 442441 w 513347"/>
                      <a:gd name="connsiteY78" fmla="*/ 136896 h 282339"/>
                      <a:gd name="connsiteX79" fmla="*/ 460793 w 513347"/>
                      <a:gd name="connsiteY79" fmla="*/ 91670 h 282339"/>
                      <a:gd name="connsiteX80" fmla="*/ 460793 w 513347"/>
                      <a:gd name="connsiteY80" fmla="*/ 20778 h 282339"/>
                      <a:gd name="connsiteX81" fmla="*/ 460793 w 513347"/>
                      <a:gd name="connsiteY81" fmla="*/ 12223 h 282339"/>
                      <a:gd name="connsiteX82" fmla="*/ 460793 w 513347"/>
                      <a:gd name="connsiteY82" fmla="*/ 0 h 282339"/>
                      <a:gd name="connsiteX83" fmla="*/ 337333 w 513347"/>
                      <a:gd name="connsiteY83" fmla="*/ 136896 h 282339"/>
                      <a:gd name="connsiteX84" fmla="*/ 338553 w 513347"/>
                      <a:gd name="connsiteY84" fmla="*/ 135670 h 282339"/>
                      <a:gd name="connsiteX85" fmla="*/ 337333 w 513347"/>
                      <a:gd name="connsiteY85" fmla="*/ 130780 h 282339"/>
                      <a:gd name="connsiteX86" fmla="*/ 333676 w 513347"/>
                      <a:gd name="connsiteY86" fmla="*/ 117337 h 282339"/>
                      <a:gd name="connsiteX87" fmla="*/ 342210 w 513347"/>
                      <a:gd name="connsiteY87" fmla="*/ 132006 h 282339"/>
                      <a:gd name="connsiteX88" fmla="*/ 342210 w 513347"/>
                      <a:gd name="connsiteY88" fmla="*/ 136896 h 282339"/>
                      <a:gd name="connsiteX89" fmla="*/ 337333 w 513347"/>
                      <a:gd name="connsiteY89" fmla="*/ 136896 h 282339"/>
                      <a:gd name="connsiteX90" fmla="*/ 169892 w 513347"/>
                      <a:gd name="connsiteY90" fmla="*/ 135670 h 282339"/>
                      <a:gd name="connsiteX91" fmla="*/ 169892 w 513347"/>
                      <a:gd name="connsiteY91" fmla="*/ 135670 h 282339"/>
                      <a:gd name="connsiteX92" fmla="*/ 171118 w 513347"/>
                      <a:gd name="connsiteY92" fmla="*/ 136896 h 282339"/>
                      <a:gd name="connsiteX93" fmla="*/ 169892 w 513347"/>
                      <a:gd name="connsiteY93" fmla="*/ 136896 h 282339"/>
                      <a:gd name="connsiteX94" fmla="*/ 169892 w 513347"/>
                      <a:gd name="connsiteY94" fmla="*/ 135670 h 28233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</a:cxnLst>
                    <a:rect l="l" t="t" r="r" b="b"/>
                    <a:pathLst>
                      <a:path w="513347" h="282339">
                        <a:moveTo>
                          <a:pt x="448537" y="12223"/>
                        </a:moveTo>
                        <a:lnTo>
                          <a:pt x="448537" y="20778"/>
                        </a:lnTo>
                        <a:lnTo>
                          <a:pt x="448537" y="90444"/>
                        </a:lnTo>
                        <a:cubicBezTo>
                          <a:pt x="448537" y="106339"/>
                          <a:pt x="441222" y="121001"/>
                          <a:pt x="430249" y="130780"/>
                        </a:cubicBezTo>
                        <a:lnTo>
                          <a:pt x="430249" y="149113"/>
                        </a:lnTo>
                        <a:lnTo>
                          <a:pt x="447318" y="149113"/>
                        </a:lnTo>
                        <a:cubicBezTo>
                          <a:pt x="476707" y="149113"/>
                          <a:pt x="501155" y="173561"/>
                          <a:pt x="501155" y="202893"/>
                        </a:cubicBezTo>
                        <a:lnTo>
                          <a:pt x="501155" y="268896"/>
                        </a:lnTo>
                        <a:lnTo>
                          <a:pt x="12224" y="268896"/>
                        </a:lnTo>
                        <a:lnTo>
                          <a:pt x="12224" y="202893"/>
                        </a:lnTo>
                        <a:cubicBezTo>
                          <a:pt x="12224" y="173561"/>
                          <a:pt x="36666" y="149113"/>
                          <a:pt x="66004" y="149113"/>
                        </a:cubicBezTo>
                        <a:lnTo>
                          <a:pt x="80666" y="149113"/>
                        </a:lnTo>
                        <a:lnTo>
                          <a:pt x="80666" y="127116"/>
                        </a:lnTo>
                        <a:cubicBezTo>
                          <a:pt x="72112" y="117337"/>
                          <a:pt x="66004" y="105113"/>
                          <a:pt x="66004" y="91670"/>
                        </a:cubicBezTo>
                        <a:lnTo>
                          <a:pt x="66004" y="62335"/>
                        </a:lnTo>
                        <a:lnTo>
                          <a:pt x="66004" y="55002"/>
                        </a:lnTo>
                        <a:cubicBezTo>
                          <a:pt x="66004" y="28112"/>
                          <a:pt x="80666" y="12223"/>
                          <a:pt x="105114" y="12223"/>
                        </a:cubicBezTo>
                        <a:lnTo>
                          <a:pt x="176008" y="12223"/>
                        </a:lnTo>
                        <a:lnTo>
                          <a:pt x="176008" y="20778"/>
                        </a:lnTo>
                        <a:lnTo>
                          <a:pt x="176008" y="90444"/>
                        </a:lnTo>
                        <a:cubicBezTo>
                          <a:pt x="176008" y="106339"/>
                          <a:pt x="168673" y="121001"/>
                          <a:pt x="157668" y="130780"/>
                        </a:cubicBezTo>
                        <a:lnTo>
                          <a:pt x="157668" y="149113"/>
                        </a:lnTo>
                        <a:lnTo>
                          <a:pt x="194341" y="149113"/>
                        </a:lnTo>
                        <a:cubicBezTo>
                          <a:pt x="190670" y="145449"/>
                          <a:pt x="188225" y="141779"/>
                          <a:pt x="184561" y="136896"/>
                        </a:cubicBezTo>
                        <a:lnTo>
                          <a:pt x="183336" y="134451"/>
                        </a:lnTo>
                        <a:lnTo>
                          <a:pt x="205339" y="48891"/>
                        </a:lnTo>
                        <a:cubicBezTo>
                          <a:pt x="205339" y="47668"/>
                          <a:pt x="206558" y="45224"/>
                          <a:pt x="206558" y="44002"/>
                        </a:cubicBezTo>
                        <a:cubicBezTo>
                          <a:pt x="211448" y="28112"/>
                          <a:pt x="226117" y="15889"/>
                          <a:pt x="243231" y="15889"/>
                        </a:cubicBezTo>
                        <a:lnTo>
                          <a:pt x="265227" y="15889"/>
                        </a:lnTo>
                        <a:cubicBezTo>
                          <a:pt x="282341" y="15889"/>
                          <a:pt x="297010" y="28112"/>
                          <a:pt x="301899" y="44002"/>
                        </a:cubicBezTo>
                        <a:lnTo>
                          <a:pt x="325141" y="135670"/>
                        </a:lnTo>
                        <a:lnTo>
                          <a:pt x="323922" y="138115"/>
                        </a:lnTo>
                        <a:cubicBezTo>
                          <a:pt x="321484" y="143004"/>
                          <a:pt x="317762" y="146669"/>
                          <a:pt x="314105" y="150339"/>
                        </a:cubicBezTo>
                        <a:lnTo>
                          <a:pt x="354466" y="150339"/>
                        </a:lnTo>
                        <a:lnTo>
                          <a:pt x="354466" y="128336"/>
                        </a:lnTo>
                        <a:cubicBezTo>
                          <a:pt x="345868" y="118556"/>
                          <a:pt x="339772" y="105113"/>
                          <a:pt x="339772" y="92889"/>
                        </a:cubicBezTo>
                        <a:lnTo>
                          <a:pt x="339772" y="62335"/>
                        </a:lnTo>
                        <a:lnTo>
                          <a:pt x="339772" y="55002"/>
                        </a:lnTo>
                        <a:cubicBezTo>
                          <a:pt x="339772" y="28112"/>
                          <a:pt x="354466" y="12223"/>
                          <a:pt x="378914" y="12223"/>
                        </a:cubicBezTo>
                        <a:lnTo>
                          <a:pt x="448537" y="12223"/>
                        </a:lnTo>
                        <a:close/>
                        <a:moveTo>
                          <a:pt x="460793" y="0"/>
                        </a:moveTo>
                        <a:lnTo>
                          <a:pt x="448537" y="0"/>
                        </a:lnTo>
                        <a:lnTo>
                          <a:pt x="378914" y="0"/>
                        </a:lnTo>
                        <a:cubicBezTo>
                          <a:pt x="348370" y="0"/>
                          <a:pt x="328799" y="20778"/>
                          <a:pt x="328799" y="55002"/>
                        </a:cubicBezTo>
                        <a:lnTo>
                          <a:pt x="328799" y="63558"/>
                        </a:lnTo>
                        <a:lnTo>
                          <a:pt x="328799" y="92889"/>
                        </a:lnTo>
                        <a:cubicBezTo>
                          <a:pt x="328799" y="94115"/>
                          <a:pt x="328799" y="96559"/>
                          <a:pt x="328799" y="97779"/>
                        </a:cubicBezTo>
                        <a:lnTo>
                          <a:pt x="314105" y="40335"/>
                        </a:lnTo>
                        <a:lnTo>
                          <a:pt x="311666" y="28112"/>
                        </a:lnTo>
                        <a:lnTo>
                          <a:pt x="309228" y="28112"/>
                        </a:lnTo>
                        <a:cubicBezTo>
                          <a:pt x="300674" y="12223"/>
                          <a:pt x="283560" y="2445"/>
                          <a:pt x="265227" y="2445"/>
                        </a:cubicBezTo>
                        <a:lnTo>
                          <a:pt x="243231" y="2445"/>
                        </a:lnTo>
                        <a:cubicBezTo>
                          <a:pt x="224897" y="2445"/>
                          <a:pt x="209003" y="12223"/>
                          <a:pt x="199230" y="28112"/>
                        </a:cubicBezTo>
                        <a:lnTo>
                          <a:pt x="196785" y="28112"/>
                        </a:lnTo>
                        <a:lnTo>
                          <a:pt x="194341" y="40335"/>
                        </a:lnTo>
                        <a:cubicBezTo>
                          <a:pt x="194341" y="41557"/>
                          <a:pt x="193115" y="44002"/>
                          <a:pt x="193115" y="45224"/>
                        </a:cubicBezTo>
                        <a:lnTo>
                          <a:pt x="188225" y="64780"/>
                        </a:lnTo>
                        <a:lnTo>
                          <a:pt x="188225" y="20778"/>
                        </a:lnTo>
                        <a:lnTo>
                          <a:pt x="188225" y="12223"/>
                        </a:lnTo>
                        <a:lnTo>
                          <a:pt x="188225" y="0"/>
                        </a:lnTo>
                        <a:lnTo>
                          <a:pt x="176008" y="0"/>
                        </a:lnTo>
                        <a:lnTo>
                          <a:pt x="105114" y="0"/>
                        </a:lnTo>
                        <a:cubicBezTo>
                          <a:pt x="74557" y="0"/>
                          <a:pt x="53779" y="20778"/>
                          <a:pt x="53779" y="55002"/>
                        </a:cubicBezTo>
                        <a:lnTo>
                          <a:pt x="53779" y="63558"/>
                        </a:lnTo>
                        <a:lnTo>
                          <a:pt x="53779" y="92889"/>
                        </a:lnTo>
                        <a:cubicBezTo>
                          <a:pt x="53779" y="107558"/>
                          <a:pt x="58669" y="122227"/>
                          <a:pt x="68448" y="133225"/>
                        </a:cubicBezTo>
                        <a:lnTo>
                          <a:pt x="68448" y="138115"/>
                        </a:lnTo>
                        <a:lnTo>
                          <a:pt x="66004" y="138115"/>
                        </a:lnTo>
                        <a:cubicBezTo>
                          <a:pt x="29331" y="138115"/>
                          <a:pt x="0" y="167446"/>
                          <a:pt x="0" y="204118"/>
                        </a:cubicBezTo>
                        <a:lnTo>
                          <a:pt x="0" y="270116"/>
                        </a:lnTo>
                        <a:lnTo>
                          <a:pt x="0" y="282340"/>
                        </a:lnTo>
                        <a:lnTo>
                          <a:pt x="12224" y="282340"/>
                        </a:lnTo>
                        <a:lnTo>
                          <a:pt x="501155" y="282340"/>
                        </a:lnTo>
                        <a:lnTo>
                          <a:pt x="513347" y="282340"/>
                        </a:lnTo>
                        <a:lnTo>
                          <a:pt x="513347" y="270116"/>
                        </a:lnTo>
                        <a:lnTo>
                          <a:pt x="513347" y="204118"/>
                        </a:lnTo>
                        <a:cubicBezTo>
                          <a:pt x="513347" y="167446"/>
                          <a:pt x="484023" y="138115"/>
                          <a:pt x="447318" y="138115"/>
                        </a:cubicBezTo>
                        <a:lnTo>
                          <a:pt x="442441" y="138115"/>
                        </a:lnTo>
                        <a:lnTo>
                          <a:pt x="442441" y="136896"/>
                        </a:lnTo>
                        <a:cubicBezTo>
                          <a:pt x="453478" y="124672"/>
                          <a:pt x="460793" y="107558"/>
                          <a:pt x="460793" y="91670"/>
                        </a:cubicBezTo>
                        <a:lnTo>
                          <a:pt x="460793" y="20778"/>
                        </a:lnTo>
                        <a:lnTo>
                          <a:pt x="460793" y="12223"/>
                        </a:lnTo>
                        <a:lnTo>
                          <a:pt x="460793" y="0"/>
                        </a:lnTo>
                        <a:close/>
                        <a:moveTo>
                          <a:pt x="337333" y="136896"/>
                        </a:moveTo>
                        <a:lnTo>
                          <a:pt x="338553" y="135670"/>
                        </a:lnTo>
                        <a:lnTo>
                          <a:pt x="337333" y="130780"/>
                        </a:lnTo>
                        <a:lnTo>
                          <a:pt x="333676" y="117337"/>
                        </a:lnTo>
                        <a:cubicBezTo>
                          <a:pt x="336114" y="122227"/>
                          <a:pt x="338553" y="127116"/>
                          <a:pt x="342210" y="132006"/>
                        </a:cubicBezTo>
                        <a:lnTo>
                          <a:pt x="342210" y="136896"/>
                        </a:lnTo>
                        <a:lnTo>
                          <a:pt x="337333" y="136896"/>
                        </a:lnTo>
                        <a:close/>
                        <a:moveTo>
                          <a:pt x="169892" y="135670"/>
                        </a:moveTo>
                        <a:cubicBezTo>
                          <a:pt x="169892" y="135670"/>
                          <a:pt x="169892" y="134451"/>
                          <a:pt x="169892" y="135670"/>
                        </a:cubicBezTo>
                        <a:lnTo>
                          <a:pt x="171118" y="136896"/>
                        </a:lnTo>
                        <a:lnTo>
                          <a:pt x="169892" y="136896"/>
                        </a:lnTo>
                        <a:lnTo>
                          <a:pt x="169892" y="13567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  <p:grpSp>
              <p:nvGrpSpPr>
                <p:cNvPr id="288" name="Graphic 3">
                  <a:extLst>
                    <a:ext uri="{FF2B5EF4-FFF2-40B4-BE49-F238E27FC236}">
                      <a16:creationId xmlns:a16="http://schemas.microsoft.com/office/drawing/2014/main" id="{ADA6AF2C-121D-FC8B-B360-EA0B347B05C8}"/>
                    </a:ext>
                  </a:extLst>
                </p:cNvPr>
                <p:cNvGrpSpPr/>
                <p:nvPr/>
              </p:nvGrpSpPr>
              <p:grpSpPr>
                <a:xfrm>
                  <a:off x="6117849" y="1965350"/>
                  <a:ext cx="488930" cy="257899"/>
                  <a:chOff x="6117849" y="1965350"/>
                  <a:chExt cx="488930" cy="257899"/>
                </a:xfrm>
                <a:solidFill>
                  <a:srgbClr val="2D5967"/>
                </a:solidFill>
              </p:grpSpPr>
              <p:sp>
                <p:nvSpPr>
                  <p:cNvPr id="289" name="Freeform: Shape 288">
                    <a:extLst>
                      <a:ext uri="{FF2B5EF4-FFF2-40B4-BE49-F238E27FC236}">
                        <a16:creationId xmlns:a16="http://schemas.microsoft.com/office/drawing/2014/main" id="{EE9640A7-322F-1A39-3DE4-8FED17DD636C}"/>
                      </a:ext>
                    </a:extLst>
                  </p:cNvPr>
                  <p:cNvSpPr/>
                  <p:nvPr/>
                </p:nvSpPr>
                <p:spPr>
                  <a:xfrm>
                    <a:off x="6446616" y="1965350"/>
                    <a:ext cx="160164" cy="257899"/>
                  </a:xfrm>
                  <a:custGeom>
                    <a:avLst/>
                    <a:gdLst>
                      <a:gd name="connsiteX0" fmla="*/ 106327 w 160164"/>
                      <a:gd name="connsiteY0" fmla="*/ 136890 h 257899"/>
                      <a:gd name="connsiteX1" fmla="*/ 89258 w 160164"/>
                      <a:gd name="connsiteY1" fmla="*/ 136890 h 257899"/>
                      <a:gd name="connsiteX2" fmla="*/ 89258 w 160164"/>
                      <a:gd name="connsiteY2" fmla="*/ 118558 h 257899"/>
                      <a:gd name="connsiteX3" fmla="*/ 107546 w 160164"/>
                      <a:gd name="connsiteY3" fmla="*/ 78228 h 257899"/>
                      <a:gd name="connsiteX4" fmla="*/ 107546 w 160164"/>
                      <a:gd name="connsiteY4" fmla="*/ 8556 h 257899"/>
                      <a:gd name="connsiteX5" fmla="*/ 107546 w 160164"/>
                      <a:gd name="connsiteY5" fmla="*/ 0 h 257899"/>
                      <a:gd name="connsiteX6" fmla="*/ 37923 w 160164"/>
                      <a:gd name="connsiteY6" fmla="*/ 0 h 257899"/>
                      <a:gd name="connsiteX7" fmla="*/ 0 w 160164"/>
                      <a:gd name="connsiteY7" fmla="*/ 42779 h 257899"/>
                      <a:gd name="connsiteX8" fmla="*/ 0 w 160164"/>
                      <a:gd name="connsiteY8" fmla="*/ 51335 h 257899"/>
                      <a:gd name="connsiteX9" fmla="*/ 0 w 160164"/>
                      <a:gd name="connsiteY9" fmla="*/ 80666 h 257899"/>
                      <a:gd name="connsiteX10" fmla="*/ 14694 w 160164"/>
                      <a:gd name="connsiteY10" fmla="*/ 116113 h 257899"/>
                      <a:gd name="connsiteX11" fmla="*/ 14694 w 160164"/>
                      <a:gd name="connsiteY11" fmla="*/ 138116 h 257899"/>
                      <a:gd name="connsiteX12" fmla="*/ 1219 w 160164"/>
                      <a:gd name="connsiteY12" fmla="*/ 138116 h 257899"/>
                      <a:gd name="connsiteX13" fmla="*/ 13475 w 160164"/>
                      <a:gd name="connsiteY13" fmla="*/ 149115 h 257899"/>
                      <a:gd name="connsiteX14" fmla="*/ 18352 w 160164"/>
                      <a:gd name="connsiteY14" fmla="*/ 155230 h 257899"/>
                      <a:gd name="connsiteX15" fmla="*/ 19571 w 160164"/>
                      <a:gd name="connsiteY15" fmla="*/ 155230 h 257899"/>
                      <a:gd name="connsiteX16" fmla="*/ 53773 w 160164"/>
                      <a:gd name="connsiteY16" fmla="*/ 191896 h 257899"/>
                      <a:gd name="connsiteX17" fmla="*/ 88039 w 160164"/>
                      <a:gd name="connsiteY17" fmla="*/ 155230 h 257899"/>
                      <a:gd name="connsiteX18" fmla="*/ 108829 w 160164"/>
                      <a:gd name="connsiteY18" fmla="*/ 155230 h 257899"/>
                      <a:gd name="connsiteX19" fmla="*/ 145470 w 160164"/>
                      <a:gd name="connsiteY19" fmla="*/ 191896 h 257899"/>
                      <a:gd name="connsiteX20" fmla="*/ 145470 w 160164"/>
                      <a:gd name="connsiteY20" fmla="*/ 257899 h 257899"/>
                      <a:gd name="connsiteX21" fmla="*/ 160164 w 160164"/>
                      <a:gd name="connsiteY21" fmla="*/ 257899 h 257899"/>
                      <a:gd name="connsiteX22" fmla="*/ 160164 w 160164"/>
                      <a:gd name="connsiteY22" fmla="*/ 191896 h 257899"/>
                      <a:gd name="connsiteX23" fmla="*/ 106327 w 160164"/>
                      <a:gd name="connsiteY23" fmla="*/ 136890 h 257899"/>
                      <a:gd name="connsiteX24" fmla="*/ 37923 w 160164"/>
                      <a:gd name="connsiteY24" fmla="*/ 15889 h 257899"/>
                      <a:gd name="connsiteX25" fmla="*/ 91697 w 160164"/>
                      <a:gd name="connsiteY25" fmla="*/ 15889 h 257899"/>
                      <a:gd name="connsiteX26" fmla="*/ 73344 w 160164"/>
                      <a:gd name="connsiteY26" fmla="*/ 34224 h 257899"/>
                      <a:gd name="connsiteX27" fmla="*/ 15914 w 160164"/>
                      <a:gd name="connsiteY27" fmla="*/ 34224 h 257899"/>
                      <a:gd name="connsiteX28" fmla="*/ 37923 w 160164"/>
                      <a:gd name="connsiteY28" fmla="*/ 15889 h 257899"/>
                      <a:gd name="connsiteX29" fmla="*/ 73344 w 160164"/>
                      <a:gd name="connsiteY29" fmla="*/ 141780 h 257899"/>
                      <a:gd name="connsiteX30" fmla="*/ 51335 w 160164"/>
                      <a:gd name="connsiteY30" fmla="*/ 165003 h 257899"/>
                      <a:gd name="connsiteX31" fmla="*/ 29325 w 160164"/>
                      <a:gd name="connsiteY31" fmla="*/ 141780 h 257899"/>
                      <a:gd name="connsiteX32" fmla="*/ 29325 w 160164"/>
                      <a:gd name="connsiteY32" fmla="*/ 125892 h 257899"/>
                      <a:gd name="connsiteX33" fmla="*/ 53773 w 160164"/>
                      <a:gd name="connsiteY33" fmla="*/ 132001 h 257899"/>
                      <a:gd name="connsiteX34" fmla="*/ 57495 w 160164"/>
                      <a:gd name="connsiteY34" fmla="*/ 132001 h 257899"/>
                      <a:gd name="connsiteX35" fmla="*/ 73344 w 160164"/>
                      <a:gd name="connsiteY35" fmla="*/ 128337 h 257899"/>
                      <a:gd name="connsiteX36" fmla="*/ 73344 w 160164"/>
                      <a:gd name="connsiteY36" fmla="*/ 141780 h 257899"/>
                      <a:gd name="connsiteX37" fmla="*/ 56212 w 160164"/>
                      <a:gd name="connsiteY37" fmla="*/ 116113 h 257899"/>
                      <a:gd name="connsiteX38" fmla="*/ 26887 w 160164"/>
                      <a:gd name="connsiteY38" fmla="*/ 106333 h 257899"/>
                      <a:gd name="connsiteX39" fmla="*/ 14694 w 160164"/>
                      <a:gd name="connsiteY39" fmla="*/ 79447 h 257899"/>
                      <a:gd name="connsiteX40" fmla="*/ 14694 w 160164"/>
                      <a:gd name="connsiteY40" fmla="*/ 50113 h 257899"/>
                      <a:gd name="connsiteX41" fmla="*/ 72125 w 160164"/>
                      <a:gd name="connsiteY41" fmla="*/ 50113 h 257899"/>
                      <a:gd name="connsiteX42" fmla="*/ 90477 w 160164"/>
                      <a:gd name="connsiteY42" fmla="*/ 45223 h 257899"/>
                      <a:gd name="connsiteX43" fmla="*/ 90477 w 160164"/>
                      <a:gd name="connsiteY43" fmla="*/ 78228 h 257899"/>
                      <a:gd name="connsiteX44" fmla="*/ 56212 w 160164"/>
                      <a:gd name="connsiteY44" fmla="*/ 116113 h 2578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</a:cxnLst>
                    <a:rect l="l" t="t" r="r" b="b"/>
                    <a:pathLst>
                      <a:path w="160164" h="257899">
                        <a:moveTo>
                          <a:pt x="106327" y="136890"/>
                        </a:moveTo>
                        <a:lnTo>
                          <a:pt x="89258" y="136890"/>
                        </a:lnTo>
                        <a:lnTo>
                          <a:pt x="89258" y="118558"/>
                        </a:lnTo>
                        <a:cubicBezTo>
                          <a:pt x="100231" y="108778"/>
                          <a:pt x="107546" y="94116"/>
                          <a:pt x="107546" y="78228"/>
                        </a:cubicBezTo>
                        <a:lnTo>
                          <a:pt x="107546" y="8556"/>
                        </a:lnTo>
                        <a:lnTo>
                          <a:pt x="107546" y="0"/>
                        </a:lnTo>
                        <a:lnTo>
                          <a:pt x="37923" y="0"/>
                        </a:lnTo>
                        <a:cubicBezTo>
                          <a:pt x="13475" y="0"/>
                          <a:pt x="0" y="15889"/>
                          <a:pt x="0" y="42779"/>
                        </a:cubicBezTo>
                        <a:lnTo>
                          <a:pt x="0" y="51335"/>
                        </a:lnTo>
                        <a:lnTo>
                          <a:pt x="0" y="80666"/>
                        </a:lnTo>
                        <a:cubicBezTo>
                          <a:pt x="0" y="94116"/>
                          <a:pt x="4877" y="106333"/>
                          <a:pt x="14694" y="116113"/>
                        </a:cubicBezTo>
                        <a:lnTo>
                          <a:pt x="14694" y="138116"/>
                        </a:lnTo>
                        <a:lnTo>
                          <a:pt x="1219" y="138116"/>
                        </a:lnTo>
                        <a:cubicBezTo>
                          <a:pt x="6160" y="140561"/>
                          <a:pt x="9818" y="144225"/>
                          <a:pt x="13475" y="149115"/>
                        </a:cubicBezTo>
                        <a:cubicBezTo>
                          <a:pt x="14694" y="150340"/>
                          <a:pt x="17133" y="152785"/>
                          <a:pt x="18352" y="155230"/>
                        </a:cubicBezTo>
                        <a:lnTo>
                          <a:pt x="19571" y="155230"/>
                        </a:lnTo>
                        <a:lnTo>
                          <a:pt x="53773" y="191896"/>
                        </a:lnTo>
                        <a:lnTo>
                          <a:pt x="88039" y="155230"/>
                        </a:lnTo>
                        <a:lnTo>
                          <a:pt x="108829" y="155230"/>
                        </a:lnTo>
                        <a:cubicBezTo>
                          <a:pt x="129556" y="155230"/>
                          <a:pt x="145470" y="172337"/>
                          <a:pt x="145470" y="191896"/>
                        </a:cubicBezTo>
                        <a:lnTo>
                          <a:pt x="145470" y="257899"/>
                        </a:lnTo>
                        <a:lnTo>
                          <a:pt x="160164" y="257899"/>
                        </a:lnTo>
                        <a:lnTo>
                          <a:pt x="160164" y="191896"/>
                        </a:lnTo>
                        <a:cubicBezTo>
                          <a:pt x="160164" y="160113"/>
                          <a:pt x="135716" y="136890"/>
                          <a:pt x="106327" y="136890"/>
                        </a:cubicBezTo>
                        <a:close/>
                        <a:moveTo>
                          <a:pt x="37923" y="15889"/>
                        </a:moveTo>
                        <a:lnTo>
                          <a:pt x="91697" y="15889"/>
                        </a:lnTo>
                        <a:cubicBezTo>
                          <a:pt x="89258" y="34224"/>
                          <a:pt x="77002" y="34224"/>
                          <a:pt x="73344" y="34224"/>
                        </a:cubicBezTo>
                        <a:lnTo>
                          <a:pt x="15914" y="34224"/>
                        </a:lnTo>
                        <a:cubicBezTo>
                          <a:pt x="18352" y="22001"/>
                          <a:pt x="25667" y="15889"/>
                          <a:pt x="37923" y="15889"/>
                        </a:cubicBezTo>
                        <a:close/>
                        <a:moveTo>
                          <a:pt x="73344" y="141780"/>
                        </a:moveTo>
                        <a:lnTo>
                          <a:pt x="51335" y="165003"/>
                        </a:lnTo>
                        <a:lnTo>
                          <a:pt x="29325" y="141780"/>
                        </a:lnTo>
                        <a:lnTo>
                          <a:pt x="29325" y="125892"/>
                        </a:lnTo>
                        <a:cubicBezTo>
                          <a:pt x="36704" y="129562"/>
                          <a:pt x="45239" y="132001"/>
                          <a:pt x="53773" y="132001"/>
                        </a:cubicBezTo>
                        <a:cubicBezTo>
                          <a:pt x="54992" y="132001"/>
                          <a:pt x="56212" y="132001"/>
                          <a:pt x="57495" y="132001"/>
                        </a:cubicBezTo>
                        <a:cubicBezTo>
                          <a:pt x="63591" y="132001"/>
                          <a:pt x="68468" y="130782"/>
                          <a:pt x="73344" y="128337"/>
                        </a:cubicBezTo>
                        <a:lnTo>
                          <a:pt x="73344" y="141780"/>
                        </a:lnTo>
                        <a:close/>
                        <a:moveTo>
                          <a:pt x="56212" y="116113"/>
                        </a:moveTo>
                        <a:cubicBezTo>
                          <a:pt x="45239" y="117338"/>
                          <a:pt x="35485" y="113668"/>
                          <a:pt x="26887" y="106333"/>
                        </a:cubicBezTo>
                        <a:cubicBezTo>
                          <a:pt x="19571" y="99005"/>
                          <a:pt x="14694" y="89226"/>
                          <a:pt x="14694" y="79447"/>
                        </a:cubicBezTo>
                        <a:lnTo>
                          <a:pt x="14694" y="50113"/>
                        </a:lnTo>
                        <a:lnTo>
                          <a:pt x="72125" y="50113"/>
                        </a:lnTo>
                        <a:cubicBezTo>
                          <a:pt x="79441" y="50113"/>
                          <a:pt x="85600" y="48891"/>
                          <a:pt x="90477" y="45223"/>
                        </a:cubicBezTo>
                        <a:lnTo>
                          <a:pt x="90477" y="78228"/>
                        </a:lnTo>
                        <a:cubicBezTo>
                          <a:pt x="91697" y="97780"/>
                          <a:pt x="75783" y="114894"/>
                          <a:pt x="56212" y="116113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90" name="Freeform: Shape 289">
                    <a:extLst>
                      <a:ext uri="{FF2B5EF4-FFF2-40B4-BE49-F238E27FC236}">
                        <a16:creationId xmlns:a16="http://schemas.microsoft.com/office/drawing/2014/main" id="{54E0E4A5-8F37-0C49-54C4-C967F7841C45}"/>
                      </a:ext>
                    </a:extLst>
                  </p:cNvPr>
                  <p:cNvSpPr/>
                  <p:nvPr/>
                </p:nvSpPr>
                <p:spPr>
                  <a:xfrm>
                    <a:off x="6546847" y="2156020"/>
                    <a:ext cx="15913" cy="64784"/>
                  </a:xfrm>
                  <a:custGeom>
                    <a:avLst/>
                    <a:gdLst>
                      <a:gd name="connsiteX0" fmla="*/ 15914 w 15913"/>
                      <a:gd name="connsiteY0" fmla="*/ 0 h 64784"/>
                      <a:gd name="connsiteX1" fmla="*/ 7315 w 15913"/>
                      <a:gd name="connsiteY1" fmla="*/ 0 h 64784"/>
                      <a:gd name="connsiteX2" fmla="*/ 0 w 15913"/>
                      <a:gd name="connsiteY2" fmla="*/ 17114 h 64784"/>
                      <a:gd name="connsiteX3" fmla="*/ 0 w 15913"/>
                      <a:gd name="connsiteY3" fmla="*/ 64784 h 64784"/>
                      <a:gd name="connsiteX4" fmla="*/ 15914 w 15913"/>
                      <a:gd name="connsiteY4" fmla="*/ 64784 h 64784"/>
                      <a:gd name="connsiteX5" fmla="*/ 15914 w 15913"/>
                      <a:gd name="connsiteY5" fmla="*/ 0 h 647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5913" h="64784">
                        <a:moveTo>
                          <a:pt x="15914" y="0"/>
                        </a:moveTo>
                        <a:lnTo>
                          <a:pt x="7315" y="0"/>
                        </a:lnTo>
                        <a:lnTo>
                          <a:pt x="0" y="17114"/>
                        </a:lnTo>
                        <a:lnTo>
                          <a:pt x="0" y="64784"/>
                        </a:lnTo>
                        <a:lnTo>
                          <a:pt x="15914" y="64784"/>
                        </a:lnTo>
                        <a:lnTo>
                          <a:pt x="15914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91" name="Freeform: Shape 290">
                    <a:extLst>
                      <a:ext uri="{FF2B5EF4-FFF2-40B4-BE49-F238E27FC236}">
                        <a16:creationId xmlns:a16="http://schemas.microsoft.com/office/drawing/2014/main" id="{1B63532E-E753-95AC-0A27-D6C144695291}"/>
                      </a:ext>
                    </a:extLst>
                  </p:cNvPr>
                  <p:cNvSpPr/>
                  <p:nvPr/>
                </p:nvSpPr>
                <p:spPr>
                  <a:xfrm>
                    <a:off x="6117849" y="1965350"/>
                    <a:ext cx="162557" cy="257899"/>
                  </a:xfrm>
                  <a:custGeom>
                    <a:avLst/>
                    <a:gdLst>
                      <a:gd name="connsiteX0" fmla="*/ 141780 w 162557"/>
                      <a:gd name="connsiteY0" fmla="*/ 152785 h 257899"/>
                      <a:gd name="connsiteX1" fmla="*/ 145444 w 162557"/>
                      <a:gd name="connsiteY1" fmla="*/ 149115 h 257899"/>
                      <a:gd name="connsiteX2" fmla="*/ 158894 w 162557"/>
                      <a:gd name="connsiteY2" fmla="*/ 136890 h 257899"/>
                      <a:gd name="connsiteX3" fmla="*/ 144225 w 162557"/>
                      <a:gd name="connsiteY3" fmla="*/ 136890 h 257899"/>
                      <a:gd name="connsiteX4" fmla="*/ 144225 w 162557"/>
                      <a:gd name="connsiteY4" fmla="*/ 118558 h 257899"/>
                      <a:gd name="connsiteX5" fmla="*/ 162558 w 162557"/>
                      <a:gd name="connsiteY5" fmla="*/ 78228 h 257899"/>
                      <a:gd name="connsiteX6" fmla="*/ 162558 w 162557"/>
                      <a:gd name="connsiteY6" fmla="*/ 8556 h 257899"/>
                      <a:gd name="connsiteX7" fmla="*/ 162558 w 162557"/>
                      <a:gd name="connsiteY7" fmla="*/ 0 h 257899"/>
                      <a:gd name="connsiteX8" fmla="*/ 92890 w 162557"/>
                      <a:gd name="connsiteY8" fmla="*/ 0 h 257899"/>
                      <a:gd name="connsiteX9" fmla="*/ 54999 w 162557"/>
                      <a:gd name="connsiteY9" fmla="*/ 42779 h 257899"/>
                      <a:gd name="connsiteX10" fmla="*/ 54999 w 162557"/>
                      <a:gd name="connsiteY10" fmla="*/ 51335 h 257899"/>
                      <a:gd name="connsiteX11" fmla="*/ 54999 w 162557"/>
                      <a:gd name="connsiteY11" fmla="*/ 80666 h 257899"/>
                      <a:gd name="connsiteX12" fmla="*/ 69668 w 162557"/>
                      <a:gd name="connsiteY12" fmla="*/ 116113 h 257899"/>
                      <a:gd name="connsiteX13" fmla="*/ 69668 w 162557"/>
                      <a:gd name="connsiteY13" fmla="*/ 138116 h 257899"/>
                      <a:gd name="connsiteX14" fmla="*/ 53779 w 162557"/>
                      <a:gd name="connsiteY14" fmla="*/ 138116 h 257899"/>
                      <a:gd name="connsiteX15" fmla="*/ 0 w 162557"/>
                      <a:gd name="connsiteY15" fmla="*/ 191896 h 257899"/>
                      <a:gd name="connsiteX16" fmla="*/ 0 w 162557"/>
                      <a:gd name="connsiteY16" fmla="*/ 257899 h 257899"/>
                      <a:gd name="connsiteX17" fmla="*/ 15888 w 162557"/>
                      <a:gd name="connsiteY17" fmla="*/ 257899 h 257899"/>
                      <a:gd name="connsiteX18" fmla="*/ 15888 w 162557"/>
                      <a:gd name="connsiteY18" fmla="*/ 191896 h 257899"/>
                      <a:gd name="connsiteX19" fmla="*/ 52554 w 162557"/>
                      <a:gd name="connsiteY19" fmla="*/ 155230 h 257899"/>
                      <a:gd name="connsiteX20" fmla="*/ 70887 w 162557"/>
                      <a:gd name="connsiteY20" fmla="*/ 155230 h 257899"/>
                      <a:gd name="connsiteX21" fmla="*/ 105114 w 162557"/>
                      <a:gd name="connsiteY21" fmla="*/ 191896 h 257899"/>
                      <a:gd name="connsiteX22" fmla="*/ 141780 w 162557"/>
                      <a:gd name="connsiteY22" fmla="*/ 152785 h 257899"/>
                      <a:gd name="connsiteX23" fmla="*/ 92890 w 162557"/>
                      <a:gd name="connsiteY23" fmla="*/ 15889 h 257899"/>
                      <a:gd name="connsiteX24" fmla="*/ 146670 w 162557"/>
                      <a:gd name="connsiteY24" fmla="*/ 15889 h 257899"/>
                      <a:gd name="connsiteX25" fmla="*/ 128337 w 162557"/>
                      <a:gd name="connsiteY25" fmla="*/ 34224 h 257899"/>
                      <a:gd name="connsiteX26" fmla="*/ 70887 w 162557"/>
                      <a:gd name="connsiteY26" fmla="*/ 34224 h 257899"/>
                      <a:gd name="connsiteX27" fmla="*/ 92890 w 162557"/>
                      <a:gd name="connsiteY27" fmla="*/ 15889 h 257899"/>
                      <a:gd name="connsiteX28" fmla="*/ 128337 w 162557"/>
                      <a:gd name="connsiteY28" fmla="*/ 141780 h 257899"/>
                      <a:gd name="connsiteX29" fmla="*/ 106333 w 162557"/>
                      <a:gd name="connsiteY29" fmla="*/ 165003 h 257899"/>
                      <a:gd name="connsiteX30" fmla="*/ 84336 w 162557"/>
                      <a:gd name="connsiteY30" fmla="*/ 141780 h 257899"/>
                      <a:gd name="connsiteX31" fmla="*/ 84336 w 162557"/>
                      <a:gd name="connsiteY31" fmla="*/ 125892 h 257899"/>
                      <a:gd name="connsiteX32" fmla="*/ 108778 w 162557"/>
                      <a:gd name="connsiteY32" fmla="*/ 132001 h 257899"/>
                      <a:gd name="connsiteX33" fmla="*/ 112449 w 162557"/>
                      <a:gd name="connsiteY33" fmla="*/ 132001 h 257899"/>
                      <a:gd name="connsiteX34" fmla="*/ 128337 w 162557"/>
                      <a:gd name="connsiteY34" fmla="*/ 128337 h 257899"/>
                      <a:gd name="connsiteX35" fmla="*/ 128337 w 162557"/>
                      <a:gd name="connsiteY35" fmla="*/ 141780 h 257899"/>
                      <a:gd name="connsiteX36" fmla="*/ 111223 w 162557"/>
                      <a:gd name="connsiteY36" fmla="*/ 116113 h 257899"/>
                      <a:gd name="connsiteX37" fmla="*/ 81892 w 162557"/>
                      <a:gd name="connsiteY37" fmla="*/ 106333 h 257899"/>
                      <a:gd name="connsiteX38" fmla="*/ 69668 w 162557"/>
                      <a:gd name="connsiteY38" fmla="*/ 79447 h 257899"/>
                      <a:gd name="connsiteX39" fmla="*/ 69668 w 162557"/>
                      <a:gd name="connsiteY39" fmla="*/ 50113 h 257899"/>
                      <a:gd name="connsiteX40" fmla="*/ 127111 w 162557"/>
                      <a:gd name="connsiteY40" fmla="*/ 50113 h 257899"/>
                      <a:gd name="connsiteX41" fmla="*/ 145444 w 162557"/>
                      <a:gd name="connsiteY41" fmla="*/ 45223 h 257899"/>
                      <a:gd name="connsiteX42" fmla="*/ 145444 w 162557"/>
                      <a:gd name="connsiteY42" fmla="*/ 78228 h 257899"/>
                      <a:gd name="connsiteX43" fmla="*/ 111223 w 162557"/>
                      <a:gd name="connsiteY43" fmla="*/ 116113 h 2578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</a:cxnLst>
                    <a:rect l="l" t="t" r="r" b="b"/>
                    <a:pathLst>
                      <a:path w="162557" h="257899">
                        <a:moveTo>
                          <a:pt x="141780" y="152785"/>
                        </a:moveTo>
                        <a:cubicBezTo>
                          <a:pt x="143005" y="151559"/>
                          <a:pt x="144225" y="150340"/>
                          <a:pt x="145444" y="149115"/>
                        </a:cubicBezTo>
                        <a:cubicBezTo>
                          <a:pt x="149114" y="144225"/>
                          <a:pt x="154004" y="140561"/>
                          <a:pt x="158894" y="136890"/>
                        </a:cubicBezTo>
                        <a:lnTo>
                          <a:pt x="144225" y="136890"/>
                        </a:lnTo>
                        <a:lnTo>
                          <a:pt x="144225" y="118558"/>
                        </a:lnTo>
                        <a:cubicBezTo>
                          <a:pt x="155223" y="108778"/>
                          <a:pt x="162558" y="94116"/>
                          <a:pt x="162558" y="78228"/>
                        </a:cubicBezTo>
                        <a:lnTo>
                          <a:pt x="162558" y="8556"/>
                        </a:lnTo>
                        <a:lnTo>
                          <a:pt x="162558" y="0"/>
                        </a:lnTo>
                        <a:lnTo>
                          <a:pt x="92890" y="0"/>
                        </a:lnTo>
                        <a:cubicBezTo>
                          <a:pt x="68442" y="0"/>
                          <a:pt x="54999" y="15889"/>
                          <a:pt x="54999" y="42779"/>
                        </a:cubicBezTo>
                        <a:lnTo>
                          <a:pt x="54999" y="51335"/>
                        </a:lnTo>
                        <a:lnTo>
                          <a:pt x="54999" y="80666"/>
                        </a:lnTo>
                        <a:cubicBezTo>
                          <a:pt x="54999" y="94116"/>
                          <a:pt x="59888" y="106333"/>
                          <a:pt x="69668" y="116113"/>
                        </a:cubicBezTo>
                        <a:lnTo>
                          <a:pt x="69668" y="138116"/>
                        </a:lnTo>
                        <a:lnTo>
                          <a:pt x="53779" y="138116"/>
                        </a:lnTo>
                        <a:cubicBezTo>
                          <a:pt x="24441" y="138116"/>
                          <a:pt x="0" y="162558"/>
                          <a:pt x="0" y="191896"/>
                        </a:cubicBezTo>
                        <a:lnTo>
                          <a:pt x="0" y="257899"/>
                        </a:lnTo>
                        <a:lnTo>
                          <a:pt x="15888" y="257899"/>
                        </a:lnTo>
                        <a:lnTo>
                          <a:pt x="15888" y="191896"/>
                        </a:lnTo>
                        <a:cubicBezTo>
                          <a:pt x="15888" y="171118"/>
                          <a:pt x="33001" y="155230"/>
                          <a:pt x="52554" y="155230"/>
                        </a:cubicBezTo>
                        <a:lnTo>
                          <a:pt x="70887" y="155230"/>
                        </a:lnTo>
                        <a:lnTo>
                          <a:pt x="105114" y="191896"/>
                        </a:lnTo>
                        <a:lnTo>
                          <a:pt x="141780" y="152785"/>
                        </a:lnTo>
                        <a:close/>
                        <a:moveTo>
                          <a:pt x="92890" y="15889"/>
                        </a:moveTo>
                        <a:lnTo>
                          <a:pt x="146670" y="15889"/>
                        </a:lnTo>
                        <a:cubicBezTo>
                          <a:pt x="144225" y="34224"/>
                          <a:pt x="132001" y="34224"/>
                          <a:pt x="128337" y="34224"/>
                        </a:cubicBezTo>
                        <a:lnTo>
                          <a:pt x="70887" y="34224"/>
                        </a:lnTo>
                        <a:cubicBezTo>
                          <a:pt x="73332" y="22001"/>
                          <a:pt x="80666" y="15889"/>
                          <a:pt x="92890" y="15889"/>
                        </a:cubicBezTo>
                        <a:close/>
                        <a:moveTo>
                          <a:pt x="128337" y="141780"/>
                        </a:moveTo>
                        <a:lnTo>
                          <a:pt x="106333" y="165003"/>
                        </a:lnTo>
                        <a:lnTo>
                          <a:pt x="84336" y="141780"/>
                        </a:lnTo>
                        <a:lnTo>
                          <a:pt x="84336" y="125892"/>
                        </a:lnTo>
                        <a:cubicBezTo>
                          <a:pt x="91671" y="129562"/>
                          <a:pt x="100224" y="132001"/>
                          <a:pt x="108778" y="132001"/>
                        </a:cubicBezTo>
                        <a:cubicBezTo>
                          <a:pt x="110004" y="132001"/>
                          <a:pt x="111223" y="132001"/>
                          <a:pt x="112449" y="132001"/>
                        </a:cubicBezTo>
                        <a:cubicBezTo>
                          <a:pt x="118557" y="132001"/>
                          <a:pt x="123447" y="130782"/>
                          <a:pt x="128337" y="128337"/>
                        </a:cubicBezTo>
                        <a:lnTo>
                          <a:pt x="128337" y="141780"/>
                        </a:lnTo>
                        <a:close/>
                        <a:moveTo>
                          <a:pt x="111223" y="116113"/>
                        </a:moveTo>
                        <a:cubicBezTo>
                          <a:pt x="100224" y="117338"/>
                          <a:pt x="90445" y="113668"/>
                          <a:pt x="81892" y="106333"/>
                        </a:cubicBezTo>
                        <a:cubicBezTo>
                          <a:pt x="74557" y="99005"/>
                          <a:pt x="69668" y="89226"/>
                          <a:pt x="69668" y="79447"/>
                        </a:cubicBezTo>
                        <a:lnTo>
                          <a:pt x="69668" y="50113"/>
                        </a:lnTo>
                        <a:lnTo>
                          <a:pt x="127111" y="50113"/>
                        </a:lnTo>
                        <a:cubicBezTo>
                          <a:pt x="134445" y="50113"/>
                          <a:pt x="140561" y="48891"/>
                          <a:pt x="145444" y="45223"/>
                        </a:cubicBezTo>
                        <a:lnTo>
                          <a:pt x="145444" y="78228"/>
                        </a:lnTo>
                        <a:cubicBezTo>
                          <a:pt x="146670" y="97780"/>
                          <a:pt x="130782" y="114894"/>
                          <a:pt x="111223" y="116113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92" name="Freeform: Shape 291">
                    <a:extLst>
                      <a:ext uri="{FF2B5EF4-FFF2-40B4-BE49-F238E27FC236}">
                        <a16:creationId xmlns:a16="http://schemas.microsoft.com/office/drawing/2014/main" id="{18A4F662-751D-3EAB-0E76-D4F53C1BDB69}"/>
                      </a:ext>
                    </a:extLst>
                  </p:cNvPr>
                  <p:cNvSpPr/>
                  <p:nvPr/>
                </p:nvSpPr>
                <p:spPr>
                  <a:xfrm>
                    <a:off x="6160623" y="2156020"/>
                    <a:ext cx="15894" cy="64784"/>
                  </a:xfrm>
                  <a:custGeom>
                    <a:avLst/>
                    <a:gdLst>
                      <a:gd name="connsiteX0" fmla="*/ 7334 w 15894"/>
                      <a:gd name="connsiteY0" fmla="*/ 0 h 64784"/>
                      <a:gd name="connsiteX1" fmla="*/ 0 w 15894"/>
                      <a:gd name="connsiteY1" fmla="*/ 0 h 64784"/>
                      <a:gd name="connsiteX2" fmla="*/ 0 w 15894"/>
                      <a:gd name="connsiteY2" fmla="*/ 64784 h 64784"/>
                      <a:gd name="connsiteX3" fmla="*/ 15894 w 15894"/>
                      <a:gd name="connsiteY3" fmla="*/ 64784 h 64784"/>
                      <a:gd name="connsiteX4" fmla="*/ 15894 w 15894"/>
                      <a:gd name="connsiteY4" fmla="*/ 17114 h 64784"/>
                      <a:gd name="connsiteX5" fmla="*/ 7334 w 15894"/>
                      <a:gd name="connsiteY5" fmla="*/ 0 h 647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5894" h="64784">
                        <a:moveTo>
                          <a:pt x="7334" y="0"/>
                        </a:moveTo>
                        <a:lnTo>
                          <a:pt x="0" y="0"/>
                        </a:lnTo>
                        <a:lnTo>
                          <a:pt x="0" y="64784"/>
                        </a:lnTo>
                        <a:lnTo>
                          <a:pt x="15894" y="64784"/>
                        </a:lnTo>
                        <a:lnTo>
                          <a:pt x="15894" y="17114"/>
                        </a:lnTo>
                        <a:lnTo>
                          <a:pt x="7334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93" name="Freeform: Shape 292">
                    <a:extLst>
                      <a:ext uri="{FF2B5EF4-FFF2-40B4-BE49-F238E27FC236}">
                        <a16:creationId xmlns:a16="http://schemas.microsoft.com/office/drawing/2014/main" id="{3FA42ABD-315B-D683-AD57-FB57117F5F60}"/>
                      </a:ext>
                    </a:extLst>
                  </p:cNvPr>
                  <p:cNvSpPr/>
                  <p:nvPr/>
                </p:nvSpPr>
                <p:spPr>
                  <a:xfrm>
                    <a:off x="6258410" y="1967794"/>
                    <a:ext cx="206558" cy="253003"/>
                  </a:xfrm>
                  <a:custGeom>
                    <a:avLst/>
                    <a:gdLst>
                      <a:gd name="connsiteX0" fmla="*/ 158881 w 206558"/>
                      <a:gd name="connsiteY0" fmla="*/ 136891 h 253003"/>
                      <a:gd name="connsiteX1" fmla="*/ 169918 w 206558"/>
                      <a:gd name="connsiteY1" fmla="*/ 122229 h 253003"/>
                      <a:gd name="connsiteX2" fmla="*/ 171137 w 206558"/>
                      <a:gd name="connsiteY2" fmla="*/ 119784 h 253003"/>
                      <a:gd name="connsiteX3" fmla="*/ 147889 w 206558"/>
                      <a:gd name="connsiteY3" fmla="*/ 28112 h 253003"/>
                      <a:gd name="connsiteX4" fmla="*/ 111223 w 206558"/>
                      <a:gd name="connsiteY4" fmla="*/ 0 h 253003"/>
                      <a:gd name="connsiteX5" fmla="*/ 89220 w 206558"/>
                      <a:gd name="connsiteY5" fmla="*/ 0 h 253003"/>
                      <a:gd name="connsiteX6" fmla="*/ 52554 w 206558"/>
                      <a:gd name="connsiteY6" fmla="*/ 28112 h 253003"/>
                      <a:gd name="connsiteX7" fmla="*/ 51335 w 206558"/>
                      <a:gd name="connsiteY7" fmla="*/ 33001 h 253003"/>
                      <a:gd name="connsiteX8" fmla="*/ 29331 w 206558"/>
                      <a:gd name="connsiteY8" fmla="*/ 118558 h 253003"/>
                      <a:gd name="connsiteX9" fmla="*/ 30550 w 206558"/>
                      <a:gd name="connsiteY9" fmla="*/ 121003 h 253003"/>
                      <a:gd name="connsiteX10" fmla="*/ 42775 w 206558"/>
                      <a:gd name="connsiteY10" fmla="*/ 136891 h 253003"/>
                      <a:gd name="connsiteX11" fmla="*/ 0 w 206558"/>
                      <a:gd name="connsiteY11" fmla="*/ 189451 h 253003"/>
                      <a:gd name="connsiteX12" fmla="*/ 0 w 206558"/>
                      <a:gd name="connsiteY12" fmla="*/ 253004 h 253003"/>
                      <a:gd name="connsiteX13" fmla="*/ 14662 w 206558"/>
                      <a:gd name="connsiteY13" fmla="*/ 253004 h 253003"/>
                      <a:gd name="connsiteX14" fmla="*/ 17107 w 206558"/>
                      <a:gd name="connsiteY14" fmla="*/ 253004 h 253003"/>
                      <a:gd name="connsiteX15" fmla="*/ 17107 w 206558"/>
                      <a:gd name="connsiteY15" fmla="*/ 189451 h 253003"/>
                      <a:gd name="connsiteX16" fmla="*/ 53779 w 206558"/>
                      <a:gd name="connsiteY16" fmla="*/ 152779 h 253003"/>
                      <a:gd name="connsiteX17" fmla="*/ 73332 w 206558"/>
                      <a:gd name="connsiteY17" fmla="*/ 152779 h 253003"/>
                      <a:gd name="connsiteX18" fmla="*/ 102669 w 206558"/>
                      <a:gd name="connsiteY18" fmla="*/ 176002 h 253003"/>
                      <a:gd name="connsiteX19" fmla="*/ 132001 w 206558"/>
                      <a:gd name="connsiteY19" fmla="*/ 152779 h 253003"/>
                      <a:gd name="connsiteX20" fmla="*/ 152779 w 206558"/>
                      <a:gd name="connsiteY20" fmla="*/ 152779 h 253003"/>
                      <a:gd name="connsiteX21" fmla="*/ 189425 w 206558"/>
                      <a:gd name="connsiteY21" fmla="*/ 189451 h 253003"/>
                      <a:gd name="connsiteX22" fmla="*/ 189425 w 206558"/>
                      <a:gd name="connsiteY22" fmla="*/ 253004 h 253003"/>
                      <a:gd name="connsiteX23" fmla="*/ 191864 w 206558"/>
                      <a:gd name="connsiteY23" fmla="*/ 253004 h 253003"/>
                      <a:gd name="connsiteX24" fmla="*/ 206558 w 206558"/>
                      <a:gd name="connsiteY24" fmla="*/ 253004 h 253003"/>
                      <a:gd name="connsiteX25" fmla="*/ 206558 w 206558"/>
                      <a:gd name="connsiteY25" fmla="*/ 189451 h 253003"/>
                      <a:gd name="connsiteX26" fmla="*/ 158881 w 206558"/>
                      <a:gd name="connsiteY26" fmla="*/ 136891 h 253003"/>
                      <a:gd name="connsiteX27" fmla="*/ 67223 w 206558"/>
                      <a:gd name="connsiteY27" fmla="*/ 36668 h 253003"/>
                      <a:gd name="connsiteX28" fmla="*/ 68442 w 206558"/>
                      <a:gd name="connsiteY28" fmla="*/ 33001 h 253003"/>
                      <a:gd name="connsiteX29" fmla="*/ 90446 w 206558"/>
                      <a:gd name="connsiteY29" fmla="*/ 15889 h 253003"/>
                      <a:gd name="connsiteX30" fmla="*/ 112442 w 206558"/>
                      <a:gd name="connsiteY30" fmla="*/ 15889 h 253003"/>
                      <a:gd name="connsiteX31" fmla="*/ 135665 w 206558"/>
                      <a:gd name="connsiteY31" fmla="*/ 40334 h 253003"/>
                      <a:gd name="connsiteX32" fmla="*/ 106333 w 206558"/>
                      <a:gd name="connsiteY32" fmla="*/ 31779 h 253003"/>
                      <a:gd name="connsiteX33" fmla="*/ 101444 w 206558"/>
                      <a:gd name="connsiteY33" fmla="*/ 26890 h 253003"/>
                      <a:gd name="connsiteX34" fmla="*/ 96554 w 206558"/>
                      <a:gd name="connsiteY34" fmla="*/ 31779 h 253003"/>
                      <a:gd name="connsiteX35" fmla="*/ 67223 w 206558"/>
                      <a:gd name="connsiteY35" fmla="*/ 40334 h 253003"/>
                      <a:gd name="connsiteX36" fmla="*/ 67223 w 206558"/>
                      <a:gd name="connsiteY36" fmla="*/ 36668 h 253003"/>
                      <a:gd name="connsiteX37" fmla="*/ 72112 w 206558"/>
                      <a:gd name="connsiteY37" fmla="*/ 135672 h 253003"/>
                      <a:gd name="connsiteX38" fmla="*/ 46445 w 206558"/>
                      <a:gd name="connsiteY38" fmla="*/ 116113 h 253003"/>
                      <a:gd name="connsiteX39" fmla="*/ 53779 w 206558"/>
                      <a:gd name="connsiteY39" fmla="*/ 88001 h 253003"/>
                      <a:gd name="connsiteX40" fmla="*/ 72112 w 206558"/>
                      <a:gd name="connsiteY40" fmla="*/ 112449 h 253003"/>
                      <a:gd name="connsiteX41" fmla="*/ 72112 w 206558"/>
                      <a:gd name="connsiteY41" fmla="*/ 135672 h 253003"/>
                      <a:gd name="connsiteX42" fmla="*/ 117332 w 206558"/>
                      <a:gd name="connsiteY42" fmla="*/ 147896 h 253003"/>
                      <a:gd name="connsiteX43" fmla="*/ 102669 w 206558"/>
                      <a:gd name="connsiteY43" fmla="*/ 160114 h 253003"/>
                      <a:gd name="connsiteX44" fmla="*/ 89220 w 206558"/>
                      <a:gd name="connsiteY44" fmla="*/ 147896 h 253003"/>
                      <a:gd name="connsiteX45" fmla="*/ 89220 w 206558"/>
                      <a:gd name="connsiteY45" fmla="*/ 121003 h 253003"/>
                      <a:gd name="connsiteX46" fmla="*/ 101444 w 206558"/>
                      <a:gd name="connsiteY46" fmla="*/ 122229 h 253003"/>
                      <a:gd name="connsiteX47" fmla="*/ 117332 w 206558"/>
                      <a:gd name="connsiteY47" fmla="*/ 119784 h 253003"/>
                      <a:gd name="connsiteX48" fmla="*/ 117332 w 206558"/>
                      <a:gd name="connsiteY48" fmla="*/ 147896 h 253003"/>
                      <a:gd name="connsiteX49" fmla="*/ 101444 w 206558"/>
                      <a:gd name="connsiteY49" fmla="*/ 106334 h 253003"/>
                      <a:gd name="connsiteX50" fmla="*/ 67223 w 206558"/>
                      <a:gd name="connsiteY50" fmla="*/ 69668 h 253003"/>
                      <a:gd name="connsiteX51" fmla="*/ 67223 w 206558"/>
                      <a:gd name="connsiteY51" fmla="*/ 57446 h 253003"/>
                      <a:gd name="connsiteX52" fmla="*/ 101444 w 206558"/>
                      <a:gd name="connsiteY52" fmla="*/ 48890 h 253003"/>
                      <a:gd name="connsiteX53" fmla="*/ 129556 w 206558"/>
                      <a:gd name="connsiteY53" fmla="*/ 58668 h 253003"/>
                      <a:gd name="connsiteX54" fmla="*/ 135665 w 206558"/>
                      <a:gd name="connsiteY54" fmla="*/ 58668 h 253003"/>
                      <a:gd name="connsiteX55" fmla="*/ 135665 w 206558"/>
                      <a:gd name="connsiteY55" fmla="*/ 70891 h 253003"/>
                      <a:gd name="connsiteX56" fmla="*/ 101444 w 206558"/>
                      <a:gd name="connsiteY56" fmla="*/ 106334 h 253003"/>
                      <a:gd name="connsiteX57" fmla="*/ 133220 w 206558"/>
                      <a:gd name="connsiteY57" fmla="*/ 134446 h 253003"/>
                      <a:gd name="connsiteX58" fmla="*/ 133220 w 206558"/>
                      <a:gd name="connsiteY58" fmla="*/ 110005 h 253003"/>
                      <a:gd name="connsiteX59" fmla="*/ 147889 w 206558"/>
                      <a:gd name="connsiteY59" fmla="*/ 88001 h 253003"/>
                      <a:gd name="connsiteX60" fmla="*/ 155223 w 206558"/>
                      <a:gd name="connsiteY60" fmla="*/ 116113 h 253003"/>
                      <a:gd name="connsiteX61" fmla="*/ 133220 w 206558"/>
                      <a:gd name="connsiteY61" fmla="*/ 134446 h 2530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</a:cxnLst>
                    <a:rect l="l" t="t" r="r" b="b"/>
                    <a:pathLst>
                      <a:path w="206558" h="253003">
                        <a:moveTo>
                          <a:pt x="158881" y="136891"/>
                        </a:moveTo>
                        <a:cubicBezTo>
                          <a:pt x="163758" y="133227"/>
                          <a:pt x="167416" y="127112"/>
                          <a:pt x="169918" y="122229"/>
                        </a:cubicBezTo>
                        <a:lnTo>
                          <a:pt x="171137" y="119784"/>
                        </a:lnTo>
                        <a:lnTo>
                          <a:pt x="147889" y="28112"/>
                        </a:lnTo>
                        <a:cubicBezTo>
                          <a:pt x="142999" y="12223"/>
                          <a:pt x="128337" y="0"/>
                          <a:pt x="111223" y="0"/>
                        </a:cubicBezTo>
                        <a:lnTo>
                          <a:pt x="89220" y="0"/>
                        </a:lnTo>
                        <a:cubicBezTo>
                          <a:pt x="72112" y="0"/>
                          <a:pt x="57444" y="12223"/>
                          <a:pt x="52554" y="28112"/>
                        </a:cubicBezTo>
                        <a:cubicBezTo>
                          <a:pt x="52554" y="29334"/>
                          <a:pt x="51335" y="30556"/>
                          <a:pt x="51335" y="33001"/>
                        </a:cubicBezTo>
                        <a:lnTo>
                          <a:pt x="29331" y="118558"/>
                        </a:lnTo>
                        <a:lnTo>
                          <a:pt x="30550" y="121003"/>
                        </a:lnTo>
                        <a:cubicBezTo>
                          <a:pt x="34221" y="127112"/>
                          <a:pt x="37885" y="132002"/>
                          <a:pt x="42775" y="136891"/>
                        </a:cubicBezTo>
                        <a:cubicBezTo>
                          <a:pt x="18333" y="141781"/>
                          <a:pt x="0" y="163784"/>
                          <a:pt x="0" y="189451"/>
                        </a:cubicBezTo>
                        <a:lnTo>
                          <a:pt x="0" y="253004"/>
                        </a:lnTo>
                        <a:lnTo>
                          <a:pt x="14662" y="253004"/>
                        </a:lnTo>
                        <a:lnTo>
                          <a:pt x="17107" y="253004"/>
                        </a:lnTo>
                        <a:lnTo>
                          <a:pt x="17107" y="189451"/>
                        </a:lnTo>
                        <a:cubicBezTo>
                          <a:pt x="17107" y="168674"/>
                          <a:pt x="34221" y="152779"/>
                          <a:pt x="53779" y="152779"/>
                        </a:cubicBezTo>
                        <a:lnTo>
                          <a:pt x="73332" y="152779"/>
                        </a:lnTo>
                        <a:cubicBezTo>
                          <a:pt x="75777" y="166229"/>
                          <a:pt x="88001" y="176002"/>
                          <a:pt x="102669" y="176002"/>
                        </a:cubicBezTo>
                        <a:cubicBezTo>
                          <a:pt x="117332" y="176002"/>
                          <a:pt x="129556" y="165003"/>
                          <a:pt x="132001" y="152779"/>
                        </a:cubicBezTo>
                        <a:lnTo>
                          <a:pt x="152779" y="152779"/>
                        </a:lnTo>
                        <a:cubicBezTo>
                          <a:pt x="173576" y="152779"/>
                          <a:pt x="189425" y="169893"/>
                          <a:pt x="189425" y="189451"/>
                        </a:cubicBezTo>
                        <a:lnTo>
                          <a:pt x="189425" y="253004"/>
                        </a:lnTo>
                        <a:lnTo>
                          <a:pt x="191864" y="253004"/>
                        </a:lnTo>
                        <a:lnTo>
                          <a:pt x="206558" y="253004"/>
                        </a:lnTo>
                        <a:lnTo>
                          <a:pt x="206558" y="189451"/>
                        </a:lnTo>
                        <a:cubicBezTo>
                          <a:pt x="205339" y="162559"/>
                          <a:pt x="184548" y="140562"/>
                          <a:pt x="158881" y="136891"/>
                        </a:cubicBezTo>
                        <a:close/>
                        <a:moveTo>
                          <a:pt x="67223" y="36668"/>
                        </a:moveTo>
                        <a:lnTo>
                          <a:pt x="68442" y="33001"/>
                        </a:lnTo>
                        <a:cubicBezTo>
                          <a:pt x="72112" y="23223"/>
                          <a:pt x="80666" y="15889"/>
                          <a:pt x="90446" y="15889"/>
                        </a:cubicBezTo>
                        <a:lnTo>
                          <a:pt x="112442" y="15889"/>
                        </a:lnTo>
                        <a:cubicBezTo>
                          <a:pt x="124666" y="15889"/>
                          <a:pt x="135665" y="26890"/>
                          <a:pt x="135665" y="40334"/>
                        </a:cubicBezTo>
                        <a:cubicBezTo>
                          <a:pt x="129556" y="41557"/>
                          <a:pt x="118558" y="41557"/>
                          <a:pt x="106333" y="31779"/>
                        </a:cubicBezTo>
                        <a:lnTo>
                          <a:pt x="101444" y="26890"/>
                        </a:lnTo>
                        <a:lnTo>
                          <a:pt x="96554" y="31779"/>
                        </a:lnTo>
                        <a:cubicBezTo>
                          <a:pt x="85556" y="41557"/>
                          <a:pt x="74557" y="41557"/>
                          <a:pt x="67223" y="40334"/>
                        </a:cubicBezTo>
                        <a:cubicBezTo>
                          <a:pt x="67223" y="39112"/>
                          <a:pt x="67223" y="37890"/>
                          <a:pt x="67223" y="36668"/>
                        </a:cubicBezTo>
                        <a:close/>
                        <a:moveTo>
                          <a:pt x="72112" y="135672"/>
                        </a:moveTo>
                        <a:cubicBezTo>
                          <a:pt x="61108" y="132002"/>
                          <a:pt x="52554" y="127112"/>
                          <a:pt x="46445" y="116113"/>
                        </a:cubicBezTo>
                        <a:lnTo>
                          <a:pt x="53779" y="88001"/>
                        </a:lnTo>
                        <a:cubicBezTo>
                          <a:pt x="57444" y="97781"/>
                          <a:pt x="63552" y="106334"/>
                          <a:pt x="72112" y="112449"/>
                        </a:cubicBezTo>
                        <a:lnTo>
                          <a:pt x="72112" y="135672"/>
                        </a:lnTo>
                        <a:close/>
                        <a:moveTo>
                          <a:pt x="117332" y="147896"/>
                        </a:moveTo>
                        <a:cubicBezTo>
                          <a:pt x="117332" y="154005"/>
                          <a:pt x="109998" y="160114"/>
                          <a:pt x="102669" y="160114"/>
                        </a:cubicBezTo>
                        <a:cubicBezTo>
                          <a:pt x="95335" y="160114"/>
                          <a:pt x="89220" y="154005"/>
                          <a:pt x="89220" y="147896"/>
                        </a:cubicBezTo>
                        <a:lnTo>
                          <a:pt x="89220" y="121003"/>
                        </a:lnTo>
                        <a:cubicBezTo>
                          <a:pt x="92890" y="122229"/>
                          <a:pt x="96554" y="122229"/>
                          <a:pt x="101444" y="122229"/>
                        </a:cubicBezTo>
                        <a:cubicBezTo>
                          <a:pt x="107553" y="122229"/>
                          <a:pt x="112442" y="121003"/>
                          <a:pt x="117332" y="119784"/>
                        </a:cubicBezTo>
                        <a:lnTo>
                          <a:pt x="117332" y="147896"/>
                        </a:lnTo>
                        <a:close/>
                        <a:moveTo>
                          <a:pt x="101444" y="106334"/>
                        </a:moveTo>
                        <a:cubicBezTo>
                          <a:pt x="83111" y="106334"/>
                          <a:pt x="67223" y="89227"/>
                          <a:pt x="67223" y="69668"/>
                        </a:cubicBezTo>
                        <a:lnTo>
                          <a:pt x="67223" y="57446"/>
                        </a:lnTo>
                        <a:cubicBezTo>
                          <a:pt x="75777" y="58668"/>
                          <a:pt x="89220" y="57446"/>
                          <a:pt x="101444" y="48890"/>
                        </a:cubicBezTo>
                        <a:cubicBezTo>
                          <a:pt x="111223" y="56224"/>
                          <a:pt x="121002" y="58668"/>
                          <a:pt x="129556" y="58668"/>
                        </a:cubicBezTo>
                        <a:cubicBezTo>
                          <a:pt x="132001" y="58668"/>
                          <a:pt x="134446" y="58668"/>
                          <a:pt x="135665" y="58668"/>
                        </a:cubicBezTo>
                        <a:lnTo>
                          <a:pt x="135665" y="70891"/>
                        </a:lnTo>
                        <a:cubicBezTo>
                          <a:pt x="135665" y="89227"/>
                          <a:pt x="119777" y="106334"/>
                          <a:pt x="101444" y="106334"/>
                        </a:cubicBezTo>
                        <a:close/>
                        <a:moveTo>
                          <a:pt x="133220" y="134446"/>
                        </a:moveTo>
                        <a:lnTo>
                          <a:pt x="133220" y="110005"/>
                        </a:lnTo>
                        <a:cubicBezTo>
                          <a:pt x="139335" y="103889"/>
                          <a:pt x="145444" y="96561"/>
                          <a:pt x="147889" y="88001"/>
                        </a:cubicBezTo>
                        <a:lnTo>
                          <a:pt x="155223" y="116113"/>
                        </a:lnTo>
                        <a:cubicBezTo>
                          <a:pt x="149114" y="125893"/>
                          <a:pt x="142999" y="130782"/>
                          <a:pt x="133220" y="134446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94" name="Freeform: Shape 293">
                    <a:extLst>
                      <a:ext uri="{FF2B5EF4-FFF2-40B4-BE49-F238E27FC236}">
                        <a16:creationId xmlns:a16="http://schemas.microsoft.com/office/drawing/2014/main" id="{6E79E32B-2165-6E46-834A-72E51C6B4BF2}"/>
                      </a:ext>
                    </a:extLst>
                  </p:cNvPr>
                  <p:cNvSpPr/>
                  <p:nvPr/>
                </p:nvSpPr>
                <p:spPr>
                  <a:xfrm>
                    <a:off x="6298739" y="2156020"/>
                    <a:ext cx="15888" cy="64784"/>
                  </a:xfrm>
                  <a:custGeom>
                    <a:avLst/>
                    <a:gdLst>
                      <a:gd name="connsiteX0" fmla="*/ 8560 w 15888"/>
                      <a:gd name="connsiteY0" fmla="*/ 0 h 64784"/>
                      <a:gd name="connsiteX1" fmla="*/ 0 w 15888"/>
                      <a:gd name="connsiteY1" fmla="*/ 0 h 64784"/>
                      <a:gd name="connsiteX2" fmla="*/ 0 w 15888"/>
                      <a:gd name="connsiteY2" fmla="*/ 64784 h 64784"/>
                      <a:gd name="connsiteX3" fmla="*/ 15888 w 15888"/>
                      <a:gd name="connsiteY3" fmla="*/ 64784 h 64784"/>
                      <a:gd name="connsiteX4" fmla="*/ 15888 w 15888"/>
                      <a:gd name="connsiteY4" fmla="*/ 17114 h 64784"/>
                      <a:gd name="connsiteX5" fmla="*/ 8560 w 15888"/>
                      <a:gd name="connsiteY5" fmla="*/ 0 h 647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5888" h="64784">
                        <a:moveTo>
                          <a:pt x="8560" y="0"/>
                        </a:moveTo>
                        <a:lnTo>
                          <a:pt x="0" y="0"/>
                        </a:lnTo>
                        <a:lnTo>
                          <a:pt x="0" y="64784"/>
                        </a:lnTo>
                        <a:lnTo>
                          <a:pt x="15888" y="64784"/>
                        </a:lnTo>
                        <a:lnTo>
                          <a:pt x="15888" y="17114"/>
                        </a:lnTo>
                        <a:lnTo>
                          <a:pt x="8560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95" name="Freeform: Shape 294">
                    <a:extLst>
                      <a:ext uri="{FF2B5EF4-FFF2-40B4-BE49-F238E27FC236}">
                        <a16:creationId xmlns:a16="http://schemas.microsoft.com/office/drawing/2014/main" id="{715EACD6-C513-970F-6D6C-56D1302A2F97}"/>
                      </a:ext>
                    </a:extLst>
                  </p:cNvPr>
                  <p:cNvSpPr/>
                  <p:nvPr/>
                </p:nvSpPr>
                <p:spPr>
                  <a:xfrm>
                    <a:off x="6407524" y="2156020"/>
                    <a:ext cx="15862" cy="64784"/>
                  </a:xfrm>
                  <a:custGeom>
                    <a:avLst/>
                    <a:gdLst>
                      <a:gd name="connsiteX0" fmla="*/ 0 w 15862"/>
                      <a:gd name="connsiteY0" fmla="*/ 17114 h 64784"/>
                      <a:gd name="connsiteX1" fmla="*/ 0 w 15862"/>
                      <a:gd name="connsiteY1" fmla="*/ 64784 h 64784"/>
                      <a:gd name="connsiteX2" fmla="*/ 15863 w 15862"/>
                      <a:gd name="connsiteY2" fmla="*/ 64784 h 64784"/>
                      <a:gd name="connsiteX3" fmla="*/ 15863 w 15862"/>
                      <a:gd name="connsiteY3" fmla="*/ 0 h 64784"/>
                      <a:gd name="connsiteX4" fmla="*/ 8554 w 15862"/>
                      <a:gd name="connsiteY4" fmla="*/ 0 h 64784"/>
                      <a:gd name="connsiteX5" fmla="*/ 0 w 15862"/>
                      <a:gd name="connsiteY5" fmla="*/ 17114 h 647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5862" h="64784">
                        <a:moveTo>
                          <a:pt x="0" y="17114"/>
                        </a:moveTo>
                        <a:lnTo>
                          <a:pt x="0" y="64784"/>
                        </a:lnTo>
                        <a:lnTo>
                          <a:pt x="15863" y="64784"/>
                        </a:lnTo>
                        <a:lnTo>
                          <a:pt x="15863" y="0"/>
                        </a:lnTo>
                        <a:lnTo>
                          <a:pt x="8554" y="0"/>
                        </a:lnTo>
                        <a:lnTo>
                          <a:pt x="0" y="17114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</p:grpSp>
          <p:sp>
            <p:nvSpPr>
              <p:cNvPr id="286" name="TextBox 285">
                <a:extLst>
                  <a:ext uri="{FF2B5EF4-FFF2-40B4-BE49-F238E27FC236}">
                    <a16:creationId xmlns:a16="http://schemas.microsoft.com/office/drawing/2014/main" id="{D7C4B677-B837-AEAF-E883-7BBE3AA2B04C}"/>
                  </a:ext>
                </a:extLst>
              </p:cNvPr>
              <p:cNvSpPr txBox="1"/>
              <p:nvPr/>
            </p:nvSpPr>
            <p:spPr>
              <a:xfrm>
                <a:off x="5924505" y="2278934"/>
                <a:ext cx="857542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Federation</a:t>
                </a:r>
              </a:p>
            </p:txBody>
          </p:sp>
        </p:grpSp>
        <p:grpSp>
          <p:nvGrpSpPr>
            <p:cNvPr id="298" name="Graphic 2">
              <a:extLst>
                <a:ext uri="{FF2B5EF4-FFF2-40B4-BE49-F238E27FC236}">
                  <a16:creationId xmlns:a16="http://schemas.microsoft.com/office/drawing/2014/main" id="{40A8C355-14C4-8EE5-DFB0-F9D979568E18}"/>
                </a:ext>
              </a:extLst>
            </p:cNvPr>
            <p:cNvGrpSpPr/>
            <p:nvPr/>
          </p:nvGrpSpPr>
          <p:grpSpPr>
            <a:xfrm>
              <a:off x="8527049" y="4531022"/>
              <a:ext cx="546535" cy="749862"/>
              <a:chOff x="3640454" y="2363804"/>
              <a:chExt cx="546535" cy="749862"/>
            </a:xfrm>
          </p:grpSpPr>
          <p:grpSp>
            <p:nvGrpSpPr>
              <p:cNvPr id="299" name="Graphic 2">
                <a:extLst>
                  <a:ext uri="{FF2B5EF4-FFF2-40B4-BE49-F238E27FC236}">
                    <a16:creationId xmlns:a16="http://schemas.microsoft.com/office/drawing/2014/main" id="{12B15F3E-E14E-E1B3-04D3-DC1562C7F3A8}"/>
                  </a:ext>
                </a:extLst>
              </p:cNvPr>
              <p:cNvGrpSpPr/>
              <p:nvPr/>
            </p:nvGrpSpPr>
            <p:grpSpPr>
              <a:xfrm>
                <a:off x="3673642" y="2363804"/>
                <a:ext cx="513347" cy="513347"/>
                <a:chOff x="3673642" y="2363804"/>
                <a:chExt cx="513347" cy="513347"/>
              </a:xfrm>
            </p:grpSpPr>
            <p:grpSp>
              <p:nvGrpSpPr>
                <p:cNvPr id="301" name="Graphic 2">
                  <a:extLst>
                    <a:ext uri="{FF2B5EF4-FFF2-40B4-BE49-F238E27FC236}">
                      <a16:creationId xmlns:a16="http://schemas.microsoft.com/office/drawing/2014/main" id="{0F5CE564-77E3-1961-3B4B-31783914CEEF}"/>
                    </a:ext>
                  </a:extLst>
                </p:cNvPr>
                <p:cNvGrpSpPr/>
                <p:nvPr/>
              </p:nvGrpSpPr>
              <p:grpSpPr>
                <a:xfrm>
                  <a:off x="3673642" y="2363804"/>
                  <a:ext cx="513347" cy="513347"/>
                  <a:chOff x="3673642" y="2363804"/>
                  <a:chExt cx="513347" cy="513347"/>
                </a:xfrm>
                <a:solidFill>
                  <a:srgbClr val="FFFFFF"/>
                </a:solidFill>
              </p:grpSpPr>
              <p:sp>
                <p:nvSpPr>
                  <p:cNvPr id="308" name="Freeform: Shape 307">
                    <a:extLst>
                      <a:ext uri="{FF2B5EF4-FFF2-40B4-BE49-F238E27FC236}">
                        <a16:creationId xmlns:a16="http://schemas.microsoft.com/office/drawing/2014/main" id="{642232E0-99E7-6590-6617-49E61F25C84F}"/>
                      </a:ext>
                    </a:extLst>
                  </p:cNvPr>
                  <p:cNvSpPr/>
                  <p:nvPr/>
                </p:nvSpPr>
                <p:spPr>
                  <a:xfrm>
                    <a:off x="3680976" y="2369915"/>
                    <a:ext cx="502348" cy="501127"/>
                  </a:xfrm>
                  <a:custGeom>
                    <a:avLst/>
                    <a:gdLst>
                      <a:gd name="connsiteX0" fmla="*/ 25667 w 502348"/>
                      <a:gd name="connsiteY0" fmla="*/ 501127 h 501127"/>
                      <a:gd name="connsiteX1" fmla="*/ 23223 w 502348"/>
                      <a:gd name="connsiteY1" fmla="*/ 501127 h 501127"/>
                      <a:gd name="connsiteX2" fmla="*/ 0 w 502348"/>
                      <a:gd name="connsiteY2" fmla="*/ 474234 h 501127"/>
                      <a:gd name="connsiteX3" fmla="*/ 0 w 502348"/>
                      <a:gd name="connsiteY3" fmla="*/ 26890 h 501127"/>
                      <a:gd name="connsiteX4" fmla="*/ 26887 w 502348"/>
                      <a:gd name="connsiteY4" fmla="*/ 0 h 501127"/>
                      <a:gd name="connsiteX5" fmla="*/ 475456 w 502348"/>
                      <a:gd name="connsiteY5" fmla="*/ 0 h 501127"/>
                      <a:gd name="connsiteX6" fmla="*/ 502349 w 502348"/>
                      <a:gd name="connsiteY6" fmla="*/ 26890 h 501127"/>
                      <a:gd name="connsiteX7" fmla="*/ 502349 w 502348"/>
                      <a:gd name="connsiteY7" fmla="*/ 501127 h 501127"/>
                      <a:gd name="connsiteX8" fmla="*/ 25667 w 502348"/>
                      <a:gd name="connsiteY8" fmla="*/ 501127 h 5011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502348" h="501127">
                        <a:moveTo>
                          <a:pt x="25667" y="501127"/>
                        </a:moveTo>
                        <a:lnTo>
                          <a:pt x="23223" y="501127"/>
                        </a:lnTo>
                        <a:cubicBezTo>
                          <a:pt x="9779" y="499902"/>
                          <a:pt x="0" y="488903"/>
                          <a:pt x="0" y="474234"/>
                        </a:cubicBezTo>
                        <a:lnTo>
                          <a:pt x="0" y="26890"/>
                        </a:lnTo>
                        <a:cubicBezTo>
                          <a:pt x="0" y="12223"/>
                          <a:pt x="12224" y="0"/>
                          <a:pt x="26887" y="0"/>
                        </a:cubicBezTo>
                        <a:lnTo>
                          <a:pt x="475456" y="0"/>
                        </a:lnTo>
                        <a:cubicBezTo>
                          <a:pt x="490125" y="0"/>
                          <a:pt x="502349" y="12223"/>
                          <a:pt x="502349" y="26890"/>
                        </a:cubicBezTo>
                        <a:lnTo>
                          <a:pt x="502349" y="501127"/>
                        </a:lnTo>
                        <a:lnTo>
                          <a:pt x="25667" y="50112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09" name="Freeform: Shape 308">
                    <a:extLst>
                      <a:ext uri="{FF2B5EF4-FFF2-40B4-BE49-F238E27FC236}">
                        <a16:creationId xmlns:a16="http://schemas.microsoft.com/office/drawing/2014/main" id="{F72CE805-592C-1C59-7296-510F09D46768}"/>
                      </a:ext>
                    </a:extLst>
                  </p:cNvPr>
                  <p:cNvSpPr/>
                  <p:nvPr/>
                </p:nvSpPr>
                <p:spPr>
                  <a:xfrm>
                    <a:off x="3673642" y="2363804"/>
                    <a:ext cx="513347" cy="513347"/>
                  </a:xfrm>
                  <a:custGeom>
                    <a:avLst/>
                    <a:gdLst>
                      <a:gd name="connsiteX0" fmla="*/ 480346 w 513347"/>
                      <a:gd name="connsiteY0" fmla="*/ 12223 h 513347"/>
                      <a:gd name="connsiteX1" fmla="*/ 501123 w 513347"/>
                      <a:gd name="connsiteY1" fmla="*/ 33001 h 513347"/>
                      <a:gd name="connsiteX2" fmla="*/ 501123 w 513347"/>
                      <a:gd name="connsiteY2" fmla="*/ 501123 h 513347"/>
                      <a:gd name="connsiteX3" fmla="*/ 482790 w 513347"/>
                      <a:gd name="connsiteY3" fmla="*/ 501123 h 513347"/>
                      <a:gd name="connsiteX4" fmla="*/ 33002 w 513347"/>
                      <a:gd name="connsiteY4" fmla="*/ 501123 h 513347"/>
                      <a:gd name="connsiteX5" fmla="*/ 30557 w 513347"/>
                      <a:gd name="connsiteY5" fmla="*/ 501123 h 513347"/>
                      <a:gd name="connsiteX6" fmla="*/ 12224 w 513347"/>
                      <a:gd name="connsiteY6" fmla="*/ 480346 h 513347"/>
                      <a:gd name="connsiteX7" fmla="*/ 12224 w 513347"/>
                      <a:gd name="connsiteY7" fmla="*/ 33001 h 513347"/>
                      <a:gd name="connsiteX8" fmla="*/ 33002 w 513347"/>
                      <a:gd name="connsiteY8" fmla="*/ 12223 h 513347"/>
                      <a:gd name="connsiteX9" fmla="*/ 480346 w 513347"/>
                      <a:gd name="connsiteY9" fmla="*/ 12223 h 513347"/>
                      <a:gd name="connsiteX10" fmla="*/ 480346 w 513347"/>
                      <a:gd name="connsiteY10" fmla="*/ 0 h 513347"/>
                      <a:gd name="connsiteX11" fmla="*/ 33002 w 513347"/>
                      <a:gd name="connsiteY11" fmla="*/ 0 h 513347"/>
                      <a:gd name="connsiteX12" fmla="*/ 0 w 513347"/>
                      <a:gd name="connsiteY12" fmla="*/ 33001 h 513347"/>
                      <a:gd name="connsiteX13" fmla="*/ 0 w 513347"/>
                      <a:gd name="connsiteY13" fmla="*/ 481571 h 513347"/>
                      <a:gd name="connsiteX14" fmla="*/ 29331 w 513347"/>
                      <a:gd name="connsiteY14" fmla="*/ 513347 h 513347"/>
                      <a:gd name="connsiteX15" fmla="*/ 31776 w 513347"/>
                      <a:gd name="connsiteY15" fmla="*/ 513347 h 513347"/>
                      <a:gd name="connsiteX16" fmla="*/ 482790 w 513347"/>
                      <a:gd name="connsiteY16" fmla="*/ 513347 h 513347"/>
                      <a:gd name="connsiteX17" fmla="*/ 501123 w 513347"/>
                      <a:gd name="connsiteY17" fmla="*/ 513347 h 513347"/>
                      <a:gd name="connsiteX18" fmla="*/ 513347 w 513347"/>
                      <a:gd name="connsiteY18" fmla="*/ 513347 h 513347"/>
                      <a:gd name="connsiteX19" fmla="*/ 513347 w 513347"/>
                      <a:gd name="connsiteY19" fmla="*/ 501123 h 513347"/>
                      <a:gd name="connsiteX20" fmla="*/ 513347 w 513347"/>
                      <a:gd name="connsiteY20" fmla="*/ 33001 h 513347"/>
                      <a:gd name="connsiteX21" fmla="*/ 480346 w 513347"/>
                      <a:gd name="connsiteY21" fmla="*/ 0 h 5133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513347" h="513347">
                        <a:moveTo>
                          <a:pt x="480346" y="12223"/>
                        </a:moveTo>
                        <a:cubicBezTo>
                          <a:pt x="491344" y="12223"/>
                          <a:pt x="501123" y="22001"/>
                          <a:pt x="501123" y="33001"/>
                        </a:cubicBezTo>
                        <a:lnTo>
                          <a:pt x="501123" y="501123"/>
                        </a:lnTo>
                        <a:lnTo>
                          <a:pt x="482790" y="501123"/>
                        </a:lnTo>
                        <a:lnTo>
                          <a:pt x="33002" y="501123"/>
                        </a:lnTo>
                        <a:lnTo>
                          <a:pt x="30557" y="501123"/>
                        </a:lnTo>
                        <a:cubicBezTo>
                          <a:pt x="19558" y="499904"/>
                          <a:pt x="12224" y="491344"/>
                          <a:pt x="12224" y="480346"/>
                        </a:cubicBezTo>
                        <a:lnTo>
                          <a:pt x="12224" y="33001"/>
                        </a:lnTo>
                        <a:cubicBezTo>
                          <a:pt x="12224" y="22001"/>
                          <a:pt x="22003" y="12223"/>
                          <a:pt x="33002" y="12223"/>
                        </a:cubicBezTo>
                        <a:lnTo>
                          <a:pt x="480346" y="12223"/>
                        </a:lnTo>
                        <a:close/>
                        <a:moveTo>
                          <a:pt x="480346" y="0"/>
                        </a:moveTo>
                        <a:lnTo>
                          <a:pt x="33002" y="0"/>
                        </a:lnTo>
                        <a:cubicBezTo>
                          <a:pt x="14669" y="0"/>
                          <a:pt x="0" y="14667"/>
                          <a:pt x="0" y="33001"/>
                        </a:cubicBezTo>
                        <a:lnTo>
                          <a:pt x="0" y="481571"/>
                        </a:lnTo>
                        <a:cubicBezTo>
                          <a:pt x="0" y="497459"/>
                          <a:pt x="12224" y="512128"/>
                          <a:pt x="29331" y="513347"/>
                        </a:cubicBezTo>
                        <a:lnTo>
                          <a:pt x="31776" y="513347"/>
                        </a:lnTo>
                        <a:lnTo>
                          <a:pt x="482790" y="513347"/>
                        </a:lnTo>
                        <a:lnTo>
                          <a:pt x="501123" y="513347"/>
                        </a:lnTo>
                        <a:lnTo>
                          <a:pt x="513347" y="513347"/>
                        </a:lnTo>
                        <a:lnTo>
                          <a:pt x="513347" y="501123"/>
                        </a:lnTo>
                        <a:lnTo>
                          <a:pt x="513347" y="33001"/>
                        </a:lnTo>
                        <a:cubicBezTo>
                          <a:pt x="513347" y="14667"/>
                          <a:pt x="498678" y="0"/>
                          <a:pt x="480346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  <p:grpSp>
              <p:nvGrpSpPr>
                <p:cNvPr id="302" name="Graphic 2">
                  <a:extLst>
                    <a:ext uri="{FF2B5EF4-FFF2-40B4-BE49-F238E27FC236}">
                      <a16:creationId xmlns:a16="http://schemas.microsoft.com/office/drawing/2014/main" id="{15E5DB77-BB24-8AAB-359A-C6D9F9B5B381}"/>
                    </a:ext>
                  </a:extLst>
                </p:cNvPr>
                <p:cNvGrpSpPr/>
                <p:nvPr/>
              </p:nvGrpSpPr>
              <p:grpSpPr>
                <a:xfrm>
                  <a:off x="3685866" y="2376026"/>
                  <a:ext cx="488898" cy="488900"/>
                  <a:chOff x="3685866" y="2376026"/>
                  <a:chExt cx="488898" cy="488900"/>
                </a:xfrm>
                <a:solidFill>
                  <a:srgbClr val="2D5967"/>
                </a:solidFill>
              </p:grpSpPr>
              <p:sp>
                <p:nvSpPr>
                  <p:cNvPr id="303" name="Freeform: Shape 302">
                    <a:extLst>
                      <a:ext uri="{FF2B5EF4-FFF2-40B4-BE49-F238E27FC236}">
                        <a16:creationId xmlns:a16="http://schemas.microsoft.com/office/drawing/2014/main" id="{00A81CD5-9C46-4B18-0CBB-DBC5537236DC}"/>
                      </a:ext>
                    </a:extLst>
                  </p:cNvPr>
                  <p:cNvSpPr/>
                  <p:nvPr/>
                </p:nvSpPr>
                <p:spPr>
                  <a:xfrm>
                    <a:off x="3685866" y="2376026"/>
                    <a:ext cx="488898" cy="488900"/>
                  </a:xfrm>
                  <a:custGeom>
                    <a:avLst/>
                    <a:gdLst>
                      <a:gd name="connsiteX0" fmla="*/ 468121 w 488898"/>
                      <a:gd name="connsiteY0" fmla="*/ 0 h 488900"/>
                      <a:gd name="connsiteX1" fmla="*/ 20778 w 488898"/>
                      <a:gd name="connsiteY1" fmla="*/ 0 h 488900"/>
                      <a:gd name="connsiteX2" fmla="*/ 0 w 488898"/>
                      <a:gd name="connsiteY2" fmla="*/ 20778 h 488900"/>
                      <a:gd name="connsiteX3" fmla="*/ 0 w 488898"/>
                      <a:gd name="connsiteY3" fmla="*/ 469348 h 488900"/>
                      <a:gd name="connsiteX4" fmla="*/ 20778 w 488898"/>
                      <a:gd name="connsiteY4" fmla="*/ 488901 h 488900"/>
                      <a:gd name="connsiteX5" fmla="*/ 20778 w 488898"/>
                      <a:gd name="connsiteY5" fmla="*/ 470568 h 488900"/>
                      <a:gd name="connsiteX6" fmla="*/ 18333 w 488898"/>
                      <a:gd name="connsiteY6" fmla="*/ 468123 h 488900"/>
                      <a:gd name="connsiteX7" fmla="*/ 18333 w 488898"/>
                      <a:gd name="connsiteY7" fmla="*/ 140559 h 488900"/>
                      <a:gd name="connsiteX8" fmla="*/ 470566 w 488898"/>
                      <a:gd name="connsiteY8" fmla="*/ 140559 h 488900"/>
                      <a:gd name="connsiteX9" fmla="*/ 470566 w 488898"/>
                      <a:gd name="connsiteY9" fmla="*/ 371569 h 488900"/>
                      <a:gd name="connsiteX10" fmla="*/ 488899 w 488898"/>
                      <a:gd name="connsiteY10" fmla="*/ 371569 h 488900"/>
                      <a:gd name="connsiteX11" fmla="*/ 488899 w 488898"/>
                      <a:gd name="connsiteY11" fmla="*/ 20778 h 488900"/>
                      <a:gd name="connsiteX12" fmla="*/ 468121 w 488898"/>
                      <a:gd name="connsiteY12" fmla="*/ 0 h 488900"/>
                      <a:gd name="connsiteX13" fmla="*/ 470566 w 488898"/>
                      <a:gd name="connsiteY13" fmla="*/ 122225 h 488900"/>
                      <a:gd name="connsiteX14" fmla="*/ 18333 w 488898"/>
                      <a:gd name="connsiteY14" fmla="*/ 122225 h 488900"/>
                      <a:gd name="connsiteX15" fmla="*/ 18333 w 488898"/>
                      <a:gd name="connsiteY15" fmla="*/ 20778 h 488900"/>
                      <a:gd name="connsiteX16" fmla="*/ 20778 w 488898"/>
                      <a:gd name="connsiteY16" fmla="*/ 18334 h 488900"/>
                      <a:gd name="connsiteX17" fmla="*/ 469347 w 488898"/>
                      <a:gd name="connsiteY17" fmla="*/ 18334 h 488900"/>
                      <a:gd name="connsiteX18" fmla="*/ 471792 w 488898"/>
                      <a:gd name="connsiteY18" fmla="*/ 20778 h 488900"/>
                      <a:gd name="connsiteX19" fmla="*/ 470566 w 488898"/>
                      <a:gd name="connsiteY19" fmla="*/ 122225 h 488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488898" h="488900">
                        <a:moveTo>
                          <a:pt x="468121" y="0"/>
                        </a:moveTo>
                        <a:lnTo>
                          <a:pt x="20778" y="0"/>
                        </a:lnTo>
                        <a:cubicBezTo>
                          <a:pt x="9779" y="0"/>
                          <a:pt x="0" y="9778"/>
                          <a:pt x="0" y="20778"/>
                        </a:cubicBezTo>
                        <a:lnTo>
                          <a:pt x="0" y="469348"/>
                        </a:lnTo>
                        <a:cubicBezTo>
                          <a:pt x="0" y="479121"/>
                          <a:pt x="9779" y="488901"/>
                          <a:pt x="20778" y="488901"/>
                        </a:cubicBezTo>
                        <a:lnTo>
                          <a:pt x="20778" y="470568"/>
                        </a:lnTo>
                        <a:cubicBezTo>
                          <a:pt x="19552" y="470568"/>
                          <a:pt x="18333" y="469348"/>
                          <a:pt x="18333" y="468123"/>
                        </a:cubicBezTo>
                        <a:lnTo>
                          <a:pt x="18333" y="140559"/>
                        </a:lnTo>
                        <a:lnTo>
                          <a:pt x="470566" y="140559"/>
                        </a:lnTo>
                        <a:lnTo>
                          <a:pt x="470566" y="371569"/>
                        </a:lnTo>
                        <a:lnTo>
                          <a:pt x="488899" y="371569"/>
                        </a:lnTo>
                        <a:lnTo>
                          <a:pt x="488899" y="20778"/>
                        </a:lnTo>
                        <a:cubicBezTo>
                          <a:pt x="488899" y="9778"/>
                          <a:pt x="479120" y="0"/>
                          <a:pt x="468121" y="0"/>
                        </a:cubicBezTo>
                        <a:close/>
                        <a:moveTo>
                          <a:pt x="470566" y="122225"/>
                        </a:moveTo>
                        <a:lnTo>
                          <a:pt x="18333" y="122225"/>
                        </a:lnTo>
                        <a:lnTo>
                          <a:pt x="18333" y="20778"/>
                        </a:lnTo>
                        <a:cubicBezTo>
                          <a:pt x="18333" y="19556"/>
                          <a:pt x="19552" y="18334"/>
                          <a:pt x="20778" y="18334"/>
                        </a:cubicBezTo>
                        <a:lnTo>
                          <a:pt x="469347" y="18334"/>
                        </a:lnTo>
                        <a:cubicBezTo>
                          <a:pt x="470566" y="18334"/>
                          <a:pt x="471792" y="19556"/>
                          <a:pt x="471792" y="20778"/>
                        </a:cubicBezTo>
                        <a:lnTo>
                          <a:pt x="470566" y="122225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04" name="Freeform: Shape 303">
                    <a:extLst>
                      <a:ext uri="{FF2B5EF4-FFF2-40B4-BE49-F238E27FC236}">
                        <a16:creationId xmlns:a16="http://schemas.microsoft.com/office/drawing/2014/main" id="{92180929-A7F6-6C1E-4AFE-E7EEB7D2F221}"/>
                      </a:ext>
                    </a:extLst>
                  </p:cNvPr>
                  <p:cNvSpPr/>
                  <p:nvPr/>
                </p:nvSpPr>
                <p:spPr>
                  <a:xfrm>
                    <a:off x="3771421" y="2586254"/>
                    <a:ext cx="312898" cy="18334"/>
                  </a:xfrm>
                  <a:custGeom>
                    <a:avLst/>
                    <a:gdLst>
                      <a:gd name="connsiteX0" fmla="*/ 312898 w 312898"/>
                      <a:gd name="connsiteY0" fmla="*/ 0 h 18334"/>
                      <a:gd name="connsiteX1" fmla="*/ 0 w 312898"/>
                      <a:gd name="connsiteY1" fmla="*/ 0 h 18334"/>
                      <a:gd name="connsiteX2" fmla="*/ 0 w 312898"/>
                      <a:gd name="connsiteY2" fmla="*/ 18334 h 18334"/>
                      <a:gd name="connsiteX3" fmla="*/ 312898 w 312898"/>
                      <a:gd name="connsiteY3" fmla="*/ 18334 h 18334"/>
                      <a:gd name="connsiteX4" fmla="*/ 312898 w 312898"/>
                      <a:gd name="connsiteY4" fmla="*/ 0 h 183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12898" h="18334">
                        <a:moveTo>
                          <a:pt x="312898" y="0"/>
                        </a:moveTo>
                        <a:lnTo>
                          <a:pt x="0" y="0"/>
                        </a:lnTo>
                        <a:lnTo>
                          <a:pt x="0" y="18334"/>
                        </a:lnTo>
                        <a:lnTo>
                          <a:pt x="312898" y="18334"/>
                        </a:lnTo>
                        <a:lnTo>
                          <a:pt x="312898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05" name="Freeform: Shape 304">
                    <a:extLst>
                      <a:ext uri="{FF2B5EF4-FFF2-40B4-BE49-F238E27FC236}">
                        <a16:creationId xmlns:a16="http://schemas.microsoft.com/office/drawing/2014/main" id="{31D3AAF6-9EF8-EA97-0363-1A01BD58335D}"/>
                      </a:ext>
                    </a:extLst>
                  </p:cNvPr>
                  <p:cNvSpPr/>
                  <p:nvPr/>
                </p:nvSpPr>
                <p:spPr>
                  <a:xfrm>
                    <a:off x="3771421" y="2686481"/>
                    <a:ext cx="217563" cy="18332"/>
                  </a:xfrm>
                  <a:custGeom>
                    <a:avLst/>
                    <a:gdLst>
                      <a:gd name="connsiteX0" fmla="*/ 217563 w 217563"/>
                      <a:gd name="connsiteY0" fmla="*/ 0 h 18332"/>
                      <a:gd name="connsiteX1" fmla="*/ 0 w 217563"/>
                      <a:gd name="connsiteY1" fmla="*/ 0 h 18332"/>
                      <a:gd name="connsiteX2" fmla="*/ 0 w 217563"/>
                      <a:gd name="connsiteY2" fmla="*/ 18333 h 18332"/>
                      <a:gd name="connsiteX3" fmla="*/ 217563 w 217563"/>
                      <a:gd name="connsiteY3" fmla="*/ 18333 h 18332"/>
                      <a:gd name="connsiteX4" fmla="*/ 217563 w 217563"/>
                      <a:gd name="connsiteY4" fmla="*/ 0 h 183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17563" h="18332">
                        <a:moveTo>
                          <a:pt x="217563" y="0"/>
                        </a:moveTo>
                        <a:lnTo>
                          <a:pt x="0" y="0"/>
                        </a:lnTo>
                        <a:lnTo>
                          <a:pt x="0" y="18333"/>
                        </a:lnTo>
                        <a:lnTo>
                          <a:pt x="217563" y="18333"/>
                        </a:lnTo>
                        <a:lnTo>
                          <a:pt x="217563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06" name="Freeform: Shape 305">
                    <a:extLst>
                      <a:ext uri="{FF2B5EF4-FFF2-40B4-BE49-F238E27FC236}">
                        <a16:creationId xmlns:a16="http://schemas.microsoft.com/office/drawing/2014/main" id="{D4E05115-9836-7055-E7DE-D407B8388B0C}"/>
                      </a:ext>
                    </a:extLst>
                  </p:cNvPr>
                  <p:cNvSpPr/>
                  <p:nvPr/>
                </p:nvSpPr>
                <p:spPr>
                  <a:xfrm>
                    <a:off x="3771421" y="2783035"/>
                    <a:ext cx="160113" cy="18339"/>
                  </a:xfrm>
                  <a:custGeom>
                    <a:avLst/>
                    <a:gdLst>
                      <a:gd name="connsiteX0" fmla="*/ 160113 w 160113"/>
                      <a:gd name="connsiteY0" fmla="*/ 0 h 18339"/>
                      <a:gd name="connsiteX1" fmla="*/ 0 w 160113"/>
                      <a:gd name="connsiteY1" fmla="*/ 0 h 18339"/>
                      <a:gd name="connsiteX2" fmla="*/ 0 w 160113"/>
                      <a:gd name="connsiteY2" fmla="*/ 18339 h 18339"/>
                      <a:gd name="connsiteX3" fmla="*/ 160113 w 160113"/>
                      <a:gd name="connsiteY3" fmla="*/ 18339 h 18339"/>
                      <a:gd name="connsiteX4" fmla="*/ 160113 w 160113"/>
                      <a:gd name="connsiteY4" fmla="*/ 0 h 1833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0113" h="18339">
                        <a:moveTo>
                          <a:pt x="160113" y="0"/>
                        </a:moveTo>
                        <a:lnTo>
                          <a:pt x="0" y="0"/>
                        </a:lnTo>
                        <a:lnTo>
                          <a:pt x="0" y="18339"/>
                        </a:lnTo>
                        <a:lnTo>
                          <a:pt x="160113" y="18339"/>
                        </a:lnTo>
                        <a:lnTo>
                          <a:pt x="160113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07" name="Freeform: Shape 306">
                    <a:extLst>
                      <a:ext uri="{FF2B5EF4-FFF2-40B4-BE49-F238E27FC236}">
                        <a16:creationId xmlns:a16="http://schemas.microsoft.com/office/drawing/2014/main" id="{6FBDF91C-2313-4F1A-CCB6-A3A31993FA86}"/>
                      </a:ext>
                    </a:extLst>
                  </p:cNvPr>
                  <p:cNvSpPr/>
                  <p:nvPr/>
                </p:nvSpPr>
                <p:spPr>
                  <a:xfrm>
                    <a:off x="3726196" y="2416362"/>
                    <a:ext cx="58669" cy="58667"/>
                  </a:xfrm>
                  <a:custGeom>
                    <a:avLst/>
                    <a:gdLst>
                      <a:gd name="connsiteX0" fmla="*/ 0 w 58669"/>
                      <a:gd name="connsiteY0" fmla="*/ 58668 h 58667"/>
                      <a:gd name="connsiteX1" fmla="*/ 58669 w 58669"/>
                      <a:gd name="connsiteY1" fmla="*/ 58668 h 58667"/>
                      <a:gd name="connsiteX2" fmla="*/ 58669 w 58669"/>
                      <a:gd name="connsiteY2" fmla="*/ 0 h 58667"/>
                      <a:gd name="connsiteX3" fmla="*/ 0 w 58669"/>
                      <a:gd name="connsiteY3" fmla="*/ 0 h 58667"/>
                      <a:gd name="connsiteX4" fmla="*/ 0 w 58669"/>
                      <a:gd name="connsiteY4" fmla="*/ 58668 h 58667"/>
                      <a:gd name="connsiteX5" fmla="*/ 18333 w 58669"/>
                      <a:gd name="connsiteY5" fmla="*/ 18334 h 58667"/>
                      <a:gd name="connsiteX6" fmla="*/ 40336 w 58669"/>
                      <a:gd name="connsiteY6" fmla="*/ 18334 h 58667"/>
                      <a:gd name="connsiteX7" fmla="*/ 40336 w 58669"/>
                      <a:gd name="connsiteY7" fmla="*/ 40334 h 58667"/>
                      <a:gd name="connsiteX8" fmla="*/ 18333 w 58669"/>
                      <a:gd name="connsiteY8" fmla="*/ 40334 h 58667"/>
                      <a:gd name="connsiteX9" fmla="*/ 18333 w 58669"/>
                      <a:gd name="connsiteY9" fmla="*/ 18334 h 586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58669" h="58667">
                        <a:moveTo>
                          <a:pt x="0" y="58668"/>
                        </a:moveTo>
                        <a:lnTo>
                          <a:pt x="58669" y="58668"/>
                        </a:lnTo>
                        <a:lnTo>
                          <a:pt x="58669" y="0"/>
                        </a:lnTo>
                        <a:lnTo>
                          <a:pt x="0" y="0"/>
                        </a:lnTo>
                        <a:lnTo>
                          <a:pt x="0" y="58668"/>
                        </a:lnTo>
                        <a:close/>
                        <a:moveTo>
                          <a:pt x="18333" y="18334"/>
                        </a:moveTo>
                        <a:lnTo>
                          <a:pt x="40336" y="18334"/>
                        </a:lnTo>
                        <a:lnTo>
                          <a:pt x="40336" y="40334"/>
                        </a:lnTo>
                        <a:lnTo>
                          <a:pt x="18333" y="40334"/>
                        </a:lnTo>
                        <a:lnTo>
                          <a:pt x="18333" y="18334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</p:grpSp>
          <p:sp>
            <p:nvSpPr>
              <p:cNvPr id="300" name="TextBox 299">
                <a:extLst>
                  <a:ext uri="{FF2B5EF4-FFF2-40B4-BE49-F238E27FC236}">
                    <a16:creationId xmlns:a16="http://schemas.microsoft.com/office/drawing/2014/main" id="{F19E8416-B56A-52DB-23E3-039D9AFB5414}"/>
                  </a:ext>
                </a:extLst>
              </p:cNvPr>
              <p:cNvSpPr txBox="1"/>
              <p:nvPr/>
            </p:nvSpPr>
            <p:spPr>
              <a:xfrm>
                <a:off x="3640454" y="2836667"/>
                <a:ext cx="521297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Audit</a:t>
                </a:r>
              </a:p>
            </p:txBody>
          </p:sp>
        </p:grpSp>
      </p:grpSp>
      <p:grpSp>
        <p:nvGrpSpPr>
          <p:cNvPr id="332" name="Group 331">
            <a:extLst>
              <a:ext uri="{FF2B5EF4-FFF2-40B4-BE49-F238E27FC236}">
                <a16:creationId xmlns:a16="http://schemas.microsoft.com/office/drawing/2014/main" id="{B541E575-39C6-628F-C822-E3F236470B27}"/>
              </a:ext>
            </a:extLst>
          </p:cNvPr>
          <p:cNvGrpSpPr/>
          <p:nvPr/>
        </p:nvGrpSpPr>
        <p:grpSpPr>
          <a:xfrm>
            <a:off x="775918" y="3305530"/>
            <a:ext cx="8957549" cy="968767"/>
            <a:chOff x="381000" y="3307995"/>
            <a:chExt cx="8957549" cy="968767"/>
          </a:xfrm>
        </p:grpSpPr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356E2439-D717-FAD4-6EF3-59726115D1B9}"/>
                </a:ext>
              </a:extLst>
            </p:cNvPr>
            <p:cNvSpPr txBox="1"/>
            <p:nvPr/>
          </p:nvSpPr>
          <p:spPr>
            <a:xfrm>
              <a:off x="381000" y="3627865"/>
              <a:ext cx="2806262" cy="3258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 defTabSz="228600">
                <a:spcAft>
                  <a:spcPts val="1200"/>
                </a:spcAft>
              </a:pPr>
              <a:r>
                <a:rPr lang="de-CH" b="1" noProof="0" dirty="0"/>
                <a:t>OS and Workload </a:t>
              </a:r>
              <a:r>
                <a:rPr lang="de-CH" b="1" noProof="0" dirty="0" err="1"/>
                <a:t>Protection</a:t>
              </a:r>
              <a:endParaRPr lang="de-CH" b="1" noProof="0" dirty="0"/>
            </a:p>
          </p:txBody>
        </p:sp>
        <p:grpSp>
          <p:nvGrpSpPr>
            <p:cNvPr id="123" name="Graphic 2">
              <a:extLst>
                <a:ext uri="{FF2B5EF4-FFF2-40B4-BE49-F238E27FC236}">
                  <a16:creationId xmlns:a16="http://schemas.microsoft.com/office/drawing/2014/main" id="{790E42D2-31A6-32A3-B91D-97D58404BDA7}"/>
                </a:ext>
              </a:extLst>
            </p:cNvPr>
            <p:cNvGrpSpPr/>
            <p:nvPr/>
          </p:nvGrpSpPr>
          <p:grpSpPr>
            <a:xfrm>
              <a:off x="4213911" y="3307995"/>
              <a:ext cx="769378" cy="934027"/>
              <a:chOff x="7930682" y="3005488"/>
              <a:chExt cx="769378" cy="934027"/>
            </a:xfrm>
          </p:grpSpPr>
          <p:grpSp>
            <p:nvGrpSpPr>
              <p:cNvPr id="124" name="Graphic 2">
                <a:extLst>
                  <a:ext uri="{FF2B5EF4-FFF2-40B4-BE49-F238E27FC236}">
                    <a16:creationId xmlns:a16="http://schemas.microsoft.com/office/drawing/2014/main" id="{2F12F771-C285-F00E-795C-0096500DF2F9}"/>
                  </a:ext>
                </a:extLst>
              </p:cNvPr>
              <p:cNvGrpSpPr/>
              <p:nvPr/>
            </p:nvGrpSpPr>
            <p:grpSpPr>
              <a:xfrm>
                <a:off x="8047811" y="3005488"/>
                <a:ext cx="513347" cy="513347"/>
                <a:chOff x="8047811" y="3005488"/>
                <a:chExt cx="513347" cy="513347"/>
              </a:xfrm>
            </p:grpSpPr>
            <p:grpSp>
              <p:nvGrpSpPr>
                <p:cNvPr id="129" name="Graphic 2">
                  <a:extLst>
                    <a:ext uri="{FF2B5EF4-FFF2-40B4-BE49-F238E27FC236}">
                      <a16:creationId xmlns:a16="http://schemas.microsoft.com/office/drawing/2014/main" id="{85F23DE3-8E25-DDFD-C6BB-9E1562B68DC8}"/>
                    </a:ext>
                  </a:extLst>
                </p:cNvPr>
                <p:cNvGrpSpPr/>
                <p:nvPr/>
              </p:nvGrpSpPr>
              <p:grpSpPr>
                <a:xfrm>
                  <a:off x="8047811" y="3005488"/>
                  <a:ext cx="513347" cy="513347"/>
                  <a:chOff x="8047811" y="3005488"/>
                  <a:chExt cx="513347" cy="513347"/>
                </a:xfrm>
                <a:solidFill>
                  <a:srgbClr val="FFFFFF"/>
                </a:solidFill>
              </p:grpSpPr>
              <p:sp>
                <p:nvSpPr>
                  <p:cNvPr id="141" name="Freeform: Shape 140">
                    <a:extLst>
                      <a:ext uri="{FF2B5EF4-FFF2-40B4-BE49-F238E27FC236}">
                        <a16:creationId xmlns:a16="http://schemas.microsoft.com/office/drawing/2014/main" id="{53BB536B-A7A6-4DB4-080B-917D683BBD1C}"/>
                      </a:ext>
                    </a:extLst>
                  </p:cNvPr>
                  <p:cNvSpPr/>
                  <p:nvPr/>
                </p:nvSpPr>
                <p:spPr>
                  <a:xfrm>
                    <a:off x="8053906" y="3011597"/>
                    <a:ext cx="502374" cy="501122"/>
                  </a:xfrm>
                  <a:custGeom>
                    <a:avLst/>
                    <a:gdLst>
                      <a:gd name="connsiteX0" fmla="*/ 26887 w 502374"/>
                      <a:gd name="connsiteY0" fmla="*/ 501123 h 501122"/>
                      <a:gd name="connsiteX1" fmla="*/ 0 w 502374"/>
                      <a:gd name="connsiteY1" fmla="*/ 474236 h 501122"/>
                      <a:gd name="connsiteX2" fmla="*/ 0 w 502374"/>
                      <a:gd name="connsiteY2" fmla="*/ 26890 h 501122"/>
                      <a:gd name="connsiteX3" fmla="*/ 26887 w 502374"/>
                      <a:gd name="connsiteY3" fmla="*/ 0 h 501122"/>
                      <a:gd name="connsiteX4" fmla="*/ 475488 w 502374"/>
                      <a:gd name="connsiteY4" fmla="*/ 0 h 501122"/>
                      <a:gd name="connsiteX5" fmla="*/ 502375 w 502374"/>
                      <a:gd name="connsiteY5" fmla="*/ 26890 h 501122"/>
                      <a:gd name="connsiteX6" fmla="*/ 502375 w 502374"/>
                      <a:gd name="connsiteY6" fmla="*/ 407013 h 501122"/>
                      <a:gd name="connsiteX7" fmla="*/ 408239 w 502374"/>
                      <a:gd name="connsiteY7" fmla="*/ 501123 h 501122"/>
                      <a:gd name="connsiteX8" fmla="*/ 26887 w 502374"/>
                      <a:gd name="connsiteY8" fmla="*/ 501123 h 5011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502374" h="501122">
                        <a:moveTo>
                          <a:pt x="26887" y="501123"/>
                        </a:moveTo>
                        <a:cubicBezTo>
                          <a:pt x="12256" y="501123"/>
                          <a:pt x="0" y="488905"/>
                          <a:pt x="0" y="474236"/>
                        </a:cubicBezTo>
                        <a:lnTo>
                          <a:pt x="0" y="26890"/>
                        </a:lnTo>
                        <a:cubicBezTo>
                          <a:pt x="0" y="12223"/>
                          <a:pt x="12256" y="0"/>
                          <a:pt x="26887" y="0"/>
                        </a:cubicBezTo>
                        <a:lnTo>
                          <a:pt x="475488" y="0"/>
                        </a:lnTo>
                        <a:cubicBezTo>
                          <a:pt x="490118" y="0"/>
                          <a:pt x="502375" y="12223"/>
                          <a:pt x="502375" y="26890"/>
                        </a:cubicBezTo>
                        <a:lnTo>
                          <a:pt x="502375" y="407013"/>
                        </a:lnTo>
                        <a:cubicBezTo>
                          <a:pt x="502375" y="459567"/>
                          <a:pt x="459574" y="501123"/>
                          <a:pt x="408239" y="501123"/>
                        </a:cubicBezTo>
                        <a:lnTo>
                          <a:pt x="26887" y="50112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42" name="Freeform: Shape 141">
                    <a:extLst>
                      <a:ext uri="{FF2B5EF4-FFF2-40B4-BE49-F238E27FC236}">
                        <a16:creationId xmlns:a16="http://schemas.microsoft.com/office/drawing/2014/main" id="{041ACE8A-B919-CAB7-E625-FF1699330479}"/>
                      </a:ext>
                    </a:extLst>
                  </p:cNvPr>
                  <p:cNvSpPr/>
                  <p:nvPr/>
                </p:nvSpPr>
                <p:spPr>
                  <a:xfrm>
                    <a:off x="8047811" y="3005488"/>
                    <a:ext cx="513347" cy="513347"/>
                  </a:xfrm>
                  <a:custGeom>
                    <a:avLst/>
                    <a:gdLst>
                      <a:gd name="connsiteX0" fmla="*/ 480365 w 513347"/>
                      <a:gd name="connsiteY0" fmla="*/ 12223 h 513347"/>
                      <a:gd name="connsiteX1" fmla="*/ 501091 w 513347"/>
                      <a:gd name="connsiteY1" fmla="*/ 33001 h 513347"/>
                      <a:gd name="connsiteX2" fmla="*/ 501091 w 513347"/>
                      <a:gd name="connsiteY2" fmla="*/ 413123 h 513347"/>
                      <a:gd name="connsiteX3" fmla="*/ 413116 w 513347"/>
                      <a:gd name="connsiteY3" fmla="*/ 501123 h 513347"/>
                      <a:gd name="connsiteX4" fmla="*/ 32983 w 513347"/>
                      <a:gd name="connsiteY4" fmla="*/ 501123 h 513347"/>
                      <a:gd name="connsiteX5" fmla="*/ 12191 w 513347"/>
                      <a:gd name="connsiteY5" fmla="*/ 480345 h 513347"/>
                      <a:gd name="connsiteX6" fmla="*/ 12191 w 513347"/>
                      <a:gd name="connsiteY6" fmla="*/ 33001 h 513347"/>
                      <a:gd name="connsiteX7" fmla="*/ 32983 w 513347"/>
                      <a:gd name="connsiteY7" fmla="*/ 12223 h 513347"/>
                      <a:gd name="connsiteX8" fmla="*/ 480365 w 513347"/>
                      <a:gd name="connsiteY8" fmla="*/ 12223 h 513347"/>
                      <a:gd name="connsiteX9" fmla="*/ 480365 w 513347"/>
                      <a:gd name="connsiteY9" fmla="*/ 0 h 513347"/>
                      <a:gd name="connsiteX10" fmla="*/ 32983 w 513347"/>
                      <a:gd name="connsiteY10" fmla="*/ 0 h 513347"/>
                      <a:gd name="connsiteX11" fmla="*/ 0 w 513347"/>
                      <a:gd name="connsiteY11" fmla="*/ 33001 h 513347"/>
                      <a:gd name="connsiteX12" fmla="*/ 0 w 513347"/>
                      <a:gd name="connsiteY12" fmla="*/ 481571 h 513347"/>
                      <a:gd name="connsiteX13" fmla="*/ 32983 w 513347"/>
                      <a:gd name="connsiteY13" fmla="*/ 513347 h 513347"/>
                      <a:gd name="connsiteX14" fmla="*/ 413116 w 513347"/>
                      <a:gd name="connsiteY14" fmla="*/ 513347 h 513347"/>
                      <a:gd name="connsiteX15" fmla="*/ 513347 w 513347"/>
                      <a:gd name="connsiteY15" fmla="*/ 413123 h 513347"/>
                      <a:gd name="connsiteX16" fmla="*/ 513347 w 513347"/>
                      <a:gd name="connsiteY16" fmla="*/ 33001 h 513347"/>
                      <a:gd name="connsiteX17" fmla="*/ 480365 w 513347"/>
                      <a:gd name="connsiteY17" fmla="*/ 0 h 5133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513347" h="513347">
                        <a:moveTo>
                          <a:pt x="480365" y="12223"/>
                        </a:moveTo>
                        <a:cubicBezTo>
                          <a:pt x="492557" y="12223"/>
                          <a:pt x="501091" y="20778"/>
                          <a:pt x="501091" y="33001"/>
                        </a:cubicBezTo>
                        <a:lnTo>
                          <a:pt x="501091" y="413123"/>
                        </a:lnTo>
                        <a:cubicBezTo>
                          <a:pt x="501091" y="462013"/>
                          <a:pt x="462013" y="501123"/>
                          <a:pt x="413116" y="501123"/>
                        </a:cubicBezTo>
                        <a:lnTo>
                          <a:pt x="32983" y="501123"/>
                        </a:lnTo>
                        <a:cubicBezTo>
                          <a:pt x="20791" y="501123"/>
                          <a:pt x="12191" y="492570"/>
                          <a:pt x="12191" y="480345"/>
                        </a:cubicBezTo>
                        <a:lnTo>
                          <a:pt x="12191" y="33001"/>
                        </a:lnTo>
                        <a:cubicBezTo>
                          <a:pt x="12191" y="20778"/>
                          <a:pt x="20791" y="12223"/>
                          <a:pt x="32983" y="12223"/>
                        </a:cubicBezTo>
                        <a:lnTo>
                          <a:pt x="480365" y="12223"/>
                        </a:lnTo>
                        <a:close/>
                        <a:moveTo>
                          <a:pt x="480365" y="0"/>
                        </a:moveTo>
                        <a:lnTo>
                          <a:pt x="32983" y="0"/>
                        </a:lnTo>
                        <a:cubicBezTo>
                          <a:pt x="14630" y="0"/>
                          <a:pt x="0" y="14667"/>
                          <a:pt x="0" y="33001"/>
                        </a:cubicBezTo>
                        <a:lnTo>
                          <a:pt x="0" y="481571"/>
                        </a:lnTo>
                        <a:cubicBezTo>
                          <a:pt x="0" y="498678"/>
                          <a:pt x="14630" y="513347"/>
                          <a:pt x="32983" y="513347"/>
                        </a:cubicBezTo>
                        <a:lnTo>
                          <a:pt x="413116" y="513347"/>
                        </a:lnTo>
                        <a:cubicBezTo>
                          <a:pt x="468108" y="513347"/>
                          <a:pt x="513347" y="468121"/>
                          <a:pt x="513347" y="413123"/>
                        </a:cubicBezTo>
                        <a:lnTo>
                          <a:pt x="513347" y="33001"/>
                        </a:lnTo>
                        <a:cubicBezTo>
                          <a:pt x="513347" y="14667"/>
                          <a:pt x="498653" y="0"/>
                          <a:pt x="480365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  <p:grpSp>
              <p:nvGrpSpPr>
                <p:cNvPr id="130" name="Graphic 2">
                  <a:extLst>
                    <a:ext uri="{FF2B5EF4-FFF2-40B4-BE49-F238E27FC236}">
                      <a16:creationId xmlns:a16="http://schemas.microsoft.com/office/drawing/2014/main" id="{55A5D73B-3E54-D29F-24B2-3933809EAF6C}"/>
                    </a:ext>
                  </a:extLst>
                </p:cNvPr>
                <p:cNvGrpSpPr/>
                <p:nvPr/>
              </p:nvGrpSpPr>
              <p:grpSpPr>
                <a:xfrm>
                  <a:off x="8060002" y="3017710"/>
                  <a:ext cx="490118" cy="488906"/>
                  <a:chOff x="8060002" y="3017710"/>
                  <a:chExt cx="490118" cy="488906"/>
                </a:xfrm>
                <a:solidFill>
                  <a:srgbClr val="2C5967"/>
                </a:solidFill>
              </p:grpSpPr>
              <p:sp>
                <p:nvSpPr>
                  <p:cNvPr id="131" name="Freeform: Shape 130">
                    <a:extLst>
                      <a:ext uri="{FF2B5EF4-FFF2-40B4-BE49-F238E27FC236}">
                        <a16:creationId xmlns:a16="http://schemas.microsoft.com/office/drawing/2014/main" id="{FE63A745-11A6-E77B-8C76-99A69AF81C75}"/>
                      </a:ext>
                    </a:extLst>
                  </p:cNvPr>
                  <p:cNvSpPr/>
                  <p:nvPr/>
                </p:nvSpPr>
                <p:spPr>
                  <a:xfrm>
                    <a:off x="8060002" y="3017710"/>
                    <a:ext cx="490118" cy="488900"/>
                  </a:xfrm>
                  <a:custGeom>
                    <a:avLst/>
                    <a:gdLst>
                      <a:gd name="connsiteX0" fmla="*/ 326361 w 490118"/>
                      <a:gd name="connsiteY0" fmla="*/ 470567 h 488900"/>
                      <a:gd name="connsiteX1" fmla="*/ 20791 w 490118"/>
                      <a:gd name="connsiteY1" fmla="*/ 470567 h 488900"/>
                      <a:gd name="connsiteX2" fmla="*/ 18353 w 490118"/>
                      <a:gd name="connsiteY2" fmla="*/ 468123 h 488900"/>
                      <a:gd name="connsiteX3" fmla="*/ 18353 w 490118"/>
                      <a:gd name="connsiteY3" fmla="*/ 20778 h 488900"/>
                      <a:gd name="connsiteX4" fmla="*/ 20791 w 490118"/>
                      <a:gd name="connsiteY4" fmla="*/ 18334 h 488900"/>
                      <a:gd name="connsiteX5" fmla="*/ 469392 w 490118"/>
                      <a:gd name="connsiteY5" fmla="*/ 18334 h 488900"/>
                      <a:gd name="connsiteX6" fmla="*/ 471831 w 490118"/>
                      <a:gd name="connsiteY6" fmla="*/ 20778 h 488900"/>
                      <a:gd name="connsiteX7" fmla="*/ 471831 w 490118"/>
                      <a:gd name="connsiteY7" fmla="*/ 327562 h 488900"/>
                      <a:gd name="connsiteX8" fmla="*/ 490118 w 490118"/>
                      <a:gd name="connsiteY8" fmla="*/ 350784 h 488900"/>
                      <a:gd name="connsiteX9" fmla="*/ 490118 w 490118"/>
                      <a:gd name="connsiteY9" fmla="*/ 20778 h 488900"/>
                      <a:gd name="connsiteX10" fmla="*/ 468173 w 490118"/>
                      <a:gd name="connsiteY10" fmla="*/ 0 h 488900"/>
                      <a:gd name="connsiteX11" fmla="*/ 20791 w 490118"/>
                      <a:gd name="connsiteY11" fmla="*/ 0 h 488900"/>
                      <a:gd name="connsiteX12" fmla="*/ 0 w 490118"/>
                      <a:gd name="connsiteY12" fmla="*/ 20778 h 488900"/>
                      <a:gd name="connsiteX13" fmla="*/ 0 w 490118"/>
                      <a:gd name="connsiteY13" fmla="*/ 469348 h 488900"/>
                      <a:gd name="connsiteX14" fmla="*/ 20791 w 490118"/>
                      <a:gd name="connsiteY14" fmla="*/ 488900 h 488900"/>
                      <a:gd name="connsiteX15" fmla="*/ 350809 w 490118"/>
                      <a:gd name="connsiteY15" fmla="*/ 488900 h 488900"/>
                      <a:gd name="connsiteX16" fmla="*/ 326361 w 490118"/>
                      <a:gd name="connsiteY16" fmla="*/ 470567 h 488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490118" h="488900">
                        <a:moveTo>
                          <a:pt x="326361" y="470567"/>
                        </a:moveTo>
                        <a:lnTo>
                          <a:pt x="20791" y="470567"/>
                        </a:lnTo>
                        <a:cubicBezTo>
                          <a:pt x="19572" y="470567"/>
                          <a:pt x="18353" y="469348"/>
                          <a:pt x="18353" y="468123"/>
                        </a:cubicBezTo>
                        <a:lnTo>
                          <a:pt x="18353" y="20778"/>
                        </a:lnTo>
                        <a:cubicBezTo>
                          <a:pt x="18353" y="19556"/>
                          <a:pt x="19572" y="18334"/>
                          <a:pt x="20791" y="18334"/>
                        </a:cubicBezTo>
                        <a:lnTo>
                          <a:pt x="469392" y="18334"/>
                        </a:lnTo>
                        <a:cubicBezTo>
                          <a:pt x="470612" y="18334"/>
                          <a:pt x="471831" y="19556"/>
                          <a:pt x="471831" y="20778"/>
                        </a:cubicBezTo>
                        <a:lnTo>
                          <a:pt x="471831" y="327562"/>
                        </a:lnTo>
                        <a:cubicBezTo>
                          <a:pt x="479146" y="334896"/>
                          <a:pt x="485242" y="342231"/>
                          <a:pt x="490118" y="350784"/>
                        </a:cubicBezTo>
                        <a:lnTo>
                          <a:pt x="490118" y="20778"/>
                        </a:lnTo>
                        <a:cubicBezTo>
                          <a:pt x="488900" y="8556"/>
                          <a:pt x="480366" y="0"/>
                          <a:pt x="468173" y="0"/>
                        </a:cubicBezTo>
                        <a:lnTo>
                          <a:pt x="20791" y="0"/>
                        </a:lnTo>
                        <a:cubicBezTo>
                          <a:pt x="8599" y="0"/>
                          <a:pt x="0" y="8556"/>
                          <a:pt x="0" y="20778"/>
                        </a:cubicBezTo>
                        <a:lnTo>
                          <a:pt x="0" y="469348"/>
                        </a:lnTo>
                        <a:cubicBezTo>
                          <a:pt x="0" y="480347"/>
                          <a:pt x="8599" y="488900"/>
                          <a:pt x="20791" y="488900"/>
                        </a:cubicBezTo>
                        <a:lnTo>
                          <a:pt x="350809" y="488900"/>
                        </a:lnTo>
                        <a:cubicBezTo>
                          <a:pt x="341055" y="484011"/>
                          <a:pt x="333676" y="477902"/>
                          <a:pt x="326361" y="470567"/>
                        </a:cubicBez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32" name="Freeform: Shape 131">
                    <a:extLst>
                      <a:ext uri="{FF2B5EF4-FFF2-40B4-BE49-F238E27FC236}">
                        <a16:creationId xmlns:a16="http://schemas.microsoft.com/office/drawing/2014/main" id="{D0555EDF-9D4E-8982-AB49-24A31D279076}"/>
                      </a:ext>
                    </a:extLst>
                  </p:cNvPr>
                  <p:cNvSpPr/>
                  <p:nvPr/>
                </p:nvSpPr>
                <p:spPr>
                  <a:xfrm>
                    <a:off x="8128470" y="3329390"/>
                    <a:ext cx="281122" cy="108778"/>
                  </a:xfrm>
                  <a:custGeom>
                    <a:avLst/>
                    <a:gdLst>
                      <a:gd name="connsiteX0" fmla="*/ 0 w 281122"/>
                      <a:gd name="connsiteY0" fmla="*/ 108778 h 108778"/>
                      <a:gd name="connsiteX1" fmla="*/ 233445 w 281122"/>
                      <a:gd name="connsiteY1" fmla="*/ 108778 h 108778"/>
                      <a:gd name="connsiteX2" fmla="*/ 231006 w 281122"/>
                      <a:gd name="connsiteY2" fmla="*/ 90445 h 108778"/>
                      <a:gd name="connsiteX3" fmla="*/ 17133 w 281122"/>
                      <a:gd name="connsiteY3" fmla="*/ 90445 h 108778"/>
                      <a:gd name="connsiteX4" fmla="*/ 17133 w 281122"/>
                      <a:gd name="connsiteY4" fmla="*/ 18333 h 108778"/>
                      <a:gd name="connsiteX5" fmla="*/ 257893 w 281122"/>
                      <a:gd name="connsiteY5" fmla="*/ 18333 h 108778"/>
                      <a:gd name="connsiteX6" fmla="*/ 281122 w 281122"/>
                      <a:gd name="connsiteY6" fmla="*/ 0 h 108778"/>
                      <a:gd name="connsiteX7" fmla="*/ 0 w 281122"/>
                      <a:gd name="connsiteY7" fmla="*/ 0 h 108778"/>
                      <a:gd name="connsiteX8" fmla="*/ 0 w 281122"/>
                      <a:gd name="connsiteY8" fmla="*/ 108778 h 1087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81122" h="108778">
                        <a:moveTo>
                          <a:pt x="0" y="108778"/>
                        </a:moveTo>
                        <a:lnTo>
                          <a:pt x="233445" y="108778"/>
                        </a:lnTo>
                        <a:cubicBezTo>
                          <a:pt x="232226" y="102669"/>
                          <a:pt x="231006" y="96554"/>
                          <a:pt x="231006" y="90445"/>
                        </a:cubicBezTo>
                        <a:lnTo>
                          <a:pt x="17133" y="90445"/>
                        </a:lnTo>
                        <a:lnTo>
                          <a:pt x="17133" y="18333"/>
                        </a:lnTo>
                        <a:lnTo>
                          <a:pt x="257893" y="18333"/>
                        </a:lnTo>
                        <a:cubicBezTo>
                          <a:pt x="265208" y="10998"/>
                          <a:pt x="272587" y="4883"/>
                          <a:pt x="281122" y="0"/>
                        </a:cubicBezTo>
                        <a:lnTo>
                          <a:pt x="0" y="0"/>
                        </a:lnTo>
                        <a:lnTo>
                          <a:pt x="0" y="108778"/>
                        </a:ln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33" name="Freeform: Shape 132">
                    <a:extLst>
                      <a:ext uri="{FF2B5EF4-FFF2-40B4-BE49-F238E27FC236}">
                        <a16:creationId xmlns:a16="http://schemas.microsoft.com/office/drawing/2014/main" id="{0E7FE6F7-E14C-271B-B07F-E89E50DCEAB0}"/>
                      </a:ext>
                    </a:extLst>
                  </p:cNvPr>
                  <p:cNvSpPr/>
                  <p:nvPr/>
                </p:nvSpPr>
                <p:spPr>
                  <a:xfrm>
                    <a:off x="8128470" y="3086162"/>
                    <a:ext cx="108765" cy="107558"/>
                  </a:xfrm>
                  <a:custGeom>
                    <a:avLst/>
                    <a:gdLst>
                      <a:gd name="connsiteX0" fmla="*/ 0 w 108765"/>
                      <a:gd name="connsiteY0" fmla="*/ 107558 h 107558"/>
                      <a:gd name="connsiteX1" fmla="*/ 108765 w 108765"/>
                      <a:gd name="connsiteY1" fmla="*/ 107558 h 107558"/>
                      <a:gd name="connsiteX2" fmla="*/ 108765 w 108765"/>
                      <a:gd name="connsiteY2" fmla="*/ 0 h 107558"/>
                      <a:gd name="connsiteX3" fmla="*/ 0 w 108765"/>
                      <a:gd name="connsiteY3" fmla="*/ 0 h 107558"/>
                      <a:gd name="connsiteX4" fmla="*/ 0 w 108765"/>
                      <a:gd name="connsiteY4" fmla="*/ 107558 h 107558"/>
                      <a:gd name="connsiteX5" fmla="*/ 17133 w 108765"/>
                      <a:gd name="connsiteY5" fmla="*/ 17111 h 107558"/>
                      <a:gd name="connsiteX6" fmla="*/ 90413 w 108765"/>
                      <a:gd name="connsiteY6" fmla="*/ 17111 h 107558"/>
                      <a:gd name="connsiteX7" fmla="*/ 90413 w 108765"/>
                      <a:gd name="connsiteY7" fmla="*/ 90447 h 107558"/>
                      <a:gd name="connsiteX8" fmla="*/ 17133 w 108765"/>
                      <a:gd name="connsiteY8" fmla="*/ 90447 h 107558"/>
                      <a:gd name="connsiteX9" fmla="*/ 17133 w 108765"/>
                      <a:gd name="connsiteY9" fmla="*/ 17111 h 1075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08765" h="107558">
                        <a:moveTo>
                          <a:pt x="0" y="107558"/>
                        </a:moveTo>
                        <a:lnTo>
                          <a:pt x="108765" y="107558"/>
                        </a:lnTo>
                        <a:lnTo>
                          <a:pt x="108765" y="0"/>
                        </a:lnTo>
                        <a:lnTo>
                          <a:pt x="0" y="0"/>
                        </a:lnTo>
                        <a:lnTo>
                          <a:pt x="0" y="107558"/>
                        </a:lnTo>
                        <a:close/>
                        <a:moveTo>
                          <a:pt x="17133" y="17111"/>
                        </a:moveTo>
                        <a:lnTo>
                          <a:pt x="90413" y="17111"/>
                        </a:lnTo>
                        <a:lnTo>
                          <a:pt x="90413" y="90447"/>
                        </a:lnTo>
                        <a:lnTo>
                          <a:pt x="17133" y="90447"/>
                        </a:lnTo>
                        <a:lnTo>
                          <a:pt x="17133" y="17111"/>
                        </a:ln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34" name="Freeform: Shape 133">
                    <a:extLst>
                      <a:ext uri="{FF2B5EF4-FFF2-40B4-BE49-F238E27FC236}">
                        <a16:creationId xmlns:a16="http://schemas.microsoft.com/office/drawing/2014/main" id="{22CA2CDC-2E98-48E5-3854-24E46C1F72DC}"/>
                      </a:ext>
                    </a:extLst>
                  </p:cNvPr>
                  <p:cNvSpPr/>
                  <p:nvPr/>
                </p:nvSpPr>
                <p:spPr>
                  <a:xfrm>
                    <a:off x="8250711" y="3086162"/>
                    <a:ext cx="108765" cy="107558"/>
                  </a:xfrm>
                  <a:custGeom>
                    <a:avLst/>
                    <a:gdLst>
                      <a:gd name="connsiteX0" fmla="*/ 0 w 108765"/>
                      <a:gd name="connsiteY0" fmla="*/ 107558 h 107558"/>
                      <a:gd name="connsiteX1" fmla="*/ 108765 w 108765"/>
                      <a:gd name="connsiteY1" fmla="*/ 107558 h 107558"/>
                      <a:gd name="connsiteX2" fmla="*/ 108765 w 108765"/>
                      <a:gd name="connsiteY2" fmla="*/ 0 h 107558"/>
                      <a:gd name="connsiteX3" fmla="*/ 0 w 108765"/>
                      <a:gd name="connsiteY3" fmla="*/ 0 h 107558"/>
                      <a:gd name="connsiteX4" fmla="*/ 0 w 108765"/>
                      <a:gd name="connsiteY4" fmla="*/ 107558 h 107558"/>
                      <a:gd name="connsiteX5" fmla="*/ 17068 w 108765"/>
                      <a:gd name="connsiteY5" fmla="*/ 17111 h 107558"/>
                      <a:gd name="connsiteX6" fmla="*/ 90413 w 108765"/>
                      <a:gd name="connsiteY6" fmla="*/ 17111 h 107558"/>
                      <a:gd name="connsiteX7" fmla="*/ 90413 w 108765"/>
                      <a:gd name="connsiteY7" fmla="*/ 90447 h 107558"/>
                      <a:gd name="connsiteX8" fmla="*/ 17068 w 108765"/>
                      <a:gd name="connsiteY8" fmla="*/ 90447 h 107558"/>
                      <a:gd name="connsiteX9" fmla="*/ 17068 w 108765"/>
                      <a:gd name="connsiteY9" fmla="*/ 17111 h 1075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08765" h="107558">
                        <a:moveTo>
                          <a:pt x="0" y="107558"/>
                        </a:moveTo>
                        <a:lnTo>
                          <a:pt x="108765" y="107558"/>
                        </a:lnTo>
                        <a:lnTo>
                          <a:pt x="108765" y="0"/>
                        </a:lnTo>
                        <a:lnTo>
                          <a:pt x="0" y="0"/>
                        </a:lnTo>
                        <a:lnTo>
                          <a:pt x="0" y="107558"/>
                        </a:lnTo>
                        <a:close/>
                        <a:moveTo>
                          <a:pt x="17068" y="17111"/>
                        </a:moveTo>
                        <a:lnTo>
                          <a:pt x="90413" y="17111"/>
                        </a:lnTo>
                        <a:lnTo>
                          <a:pt x="90413" y="90447"/>
                        </a:lnTo>
                        <a:lnTo>
                          <a:pt x="17068" y="90447"/>
                        </a:lnTo>
                        <a:lnTo>
                          <a:pt x="17068" y="17111"/>
                        </a:ln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35" name="Freeform: Shape 134">
                    <a:extLst>
                      <a:ext uri="{FF2B5EF4-FFF2-40B4-BE49-F238E27FC236}">
                        <a16:creationId xmlns:a16="http://schemas.microsoft.com/office/drawing/2014/main" id="{4A430D2A-DCA1-B314-17EB-CFEEF24B13CE}"/>
                      </a:ext>
                    </a:extLst>
                  </p:cNvPr>
                  <p:cNvSpPr/>
                  <p:nvPr/>
                </p:nvSpPr>
                <p:spPr>
                  <a:xfrm>
                    <a:off x="8128470" y="3207164"/>
                    <a:ext cx="108765" cy="108780"/>
                  </a:xfrm>
                  <a:custGeom>
                    <a:avLst/>
                    <a:gdLst>
                      <a:gd name="connsiteX0" fmla="*/ 0 w 108765"/>
                      <a:gd name="connsiteY0" fmla="*/ 108781 h 108780"/>
                      <a:gd name="connsiteX1" fmla="*/ 108765 w 108765"/>
                      <a:gd name="connsiteY1" fmla="*/ 108781 h 108780"/>
                      <a:gd name="connsiteX2" fmla="*/ 108765 w 108765"/>
                      <a:gd name="connsiteY2" fmla="*/ 0 h 108780"/>
                      <a:gd name="connsiteX3" fmla="*/ 0 w 108765"/>
                      <a:gd name="connsiteY3" fmla="*/ 0 h 108780"/>
                      <a:gd name="connsiteX4" fmla="*/ 0 w 108765"/>
                      <a:gd name="connsiteY4" fmla="*/ 108781 h 108780"/>
                      <a:gd name="connsiteX5" fmla="*/ 17133 w 108765"/>
                      <a:gd name="connsiteY5" fmla="*/ 18334 h 108780"/>
                      <a:gd name="connsiteX6" fmla="*/ 90413 w 108765"/>
                      <a:gd name="connsiteY6" fmla="*/ 18334 h 108780"/>
                      <a:gd name="connsiteX7" fmla="*/ 90413 w 108765"/>
                      <a:gd name="connsiteY7" fmla="*/ 91669 h 108780"/>
                      <a:gd name="connsiteX8" fmla="*/ 17133 w 108765"/>
                      <a:gd name="connsiteY8" fmla="*/ 91669 h 108780"/>
                      <a:gd name="connsiteX9" fmla="*/ 17133 w 108765"/>
                      <a:gd name="connsiteY9" fmla="*/ 18334 h 1087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08765" h="108780">
                        <a:moveTo>
                          <a:pt x="0" y="108781"/>
                        </a:moveTo>
                        <a:lnTo>
                          <a:pt x="108765" y="108781"/>
                        </a:lnTo>
                        <a:lnTo>
                          <a:pt x="108765" y="0"/>
                        </a:lnTo>
                        <a:lnTo>
                          <a:pt x="0" y="0"/>
                        </a:lnTo>
                        <a:lnTo>
                          <a:pt x="0" y="108781"/>
                        </a:lnTo>
                        <a:close/>
                        <a:moveTo>
                          <a:pt x="17133" y="18334"/>
                        </a:moveTo>
                        <a:lnTo>
                          <a:pt x="90413" y="18334"/>
                        </a:lnTo>
                        <a:lnTo>
                          <a:pt x="90413" y="91669"/>
                        </a:lnTo>
                        <a:lnTo>
                          <a:pt x="17133" y="91669"/>
                        </a:lnTo>
                        <a:lnTo>
                          <a:pt x="17133" y="18334"/>
                        </a:ln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36" name="Freeform: Shape 135">
                    <a:extLst>
                      <a:ext uri="{FF2B5EF4-FFF2-40B4-BE49-F238E27FC236}">
                        <a16:creationId xmlns:a16="http://schemas.microsoft.com/office/drawing/2014/main" id="{403E3138-5FAD-BFA8-82C4-FEB5E2536DA2}"/>
                      </a:ext>
                    </a:extLst>
                  </p:cNvPr>
                  <p:cNvSpPr/>
                  <p:nvPr/>
                </p:nvSpPr>
                <p:spPr>
                  <a:xfrm>
                    <a:off x="8250711" y="3207164"/>
                    <a:ext cx="108765" cy="108780"/>
                  </a:xfrm>
                  <a:custGeom>
                    <a:avLst/>
                    <a:gdLst>
                      <a:gd name="connsiteX0" fmla="*/ 0 w 108765"/>
                      <a:gd name="connsiteY0" fmla="*/ 108781 h 108780"/>
                      <a:gd name="connsiteX1" fmla="*/ 108765 w 108765"/>
                      <a:gd name="connsiteY1" fmla="*/ 108781 h 108780"/>
                      <a:gd name="connsiteX2" fmla="*/ 108765 w 108765"/>
                      <a:gd name="connsiteY2" fmla="*/ 0 h 108780"/>
                      <a:gd name="connsiteX3" fmla="*/ 0 w 108765"/>
                      <a:gd name="connsiteY3" fmla="*/ 0 h 108780"/>
                      <a:gd name="connsiteX4" fmla="*/ 0 w 108765"/>
                      <a:gd name="connsiteY4" fmla="*/ 108781 h 108780"/>
                      <a:gd name="connsiteX5" fmla="*/ 17068 w 108765"/>
                      <a:gd name="connsiteY5" fmla="*/ 18334 h 108780"/>
                      <a:gd name="connsiteX6" fmla="*/ 90413 w 108765"/>
                      <a:gd name="connsiteY6" fmla="*/ 18334 h 108780"/>
                      <a:gd name="connsiteX7" fmla="*/ 90413 w 108765"/>
                      <a:gd name="connsiteY7" fmla="*/ 91669 h 108780"/>
                      <a:gd name="connsiteX8" fmla="*/ 17068 w 108765"/>
                      <a:gd name="connsiteY8" fmla="*/ 91669 h 108780"/>
                      <a:gd name="connsiteX9" fmla="*/ 17068 w 108765"/>
                      <a:gd name="connsiteY9" fmla="*/ 18334 h 1087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08765" h="108780">
                        <a:moveTo>
                          <a:pt x="0" y="108781"/>
                        </a:moveTo>
                        <a:lnTo>
                          <a:pt x="108765" y="108781"/>
                        </a:lnTo>
                        <a:lnTo>
                          <a:pt x="108765" y="0"/>
                        </a:lnTo>
                        <a:lnTo>
                          <a:pt x="0" y="0"/>
                        </a:lnTo>
                        <a:lnTo>
                          <a:pt x="0" y="108781"/>
                        </a:lnTo>
                        <a:close/>
                        <a:moveTo>
                          <a:pt x="17068" y="18334"/>
                        </a:moveTo>
                        <a:lnTo>
                          <a:pt x="90413" y="18334"/>
                        </a:lnTo>
                        <a:lnTo>
                          <a:pt x="90413" y="91669"/>
                        </a:lnTo>
                        <a:lnTo>
                          <a:pt x="17068" y="91669"/>
                        </a:lnTo>
                        <a:lnTo>
                          <a:pt x="17068" y="18334"/>
                        </a:ln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37" name="Freeform: Shape 136">
                    <a:extLst>
                      <a:ext uri="{FF2B5EF4-FFF2-40B4-BE49-F238E27FC236}">
                        <a16:creationId xmlns:a16="http://schemas.microsoft.com/office/drawing/2014/main" id="{87AAE6EF-6665-76D3-6DDC-DEA31674BEB1}"/>
                      </a:ext>
                    </a:extLst>
                  </p:cNvPr>
                  <p:cNvSpPr/>
                  <p:nvPr/>
                </p:nvSpPr>
                <p:spPr>
                  <a:xfrm>
                    <a:off x="8372887" y="3086162"/>
                    <a:ext cx="108830" cy="107558"/>
                  </a:xfrm>
                  <a:custGeom>
                    <a:avLst/>
                    <a:gdLst>
                      <a:gd name="connsiteX0" fmla="*/ 0 w 108830"/>
                      <a:gd name="connsiteY0" fmla="*/ 107558 h 107558"/>
                      <a:gd name="connsiteX1" fmla="*/ 108830 w 108830"/>
                      <a:gd name="connsiteY1" fmla="*/ 107558 h 107558"/>
                      <a:gd name="connsiteX2" fmla="*/ 108830 w 108830"/>
                      <a:gd name="connsiteY2" fmla="*/ 0 h 107558"/>
                      <a:gd name="connsiteX3" fmla="*/ 0 w 108830"/>
                      <a:gd name="connsiteY3" fmla="*/ 0 h 107558"/>
                      <a:gd name="connsiteX4" fmla="*/ 0 w 108830"/>
                      <a:gd name="connsiteY4" fmla="*/ 107558 h 107558"/>
                      <a:gd name="connsiteX5" fmla="*/ 17133 w 108830"/>
                      <a:gd name="connsiteY5" fmla="*/ 17111 h 107558"/>
                      <a:gd name="connsiteX6" fmla="*/ 90478 w 108830"/>
                      <a:gd name="connsiteY6" fmla="*/ 17111 h 107558"/>
                      <a:gd name="connsiteX7" fmla="*/ 90478 w 108830"/>
                      <a:gd name="connsiteY7" fmla="*/ 90447 h 107558"/>
                      <a:gd name="connsiteX8" fmla="*/ 17133 w 108830"/>
                      <a:gd name="connsiteY8" fmla="*/ 90447 h 107558"/>
                      <a:gd name="connsiteX9" fmla="*/ 17133 w 108830"/>
                      <a:gd name="connsiteY9" fmla="*/ 17111 h 1075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08830" h="107558">
                        <a:moveTo>
                          <a:pt x="0" y="107558"/>
                        </a:moveTo>
                        <a:lnTo>
                          <a:pt x="108830" y="107558"/>
                        </a:lnTo>
                        <a:lnTo>
                          <a:pt x="108830" y="0"/>
                        </a:lnTo>
                        <a:lnTo>
                          <a:pt x="0" y="0"/>
                        </a:lnTo>
                        <a:lnTo>
                          <a:pt x="0" y="107558"/>
                        </a:lnTo>
                        <a:close/>
                        <a:moveTo>
                          <a:pt x="17133" y="17111"/>
                        </a:moveTo>
                        <a:lnTo>
                          <a:pt x="90478" y="17111"/>
                        </a:lnTo>
                        <a:lnTo>
                          <a:pt x="90478" y="90447"/>
                        </a:lnTo>
                        <a:lnTo>
                          <a:pt x="17133" y="90447"/>
                        </a:lnTo>
                        <a:lnTo>
                          <a:pt x="17133" y="17111"/>
                        </a:ln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38" name="Freeform: Shape 137">
                    <a:extLst>
                      <a:ext uri="{FF2B5EF4-FFF2-40B4-BE49-F238E27FC236}">
                        <a16:creationId xmlns:a16="http://schemas.microsoft.com/office/drawing/2014/main" id="{3A1DDCF3-86E3-CCD7-54C6-813A15275D0D}"/>
                      </a:ext>
                    </a:extLst>
                  </p:cNvPr>
                  <p:cNvSpPr/>
                  <p:nvPr/>
                </p:nvSpPr>
                <p:spPr>
                  <a:xfrm>
                    <a:off x="8371668" y="3208385"/>
                    <a:ext cx="108829" cy="108780"/>
                  </a:xfrm>
                  <a:custGeom>
                    <a:avLst/>
                    <a:gdLst>
                      <a:gd name="connsiteX0" fmla="*/ 108829 w 108829"/>
                      <a:gd name="connsiteY0" fmla="*/ 0 h 108780"/>
                      <a:gd name="connsiteX1" fmla="*/ 0 w 108829"/>
                      <a:gd name="connsiteY1" fmla="*/ 0 h 108780"/>
                      <a:gd name="connsiteX2" fmla="*/ 0 w 108829"/>
                      <a:gd name="connsiteY2" fmla="*/ 108781 h 108780"/>
                      <a:gd name="connsiteX3" fmla="*/ 88039 w 108829"/>
                      <a:gd name="connsiteY3" fmla="*/ 108781 h 108780"/>
                      <a:gd name="connsiteX4" fmla="*/ 108829 w 108829"/>
                      <a:gd name="connsiteY4" fmla="*/ 108781 h 108780"/>
                      <a:gd name="connsiteX5" fmla="*/ 108829 w 108829"/>
                      <a:gd name="connsiteY5" fmla="*/ 0 h 108780"/>
                      <a:gd name="connsiteX6" fmla="*/ 91697 w 108829"/>
                      <a:gd name="connsiteY6" fmla="*/ 90447 h 108780"/>
                      <a:gd name="connsiteX7" fmla="*/ 18352 w 108829"/>
                      <a:gd name="connsiteY7" fmla="*/ 90447 h 108780"/>
                      <a:gd name="connsiteX8" fmla="*/ 18352 w 108829"/>
                      <a:gd name="connsiteY8" fmla="*/ 17112 h 108780"/>
                      <a:gd name="connsiteX9" fmla="*/ 91697 w 108829"/>
                      <a:gd name="connsiteY9" fmla="*/ 17112 h 108780"/>
                      <a:gd name="connsiteX10" fmla="*/ 91697 w 108829"/>
                      <a:gd name="connsiteY10" fmla="*/ 90447 h 1087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08829" h="108780">
                        <a:moveTo>
                          <a:pt x="108829" y="0"/>
                        </a:moveTo>
                        <a:lnTo>
                          <a:pt x="0" y="0"/>
                        </a:lnTo>
                        <a:lnTo>
                          <a:pt x="0" y="108781"/>
                        </a:lnTo>
                        <a:lnTo>
                          <a:pt x="88039" y="108781"/>
                        </a:lnTo>
                        <a:lnTo>
                          <a:pt x="108829" y="108781"/>
                        </a:lnTo>
                        <a:lnTo>
                          <a:pt x="108829" y="0"/>
                        </a:lnTo>
                        <a:close/>
                        <a:moveTo>
                          <a:pt x="91697" y="90447"/>
                        </a:moveTo>
                        <a:lnTo>
                          <a:pt x="18352" y="90447"/>
                        </a:lnTo>
                        <a:lnTo>
                          <a:pt x="18352" y="17112"/>
                        </a:lnTo>
                        <a:lnTo>
                          <a:pt x="91697" y="17112"/>
                        </a:lnTo>
                        <a:lnTo>
                          <a:pt x="91697" y="90447"/>
                        </a:ln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39" name="Freeform: Shape 138">
                    <a:extLst>
                      <a:ext uri="{FF2B5EF4-FFF2-40B4-BE49-F238E27FC236}">
                        <a16:creationId xmlns:a16="http://schemas.microsoft.com/office/drawing/2014/main" id="{5C035B53-7DA2-D730-8898-A0918D88F6B3}"/>
                      </a:ext>
                    </a:extLst>
                  </p:cNvPr>
                  <p:cNvSpPr/>
                  <p:nvPr/>
                </p:nvSpPr>
                <p:spPr>
                  <a:xfrm>
                    <a:off x="8372887" y="3330610"/>
                    <a:ext cx="176014" cy="176007"/>
                  </a:xfrm>
                  <a:custGeom>
                    <a:avLst/>
                    <a:gdLst>
                      <a:gd name="connsiteX0" fmla="*/ 176014 w 176014"/>
                      <a:gd name="connsiteY0" fmla="*/ 88007 h 176007"/>
                      <a:gd name="connsiteX1" fmla="*/ 88040 w 176014"/>
                      <a:gd name="connsiteY1" fmla="*/ 0 h 176007"/>
                      <a:gd name="connsiteX2" fmla="*/ 0 w 176014"/>
                      <a:gd name="connsiteY2" fmla="*/ 88007 h 176007"/>
                      <a:gd name="connsiteX3" fmla="*/ 88040 w 176014"/>
                      <a:gd name="connsiteY3" fmla="*/ 176007 h 176007"/>
                      <a:gd name="connsiteX4" fmla="*/ 176014 w 176014"/>
                      <a:gd name="connsiteY4" fmla="*/ 88007 h 176007"/>
                      <a:gd name="connsiteX5" fmla="*/ 17133 w 176014"/>
                      <a:gd name="connsiteY5" fmla="*/ 88007 h 176007"/>
                      <a:gd name="connsiteX6" fmla="*/ 86820 w 176014"/>
                      <a:gd name="connsiteY6" fmla="*/ 18339 h 176007"/>
                      <a:gd name="connsiteX7" fmla="*/ 156507 w 176014"/>
                      <a:gd name="connsiteY7" fmla="*/ 88007 h 176007"/>
                      <a:gd name="connsiteX8" fmla="*/ 86820 w 176014"/>
                      <a:gd name="connsiteY8" fmla="*/ 157675 h 176007"/>
                      <a:gd name="connsiteX9" fmla="*/ 17133 w 176014"/>
                      <a:gd name="connsiteY9" fmla="*/ 88007 h 17600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76014" h="176007">
                        <a:moveTo>
                          <a:pt x="176014" y="88007"/>
                        </a:moveTo>
                        <a:cubicBezTo>
                          <a:pt x="176014" y="39117"/>
                          <a:pt x="136936" y="0"/>
                          <a:pt x="88040" y="0"/>
                        </a:cubicBezTo>
                        <a:cubicBezTo>
                          <a:pt x="39143" y="0"/>
                          <a:pt x="0" y="39117"/>
                          <a:pt x="0" y="88007"/>
                        </a:cubicBezTo>
                        <a:cubicBezTo>
                          <a:pt x="0" y="136897"/>
                          <a:pt x="39143" y="176007"/>
                          <a:pt x="88040" y="176007"/>
                        </a:cubicBezTo>
                        <a:cubicBezTo>
                          <a:pt x="136936" y="176007"/>
                          <a:pt x="176014" y="136897"/>
                          <a:pt x="176014" y="88007"/>
                        </a:cubicBezTo>
                        <a:close/>
                        <a:moveTo>
                          <a:pt x="17133" y="88007"/>
                        </a:moveTo>
                        <a:cubicBezTo>
                          <a:pt x="17133" y="48896"/>
                          <a:pt x="48896" y="18339"/>
                          <a:pt x="86820" y="18339"/>
                        </a:cubicBezTo>
                        <a:cubicBezTo>
                          <a:pt x="124680" y="18339"/>
                          <a:pt x="156507" y="50116"/>
                          <a:pt x="156507" y="88007"/>
                        </a:cubicBezTo>
                        <a:cubicBezTo>
                          <a:pt x="156507" y="125898"/>
                          <a:pt x="124680" y="157675"/>
                          <a:pt x="86820" y="157675"/>
                        </a:cubicBezTo>
                        <a:cubicBezTo>
                          <a:pt x="48896" y="157675"/>
                          <a:pt x="17133" y="125898"/>
                          <a:pt x="17133" y="88007"/>
                        </a:cubicBez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40" name="Freeform: Shape 139">
                    <a:extLst>
                      <a:ext uri="{FF2B5EF4-FFF2-40B4-BE49-F238E27FC236}">
                        <a16:creationId xmlns:a16="http://schemas.microsoft.com/office/drawing/2014/main" id="{E4D8E9A3-12D2-2C3B-0CF1-BC1869B22EEB}"/>
                      </a:ext>
                    </a:extLst>
                  </p:cNvPr>
                  <p:cNvSpPr/>
                  <p:nvPr/>
                </p:nvSpPr>
                <p:spPr>
                  <a:xfrm>
                    <a:off x="8407154" y="3364831"/>
                    <a:ext cx="107546" cy="106339"/>
                  </a:xfrm>
                  <a:custGeom>
                    <a:avLst/>
                    <a:gdLst>
                      <a:gd name="connsiteX0" fmla="*/ 91632 w 107546"/>
                      <a:gd name="connsiteY0" fmla="*/ 73338 h 106339"/>
                      <a:gd name="connsiteX1" fmla="*/ 94070 w 107546"/>
                      <a:gd name="connsiteY1" fmla="*/ 67229 h 106339"/>
                      <a:gd name="connsiteX2" fmla="*/ 107546 w 107546"/>
                      <a:gd name="connsiteY2" fmla="*/ 66004 h 106339"/>
                      <a:gd name="connsiteX3" fmla="*/ 107546 w 107546"/>
                      <a:gd name="connsiteY3" fmla="*/ 42781 h 106339"/>
                      <a:gd name="connsiteX4" fmla="*/ 94070 w 107546"/>
                      <a:gd name="connsiteY4" fmla="*/ 41562 h 106339"/>
                      <a:gd name="connsiteX5" fmla="*/ 91632 w 107546"/>
                      <a:gd name="connsiteY5" fmla="*/ 35447 h 106339"/>
                      <a:gd name="connsiteX6" fmla="*/ 100231 w 107546"/>
                      <a:gd name="connsiteY6" fmla="*/ 25667 h 106339"/>
                      <a:gd name="connsiteX7" fmla="*/ 83098 w 107546"/>
                      <a:gd name="connsiteY7" fmla="*/ 7334 h 106339"/>
                      <a:gd name="connsiteX8" fmla="*/ 73344 w 107546"/>
                      <a:gd name="connsiteY8" fmla="*/ 15894 h 106339"/>
                      <a:gd name="connsiteX9" fmla="*/ 67184 w 107546"/>
                      <a:gd name="connsiteY9" fmla="*/ 13450 h 106339"/>
                      <a:gd name="connsiteX10" fmla="*/ 65965 w 107546"/>
                      <a:gd name="connsiteY10" fmla="*/ 0 h 106339"/>
                      <a:gd name="connsiteX11" fmla="*/ 42736 w 107546"/>
                      <a:gd name="connsiteY11" fmla="*/ 0 h 106339"/>
                      <a:gd name="connsiteX12" fmla="*/ 41517 w 107546"/>
                      <a:gd name="connsiteY12" fmla="*/ 13450 h 106339"/>
                      <a:gd name="connsiteX13" fmla="*/ 35420 w 107546"/>
                      <a:gd name="connsiteY13" fmla="*/ 15894 h 106339"/>
                      <a:gd name="connsiteX14" fmla="*/ 23229 w 107546"/>
                      <a:gd name="connsiteY14" fmla="*/ 7334 h 106339"/>
                      <a:gd name="connsiteX15" fmla="*/ 7315 w 107546"/>
                      <a:gd name="connsiteY15" fmla="*/ 23229 h 106339"/>
                      <a:gd name="connsiteX16" fmla="*/ 15849 w 107546"/>
                      <a:gd name="connsiteY16" fmla="*/ 33002 h 106339"/>
                      <a:gd name="connsiteX17" fmla="*/ 13411 w 107546"/>
                      <a:gd name="connsiteY17" fmla="*/ 39117 h 106339"/>
                      <a:gd name="connsiteX18" fmla="*/ 0 w 107546"/>
                      <a:gd name="connsiteY18" fmla="*/ 40336 h 106339"/>
                      <a:gd name="connsiteX19" fmla="*/ 0 w 107546"/>
                      <a:gd name="connsiteY19" fmla="*/ 63559 h 106339"/>
                      <a:gd name="connsiteX20" fmla="*/ 13411 w 107546"/>
                      <a:gd name="connsiteY20" fmla="*/ 64784 h 106339"/>
                      <a:gd name="connsiteX21" fmla="*/ 15849 w 107546"/>
                      <a:gd name="connsiteY21" fmla="*/ 70893 h 106339"/>
                      <a:gd name="connsiteX22" fmla="*/ 7315 w 107546"/>
                      <a:gd name="connsiteY22" fmla="*/ 83117 h 106339"/>
                      <a:gd name="connsiteX23" fmla="*/ 23229 w 107546"/>
                      <a:gd name="connsiteY23" fmla="*/ 99005 h 106339"/>
                      <a:gd name="connsiteX24" fmla="*/ 32983 w 107546"/>
                      <a:gd name="connsiteY24" fmla="*/ 90452 h 106339"/>
                      <a:gd name="connsiteX25" fmla="*/ 39078 w 107546"/>
                      <a:gd name="connsiteY25" fmla="*/ 92897 h 106339"/>
                      <a:gd name="connsiteX26" fmla="*/ 40297 w 107546"/>
                      <a:gd name="connsiteY26" fmla="*/ 106340 h 106339"/>
                      <a:gd name="connsiteX27" fmla="*/ 63526 w 107546"/>
                      <a:gd name="connsiteY27" fmla="*/ 106340 h 106339"/>
                      <a:gd name="connsiteX28" fmla="*/ 64746 w 107546"/>
                      <a:gd name="connsiteY28" fmla="*/ 92897 h 106339"/>
                      <a:gd name="connsiteX29" fmla="*/ 70906 w 107546"/>
                      <a:gd name="connsiteY29" fmla="*/ 90452 h 106339"/>
                      <a:gd name="connsiteX30" fmla="*/ 80659 w 107546"/>
                      <a:gd name="connsiteY30" fmla="*/ 99005 h 106339"/>
                      <a:gd name="connsiteX31" fmla="*/ 96573 w 107546"/>
                      <a:gd name="connsiteY31" fmla="*/ 83117 h 106339"/>
                      <a:gd name="connsiteX32" fmla="*/ 91632 w 107546"/>
                      <a:gd name="connsiteY32" fmla="*/ 73338 h 106339"/>
                      <a:gd name="connsiteX33" fmla="*/ 30544 w 107546"/>
                      <a:gd name="connsiteY33" fmla="*/ 53780 h 106339"/>
                      <a:gd name="connsiteX34" fmla="*/ 53773 w 107546"/>
                      <a:gd name="connsiteY34" fmla="*/ 30557 h 106339"/>
                      <a:gd name="connsiteX35" fmla="*/ 77002 w 107546"/>
                      <a:gd name="connsiteY35" fmla="*/ 53780 h 106339"/>
                      <a:gd name="connsiteX36" fmla="*/ 53773 w 107546"/>
                      <a:gd name="connsiteY36" fmla="*/ 77002 h 106339"/>
                      <a:gd name="connsiteX37" fmla="*/ 30544 w 107546"/>
                      <a:gd name="connsiteY37" fmla="*/ 53780 h 10633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</a:cxnLst>
                    <a:rect l="l" t="t" r="r" b="b"/>
                    <a:pathLst>
                      <a:path w="107546" h="106339">
                        <a:moveTo>
                          <a:pt x="91632" y="73338"/>
                        </a:moveTo>
                        <a:cubicBezTo>
                          <a:pt x="92852" y="70893"/>
                          <a:pt x="94070" y="68448"/>
                          <a:pt x="94070" y="67229"/>
                        </a:cubicBezTo>
                        <a:lnTo>
                          <a:pt x="107546" y="66004"/>
                        </a:lnTo>
                        <a:lnTo>
                          <a:pt x="107546" y="42781"/>
                        </a:lnTo>
                        <a:lnTo>
                          <a:pt x="94070" y="41562"/>
                        </a:lnTo>
                        <a:cubicBezTo>
                          <a:pt x="92852" y="39117"/>
                          <a:pt x="92852" y="36672"/>
                          <a:pt x="91632" y="35447"/>
                        </a:cubicBezTo>
                        <a:lnTo>
                          <a:pt x="100231" y="25667"/>
                        </a:lnTo>
                        <a:lnTo>
                          <a:pt x="83098" y="7334"/>
                        </a:lnTo>
                        <a:lnTo>
                          <a:pt x="73344" y="15894"/>
                        </a:lnTo>
                        <a:cubicBezTo>
                          <a:pt x="70906" y="14669"/>
                          <a:pt x="68403" y="13450"/>
                          <a:pt x="67184" y="13450"/>
                        </a:cubicBezTo>
                        <a:lnTo>
                          <a:pt x="65965" y="0"/>
                        </a:lnTo>
                        <a:lnTo>
                          <a:pt x="42736" y="0"/>
                        </a:lnTo>
                        <a:lnTo>
                          <a:pt x="41517" y="13450"/>
                        </a:lnTo>
                        <a:cubicBezTo>
                          <a:pt x="39078" y="14669"/>
                          <a:pt x="36640" y="14669"/>
                          <a:pt x="35420" y="15894"/>
                        </a:cubicBezTo>
                        <a:lnTo>
                          <a:pt x="23229" y="7334"/>
                        </a:lnTo>
                        <a:lnTo>
                          <a:pt x="7315" y="23229"/>
                        </a:lnTo>
                        <a:lnTo>
                          <a:pt x="15849" y="33002"/>
                        </a:lnTo>
                        <a:cubicBezTo>
                          <a:pt x="14630" y="35447"/>
                          <a:pt x="13411" y="37891"/>
                          <a:pt x="13411" y="39117"/>
                        </a:cubicBezTo>
                        <a:lnTo>
                          <a:pt x="0" y="40336"/>
                        </a:lnTo>
                        <a:lnTo>
                          <a:pt x="0" y="63559"/>
                        </a:lnTo>
                        <a:lnTo>
                          <a:pt x="13411" y="64784"/>
                        </a:lnTo>
                        <a:cubicBezTo>
                          <a:pt x="14630" y="67229"/>
                          <a:pt x="14630" y="69674"/>
                          <a:pt x="15849" y="70893"/>
                        </a:cubicBezTo>
                        <a:lnTo>
                          <a:pt x="7315" y="83117"/>
                        </a:lnTo>
                        <a:lnTo>
                          <a:pt x="23229" y="99005"/>
                        </a:lnTo>
                        <a:lnTo>
                          <a:pt x="32983" y="90452"/>
                        </a:lnTo>
                        <a:cubicBezTo>
                          <a:pt x="35420" y="91671"/>
                          <a:pt x="37859" y="92897"/>
                          <a:pt x="39078" y="92897"/>
                        </a:cubicBezTo>
                        <a:lnTo>
                          <a:pt x="40297" y="106340"/>
                        </a:lnTo>
                        <a:lnTo>
                          <a:pt x="63526" y="106340"/>
                        </a:lnTo>
                        <a:lnTo>
                          <a:pt x="64746" y="92897"/>
                        </a:lnTo>
                        <a:cubicBezTo>
                          <a:pt x="67184" y="91671"/>
                          <a:pt x="69623" y="91671"/>
                          <a:pt x="70906" y="90452"/>
                        </a:cubicBezTo>
                        <a:lnTo>
                          <a:pt x="80659" y="99005"/>
                        </a:lnTo>
                        <a:lnTo>
                          <a:pt x="96573" y="83117"/>
                        </a:lnTo>
                        <a:lnTo>
                          <a:pt x="91632" y="73338"/>
                        </a:lnTo>
                        <a:close/>
                        <a:moveTo>
                          <a:pt x="30544" y="53780"/>
                        </a:moveTo>
                        <a:cubicBezTo>
                          <a:pt x="30544" y="41562"/>
                          <a:pt x="41517" y="30557"/>
                          <a:pt x="53773" y="30557"/>
                        </a:cubicBezTo>
                        <a:cubicBezTo>
                          <a:pt x="65965" y="30557"/>
                          <a:pt x="77002" y="41562"/>
                          <a:pt x="77002" y="53780"/>
                        </a:cubicBezTo>
                        <a:cubicBezTo>
                          <a:pt x="77002" y="66004"/>
                          <a:pt x="65965" y="77002"/>
                          <a:pt x="53773" y="77002"/>
                        </a:cubicBezTo>
                        <a:cubicBezTo>
                          <a:pt x="40297" y="77002"/>
                          <a:pt x="30544" y="66004"/>
                          <a:pt x="30544" y="53780"/>
                        </a:cubicBez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</p:grpSp>
          <p:grpSp>
            <p:nvGrpSpPr>
              <p:cNvPr id="125" name="Graphic 2">
                <a:extLst>
                  <a:ext uri="{FF2B5EF4-FFF2-40B4-BE49-F238E27FC236}">
                    <a16:creationId xmlns:a16="http://schemas.microsoft.com/office/drawing/2014/main" id="{6DDC319B-5D06-167B-BA08-76ACBF9FDE9B}"/>
                  </a:ext>
                </a:extLst>
              </p:cNvPr>
              <p:cNvGrpSpPr/>
              <p:nvPr/>
            </p:nvGrpSpPr>
            <p:grpSpPr>
              <a:xfrm>
                <a:off x="7930682" y="3477850"/>
                <a:ext cx="769378" cy="461665"/>
                <a:chOff x="7930682" y="3477850"/>
                <a:chExt cx="769378" cy="461665"/>
              </a:xfrm>
              <a:solidFill>
                <a:srgbClr val="000000"/>
              </a:solidFill>
            </p:grpSpPr>
            <p:sp>
              <p:nvSpPr>
                <p:cNvPr id="126" name="TextBox 125">
                  <a:extLst>
                    <a:ext uri="{FF2B5EF4-FFF2-40B4-BE49-F238E27FC236}">
                      <a16:creationId xmlns:a16="http://schemas.microsoft.com/office/drawing/2014/main" id="{A113E3F7-D6EF-8892-EA17-46E277F94991}"/>
                    </a:ext>
                  </a:extLst>
                </p:cNvPr>
                <p:cNvSpPr txBox="1"/>
                <p:nvPr/>
              </p:nvSpPr>
              <p:spPr>
                <a:xfrm>
                  <a:off x="7930682" y="3477850"/>
                  <a:ext cx="769378" cy="46166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en-US" sz="1200" spc="0" baseline="0" dirty="0">
                      <a:solidFill>
                        <a:srgbClr val="000000"/>
                      </a:solidFill>
                      <a:latin typeface="Oracle Sans"/>
                      <a:cs typeface="Oracle Sans"/>
                      <a:sym typeface="Oracle Sans"/>
                      <a:rtl val="0"/>
                    </a:rPr>
                    <a:t>Shielded</a:t>
                  </a:r>
                </a:p>
                <a:p>
                  <a:pPr algn="ctr"/>
                  <a:r>
                    <a:rPr lang="en-US" sz="1200" dirty="0">
                      <a:solidFill>
                        <a:srgbClr val="000000"/>
                      </a:solidFill>
                      <a:latin typeface="Oracle Sans"/>
                      <a:cs typeface="Oracle Sans"/>
                      <a:sym typeface="Oracle Sans"/>
                      <a:rtl val="0"/>
                    </a:rPr>
                    <a:t>Instances</a:t>
                  </a:r>
                  <a:endPara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endParaRPr>
                </a:p>
              </p:txBody>
            </p:sp>
            <p:sp>
              <p:nvSpPr>
                <p:cNvPr id="127" name="TextBox 126">
                  <a:extLst>
                    <a:ext uri="{FF2B5EF4-FFF2-40B4-BE49-F238E27FC236}">
                      <a16:creationId xmlns:a16="http://schemas.microsoft.com/office/drawing/2014/main" id="{8D370512-8E07-E025-AA75-6AF1C1BD1284}"/>
                    </a:ext>
                  </a:extLst>
                </p:cNvPr>
                <p:cNvSpPr txBox="1"/>
                <p:nvPr/>
              </p:nvSpPr>
              <p:spPr>
                <a:xfrm>
                  <a:off x="8013930" y="3581020"/>
                  <a:ext cx="184731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l"/>
                  <a:endPara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endParaRPr>
                </a:p>
              </p:txBody>
            </p:sp>
          </p:grpSp>
        </p:grpSp>
        <p:grpSp>
          <p:nvGrpSpPr>
            <p:cNvPr id="143" name="Graphic 2">
              <a:extLst>
                <a:ext uri="{FF2B5EF4-FFF2-40B4-BE49-F238E27FC236}">
                  <a16:creationId xmlns:a16="http://schemas.microsoft.com/office/drawing/2014/main" id="{FF5C98B3-62F0-D32F-316E-E7523EAE03DE}"/>
                </a:ext>
              </a:extLst>
            </p:cNvPr>
            <p:cNvGrpSpPr/>
            <p:nvPr/>
          </p:nvGrpSpPr>
          <p:grpSpPr>
            <a:xfrm>
              <a:off x="5609535" y="3310353"/>
              <a:ext cx="815095" cy="966409"/>
              <a:chOff x="933453" y="3005488"/>
              <a:chExt cx="815095" cy="966409"/>
            </a:xfrm>
          </p:grpSpPr>
          <p:grpSp>
            <p:nvGrpSpPr>
              <p:cNvPr id="144" name="Graphic 2">
                <a:extLst>
                  <a:ext uri="{FF2B5EF4-FFF2-40B4-BE49-F238E27FC236}">
                    <a16:creationId xmlns:a16="http://schemas.microsoft.com/office/drawing/2014/main" id="{C429CBE0-FAFF-5A8C-CEB1-5FB12BE47BB7}"/>
                  </a:ext>
                </a:extLst>
              </p:cNvPr>
              <p:cNvGrpSpPr/>
              <p:nvPr/>
            </p:nvGrpSpPr>
            <p:grpSpPr>
              <a:xfrm>
                <a:off x="1079107" y="3005488"/>
                <a:ext cx="514566" cy="513347"/>
                <a:chOff x="1079107" y="3005488"/>
                <a:chExt cx="514566" cy="513347"/>
              </a:xfrm>
            </p:grpSpPr>
            <p:grpSp>
              <p:nvGrpSpPr>
                <p:cNvPr id="148" name="Graphic 2">
                  <a:extLst>
                    <a:ext uri="{FF2B5EF4-FFF2-40B4-BE49-F238E27FC236}">
                      <a16:creationId xmlns:a16="http://schemas.microsoft.com/office/drawing/2014/main" id="{0B788E63-D93A-30EF-BC83-10EE65B291A3}"/>
                    </a:ext>
                  </a:extLst>
                </p:cNvPr>
                <p:cNvGrpSpPr/>
                <p:nvPr/>
              </p:nvGrpSpPr>
              <p:grpSpPr>
                <a:xfrm>
                  <a:off x="1079107" y="3005488"/>
                  <a:ext cx="514566" cy="513347"/>
                  <a:chOff x="1079107" y="3005488"/>
                  <a:chExt cx="514566" cy="513347"/>
                </a:xfrm>
                <a:solidFill>
                  <a:srgbClr val="FFFFFF"/>
                </a:solidFill>
              </p:grpSpPr>
              <p:sp>
                <p:nvSpPr>
                  <p:cNvPr id="157" name="Freeform: Shape 156">
                    <a:extLst>
                      <a:ext uri="{FF2B5EF4-FFF2-40B4-BE49-F238E27FC236}">
                        <a16:creationId xmlns:a16="http://schemas.microsoft.com/office/drawing/2014/main" id="{64F2C775-039D-DAF7-F978-BAD7DC3703C5}"/>
                      </a:ext>
                    </a:extLst>
                  </p:cNvPr>
                  <p:cNvSpPr/>
                  <p:nvPr/>
                </p:nvSpPr>
                <p:spPr>
                  <a:xfrm>
                    <a:off x="1085216" y="3011597"/>
                    <a:ext cx="502348" cy="502348"/>
                  </a:xfrm>
                  <a:custGeom>
                    <a:avLst/>
                    <a:gdLst>
                      <a:gd name="connsiteX0" fmla="*/ 26893 w 502348"/>
                      <a:gd name="connsiteY0" fmla="*/ 501123 h 502348"/>
                      <a:gd name="connsiteX1" fmla="*/ 0 w 502348"/>
                      <a:gd name="connsiteY1" fmla="*/ 474236 h 502348"/>
                      <a:gd name="connsiteX2" fmla="*/ 0 w 502348"/>
                      <a:gd name="connsiteY2" fmla="*/ 26890 h 502348"/>
                      <a:gd name="connsiteX3" fmla="*/ 26893 w 502348"/>
                      <a:gd name="connsiteY3" fmla="*/ 0 h 502348"/>
                      <a:gd name="connsiteX4" fmla="*/ 475462 w 502348"/>
                      <a:gd name="connsiteY4" fmla="*/ 0 h 502348"/>
                      <a:gd name="connsiteX5" fmla="*/ 502349 w 502348"/>
                      <a:gd name="connsiteY5" fmla="*/ 26890 h 502348"/>
                      <a:gd name="connsiteX6" fmla="*/ 502349 w 502348"/>
                      <a:gd name="connsiteY6" fmla="*/ 475455 h 502348"/>
                      <a:gd name="connsiteX7" fmla="*/ 475462 w 502348"/>
                      <a:gd name="connsiteY7" fmla="*/ 502348 h 502348"/>
                      <a:gd name="connsiteX8" fmla="*/ 26893 w 502348"/>
                      <a:gd name="connsiteY8" fmla="*/ 501123 h 5023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502348" h="502348">
                        <a:moveTo>
                          <a:pt x="26893" y="501123"/>
                        </a:moveTo>
                        <a:cubicBezTo>
                          <a:pt x="12224" y="501123"/>
                          <a:pt x="0" y="488905"/>
                          <a:pt x="0" y="474236"/>
                        </a:cubicBezTo>
                        <a:lnTo>
                          <a:pt x="0" y="26890"/>
                        </a:lnTo>
                        <a:cubicBezTo>
                          <a:pt x="0" y="12223"/>
                          <a:pt x="12224" y="0"/>
                          <a:pt x="26893" y="0"/>
                        </a:cubicBezTo>
                        <a:lnTo>
                          <a:pt x="475462" y="0"/>
                        </a:lnTo>
                        <a:cubicBezTo>
                          <a:pt x="490125" y="0"/>
                          <a:pt x="502349" y="12223"/>
                          <a:pt x="502349" y="26890"/>
                        </a:cubicBezTo>
                        <a:lnTo>
                          <a:pt x="502349" y="475455"/>
                        </a:lnTo>
                        <a:cubicBezTo>
                          <a:pt x="502349" y="490124"/>
                          <a:pt x="490125" y="502348"/>
                          <a:pt x="475462" y="502348"/>
                        </a:cubicBezTo>
                        <a:lnTo>
                          <a:pt x="26893" y="50112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58" name="Freeform: Shape 157">
                    <a:extLst>
                      <a:ext uri="{FF2B5EF4-FFF2-40B4-BE49-F238E27FC236}">
                        <a16:creationId xmlns:a16="http://schemas.microsoft.com/office/drawing/2014/main" id="{3C8E6DFB-2142-9708-C5F4-38981DC79D88}"/>
                      </a:ext>
                    </a:extLst>
                  </p:cNvPr>
                  <p:cNvSpPr/>
                  <p:nvPr/>
                </p:nvSpPr>
                <p:spPr>
                  <a:xfrm>
                    <a:off x="1079107" y="3005488"/>
                    <a:ext cx="514566" cy="513347"/>
                  </a:xfrm>
                  <a:custGeom>
                    <a:avLst/>
                    <a:gdLst>
                      <a:gd name="connsiteX0" fmla="*/ 480346 w 514566"/>
                      <a:gd name="connsiteY0" fmla="*/ 12223 h 513347"/>
                      <a:gd name="connsiteX1" fmla="*/ 501123 w 514566"/>
                      <a:gd name="connsiteY1" fmla="*/ 33001 h 513347"/>
                      <a:gd name="connsiteX2" fmla="*/ 501123 w 514566"/>
                      <a:gd name="connsiteY2" fmla="*/ 481571 h 513347"/>
                      <a:gd name="connsiteX3" fmla="*/ 480346 w 514566"/>
                      <a:gd name="connsiteY3" fmla="*/ 502349 h 513347"/>
                      <a:gd name="connsiteX4" fmla="*/ 33002 w 514566"/>
                      <a:gd name="connsiteY4" fmla="*/ 502349 h 513347"/>
                      <a:gd name="connsiteX5" fmla="*/ 12224 w 514566"/>
                      <a:gd name="connsiteY5" fmla="*/ 480345 h 513347"/>
                      <a:gd name="connsiteX6" fmla="*/ 12224 w 514566"/>
                      <a:gd name="connsiteY6" fmla="*/ 33001 h 513347"/>
                      <a:gd name="connsiteX7" fmla="*/ 33002 w 514566"/>
                      <a:gd name="connsiteY7" fmla="*/ 12223 h 513347"/>
                      <a:gd name="connsiteX8" fmla="*/ 480346 w 514566"/>
                      <a:gd name="connsiteY8" fmla="*/ 12223 h 513347"/>
                      <a:gd name="connsiteX9" fmla="*/ 480346 w 514566"/>
                      <a:gd name="connsiteY9" fmla="*/ 0 h 513347"/>
                      <a:gd name="connsiteX10" fmla="*/ 33002 w 514566"/>
                      <a:gd name="connsiteY10" fmla="*/ 0 h 513347"/>
                      <a:gd name="connsiteX11" fmla="*/ 0 w 514566"/>
                      <a:gd name="connsiteY11" fmla="*/ 33001 h 513347"/>
                      <a:gd name="connsiteX12" fmla="*/ 0 w 514566"/>
                      <a:gd name="connsiteY12" fmla="*/ 481571 h 513347"/>
                      <a:gd name="connsiteX13" fmla="*/ 33002 w 514566"/>
                      <a:gd name="connsiteY13" fmla="*/ 513347 h 513347"/>
                      <a:gd name="connsiteX14" fmla="*/ 481571 w 514566"/>
                      <a:gd name="connsiteY14" fmla="*/ 513347 h 513347"/>
                      <a:gd name="connsiteX15" fmla="*/ 514567 w 514566"/>
                      <a:gd name="connsiteY15" fmla="*/ 480345 h 513347"/>
                      <a:gd name="connsiteX16" fmla="*/ 514567 w 514566"/>
                      <a:gd name="connsiteY16" fmla="*/ 33001 h 513347"/>
                      <a:gd name="connsiteX17" fmla="*/ 480346 w 514566"/>
                      <a:gd name="connsiteY17" fmla="*/ 0 h 5133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514566" h="513347">
                        <a:moveTo>
                          <a:pt x="480346" y="12223"/>
                        </a:moveTo>
                        <a:cubicBezTo>
                          <a:pt x="491344" y="12223"/>
                          <a:pt x="501123" y="22001"/>
                          <a:pt x="501123" y="33001"/>
                        </a:cubicBezTo>
                        <a:lnTo>
                          <a:pt x="501123" y="481571"/>
                        </a:lnTo>
                        <a:cubicBezTo>
                          <a:pt x="501123" y="492570"/>
                          <a:pt x="491344" y="502349"/>
                          <a:pt x="480346" y="502349"/>
                        </a:cubicBezTo>
                        <a:lnTo>
                          <a:pt x="33002" y="502349"/>
                        </a:lnTo>
                        <a:cubicBezTo>
                          <a:pt x="22003" y="501123"/>
                          <a:pt x="12224" y="491344"/>
                          <a:pt x="12224" y="480345"/>
                        </a:cubicBezTo>
                        <a:lnTo>
                          <a:pt x="12224" y="33001"/>
                        </a:lnTo>
                        <a:cubicBezTo>
                          <a:pt x="12224" y="22001"/>
                          <a:pt x="22003" y="12223"/>
                          <a:pt x="33002" y="12223"/>
                        </a:cubicBezTo>
                        <a:lnTo>
                          <a:pt x="480346" y="12223"/>
                        </a:lnTo>
                        <a:close/>
                        <a:moveTo>
                          <a:pt x="480346" y="0"/>
                        </a:moveTo>
                        <a:lnTo>
                          <a:pt x="33002" y="0"/>
                        </a:lnTo>
                        <a:cubicBezTo>
                          <a:pt x="14669" y="0"/>
                          <a:pt x="0" y="14667"/>
                          <a:pt x="0" y="33001"/>
                        </a:cubicBezTo>
                        <a:lnTo>
                          <a:pt x="0" y="481571"/>
                        </a:lnTo>
                        <a:cubicBezTo>
                          <a:pt x="0" y="498678"/>
                          <a:pt x="14669" y="513347"/>
                          <a:pt x="33002" y="513347"/>
                        </a:cubicBezTo>
                        <a:lnTo>
                          <a:pt x="481571" y="513347"/>
                        </a:lnTo>
                        <a:cubicBezTo>
                          <a:pt x="499904" y="513347"/>
                          <a:pt x="514567" y="498678"/>
                          <a:pt x="514567" y="480345"/>
                        </a:cubicBezTo>
                        <a:lnTo>
                          <a:pt x="514567" y="33001"/>
                        </a:lnTo>
                        <a:cubicBezTo>
                          <a:pt x="513347" y="14667"/>
                          <a:pt x="498679" y="0"/>
                          <a:pt x="480346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  <p:grpSp>
              <p:nvGrpSpPr>
                <p:cNvPr id="149" name="Graphic 2">
                  <a:extLst>
                    <a:ext uri="{FF2B5EF4-FFF2-40B4-BE49-F238E27FC236}">
                      <a16:creationId xmlns:a16="http://schemas.microsoft.com/office/drawing/2014/main" id="{15DCFCF7-A418-678B-B5FA-E28467381336}"/>
                    </a:ext>
                  </a:extLst>
                </p:cNvPr>
                <p:cNvGrpSpPr/>
                <p:nvPr/>
              </p:nvGrpSpPr>
              <p:grpSpPr>
                <a:xfrm>
                  <a:off x="1091331" y="3017710"/>
                  <a:ext cx="490124" cy="488900"/>
                  <a:chOff x="1091331" y="3017710"/>
                  <a:chExt cx="490124" cy="488900"/>
                </a:xfrm>
                <a:solidFill>
                  <a:srgbClr val="2D5967"/>
                </a:solidFill>
              </p:grpSpPr>
              <p:sp>
                <p:nvSpPr>
                  <p:cNvPr id="150" name="Freeform: Shape 149">
                    <a:extLst>
                      <a:ext uri="{FF2B5EF4-FFF2-40B4-BE49-F238E27FC236}">
                        <a16:creationId xmlns:a16="http://schemas.microsoft.com/office/drawing/2014/main" id="{F7184112-891E-D921-72E4-CA210AE70F24}"/>
                      </a:ext>
                    </a:extLst>
                  </p:cNvPr>
                  <p:cNvSpPr/>
                  <p:nvPr/>
                </p:nvSpPr>
                <p:spPr>
                  <a:xfrm>
                    <a:off x="1091331" y="3017710"/>
                    <a:ext cx="490124" cy="488900"/>
                  </a:xfrm>
                  <a:custGeom>
                    <a:avLst/>
                    <a:gdLst>
                      <a:gd name="connsiteX0" fmla="*/ 468121 w 490124"/>
                      <a:gd name="connsiteY0" fmla="*/ 0 h 488900"/>
                      <a:gd name="connsiteX1" fmla="*/ 20778 w 490124"/>
                      <a:gd name="connsiteY1" fmla="*/ 0 h 488900"/>
                      <a:gd name="connsiteX2" fmla="*/ 0 w 490124"/>
                      <a:gd name="connsiteY2" fmla="*/ 20778 h 488900"/>
                      <a:gd name="connsiteX3" fmla="*/ 0 w 490124"/>
                      <a:gd name="connsiteY3" fmla="*/ 469348 h 488900"/>
                      <a:gd name="connsiteX4" fmla="*/ 20778 w 490124"/>
                      <a:gd name="connsiteY4" fmla="*/ 488900 h 488900"/>
                      <a:gd name="connsiteX5" fmla="*/ 469347 w 490124"/>
                      <a:gd name="connsiteY5" fmla="*/ 488900 h 488900"/>
                      <a:gd name="connsiteX6" fmla="*/ 490125 w 490124"/>
                      <a:gd name="connsiteY6" fmla="*/ 468123 h 488900"/>
                      <a:gd name="connsiteX7" fmla="*/ 490125 w 490124"/>
                      <a:gd name="connsiteY7" fmla="*/ 20778 h 488900"/>
                      <a:gd name="connsiteX8" fmla="*/ 468121 w 490124"/>
                      <a:gd name="connsiteY8" fmla="*/ 0 h 488900"/>
                      <a:gd name="connsiteX9" fmla="*/ 470566 w 490124"/>
                      <a:gd name="connsiteY9" fmla="*/ 468123 h 488900"/>
                      <a:gd name="connsiteX10" fmla="*/ 468121 w 490124"/>
                      <a:gd name="connsiteY10" fmla="*/ 470567 h 488900"/>
                      <a:gd name="connsiteX11" fmla="*/ 20778 w 490124"/>
                      <a:gd name="connsiteY11" fmla="*/ 470567 h 488900"/>
                      <a:gd name="connsiteX12" fmla="*/ 18333 w 490124"/>
                      <a:gd name="connsiteY12" fmla="*/ 468123 h 488900"/>
                      <a:gd name="connsiteX13" fmla="*/ 18333 w 490124"/>
                      <a:gd name="connsiteY13" fmla="*/ 20778 h 488900"/>
                      <a:gd name="connsiteX14" fmla="*/ 20778 w 490124"/>
                      <a:gd name="connsiteY14" fmla="*/ 18334 h 488900"/>
                      <a:gd name="connsiteX15" fmla="*/ 469347 w 490124"/>
                      <a:gd name="connsiteY15" fmla="*/ 18334 h 488900"/>
                      <a:gd name="connsiteX16" fmla="*/ 471792 w 490124"/>
                      <a:gd name="connsiteY16" fmla="*/ 20778 h 488900"/>
                      <a:gd name="connsiteX17" fmla="*/ 470566 w 490124"/>
                      <a:gd name="connsiteY17" fmla="*/ 468123 h 488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490124" h="488900">
                        <a:moveTo>
                          <a:pt x="468121" y="0"/>
                        </a:moveTo>
                        <a:lnTo>
                          <a:pt x="20778" y="0"/>
                        </a:lnTo>
                        <a:cubicBezTo>
                          <a:pt x="9779" y="0"/>
                          <a:pt x="0" y="9778"/>
                          <a:pt x="0" y="20778"/>
                        </a:cubicBezTo>
                        <a:lnTo>
                          <a:pt x="0" y="469348"/>
                        </a:lnTo>
                        <a:cubicBezTo>
                          <a:pt x="0" y="479121"/>
                          <a:pt x="9779" y="488900"/>
                          <a:pt x="20778" y="488900"/>
                        </a:cubicBezTo>
                        <a:lnTo>
                          <a:pt x="469347" y="488900"/>
                        </a:lnTo>
                        <a:cubicBezTo>
                          <a:pt x="480346" y="488900"/>
                          <a:pt x="490125" y="479121"/>
                          <a:pt x="490125" y="468123"/>
                        </a:cubicBezTo>
                        <a:lnTo>
                          <a:pt x="490125" y="20778"/>
                        </a:lnTo>
                        <a:cubicBezTo>
                          <a:pt x="488899" y="9778"/>
                          <a:pt x="479120" y="0"/>
                          <a:pt x="468121" y="0"/>
                        </a:cubicBezTo>
                        <a:close/>
                        <a:moveTo>
                          <a:pt x="470566" y="468123"/>
                        </a:moveTo>
                        <a:cubicBezTo>
                          <a:pt x="470566" y="469348"/>
                          <a:pt x="469347" y="470567"/>
                          <a:pt x="468121" y="470567"/>
                        </a:cubicBezTo>
                        <a:lnTo>
                          <a:pt x="20778" y="470567"/>
                        </a:lnTo>
                        <a:cubicBezTo>
                          <a:pt x="19552" y="470567"/>
                          <a:pt x="18333" y="469348"/>
                          <a:pt x="18333" y="468123"/>
                        </a:cubicBezTo>
                        <a:lnTo>
                          <a:pt x="18333" y="20778"/>
                        </a:lnTo>
                        <a:cubicBezTo>
                          <a:pt x="18333" y="19556"/>
                          <a:pt x="19552" y="18334"/>
                          <a:pt x="20778" y="18334"/>
                        </a:cubicBezTo>
                        <a:lnTo>
                          <a:pt x="469347" y="18334"/>
                        </a:lnTo>
                        <a:cubicBezTo>
                          <a:pt x="470566" y="18334"/>
                          <a:pt x="471792" y="19556"/>
                          <a:pt x="471792" y="20778"/>
                        </a:cubicBezTo>
                        <a:lnTo>
                          <a:pt x="470566" y="468123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51" name="Freeform: Shape 150">
                    <a:extLst>
                      <a:ext uri="{FF2B5EF4-FFF2-40B4-BE49-F238E27FC236}">
                        <a16:creationId xmlns:a16="http://schemas.microsoft.com/office/drawing/2014/main" id="{1B7C06A2-ABC7-0301-9DCA-51E4B0927F76}"/>
                      </a:ext>
                    </a:extLst>
                  </p:cNvPr>
                  <p:cNvSpPr/>
                  <p:nvPr/>
                </p:nvSpPr>
                <p:spPr>
                  <a:xfrm>
                    <a:off x="1145111" y="3341608"/>
                    <a:ext cx="380120" cy="108778"/>
                  </a:xfrm>
                  <a:custGeom>
                    <a:avLst/>
                    <a:gdLst>
                      <a:gd name="connsiteX0" fmla="*/ 0 w 380120"/>
                      <a:gd name="connsiteY0" fmla="*/ 108778 h 108778"/>
                      <a:gd name="connsiteX1" fmla="*/ 380121 w 380120"/>
                      <a:gd name="connsiteY1" fmla="*/ 108778 h 108778"/>
                      <a:gd name="connsiteX2" fmla="*/ 380121 w 380120"/>
                      <a:gd name="connsiteY2" fmla="*/ 0 h 108778"/>
                      <a:gd name="connsiteX3" fmla="*/ 0 w 380120"/>
                      <a:gd name="connsiteY3" fmla="*/ 0 h 108778"/>
                      <a:gd name="connsiteX4" fmla="*/ 0 w 380120"/>
                      <a:gd name="connsiteY4" fmla="*/ 108778 h 108778"/>
                      <a:gd name="connsiteX5" fmla="*/ 18333 w 380120"/>
                      <a:gd name="connsiteY5" fmla="*/ 18333 h 108778"/>
                      <a:gd name="connsiteX6" fmla="*/ 361788 w 380120"/>
                      <a:gd name="connsiteY6" fmla="*/ 18333 h 108778"/>
                      <a:gd name="connsiteX7" fmla="*/ 361788 w 380120"/>
                      <a:gd name="connsiteY7" fmla="*/ 90445 h 108778"/>
                      <a:gd name="connsiteX8" fmla="*/ 18333 w 380120"/>
                      <a:gd name="connsiteY8" fmla="*/ 90445 h 108778"/>
                      <a:gd name="connsiteX9" fmla="*/ 18333 w 380120"/>
                      <a:gd name="connsiteY9" fmla="*/ 18333 h 1087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380120" h="108778">
                        <a:moveTo>
                          <a:pt x="0" y="108778"/>
                        </a:moveTo>
                        <a:lnTo>
                          <a:pt x="380121" y="108778"/>
                        </a:lnTo>
                        <a:lnTo>
                          <a:pt x="380121" y="0"/>
                        </a:lnTo>
                        <a:lnTo>
                          <a:pt x="0" y="0"/>
                        </a:lnTo>
                        <a:lnTo>
                          <a:pt x="0" y="108778"/>
                        </a:lnTo>
                        <a:close/>
                        <a:moveTo>
                          <a:pt x="18333" y="18333"/>
                        </a:moveTo>
                        <a:lnTo>
                          <a:pt x="361788" y="18333"/>
                        </a:lnTo>
                        <a:lnTo>
                          <a:pt x="361788" y="90445"/>
                        </a:lnTo>
                        <a:lnTo>
                          <a:pt x="18333" y="90445"/>
                        </a:lnTo>
                        <a:lnTo>
                          <a:pt x="18333" y="18333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52" name="Freeform: Shape 151">
                    <a:extLst>
                      <a:ext uri="{FF2B5EF4-FFF2-40B4-BE49-F238E27FC236}">
                        <a16:creationId xmlns:a16="http://schemas.microsoft.com/office/drawing/2014/main" id="{EE826ECF-F22F-188E-D849-ABFA8425B1FF}"/>
                      </a:ext>
                    </a:extLst>
                  </p:cNvPr>
                  <p:cNvSpPr/>
                  <p:nvPr/>
                </p:nvSpPr>
                <p:spPr>
                  <a:xfrm>
                    <a:off x="1453119" y="3381944"/>
                    <a:ext cx="26886" cy="26886"/>
                  </a:xfrm>
                  <a:custGeom>
                    <a:avLst/>
                    <a:gdLst>
                      <a:gd name="connsiteX0" fmla="*/ 13443 w 26886"/>
                      <a:gd name="connsiteY0" fmla="*/ 26887 h 26886"/>
                      <a:gd name="connsiteX1" fmla="*/ 26887 w 26886"/>
                      <a:gd name="connsiteY1" fmla="*/ 13443 h 26886"/>
                      <a:gd name="connsiteX2" fmla="*/ 13443 w 26886"/>
                      <a:gd name="connsiteY2" fmla="*/ 0 h 26886"/>
                      <a:gd name="connsiteX3" fmla="*/ 0 w 26886"/>
                      <a:gd name="connsiteY3" fmla="*/ 13443 h 26886"/>
                      <a:gd name="connsiteX4" fmla="*/ 13443 w 26886"/>
                      <a:gd name="connsiteY4" fmla="*/ 26887 h 268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6886" h="26886">
                        <a:moveTo>
                          <a:pt x="13443" y="26887"/>
                        </a:moveTo>
                        <a:cubicBezTo>
                          <a:pt x="20868" y="26887"/>
                          <a:pt x="26887" y="20868"/>
                          <a:pt x="26887" y="13443"/>
                        </a:cubicBezTo>
                        <a:cubicBezTo>
                          <a:pt x="26887" y="6019"/>
                          <a:pt x="20868" y="0"/>
                          <a:pt x="13443" y="0"/>
                        </a:cubicBezTo>
                        <a:cubicBezTo>
                          <a:pt x="6019" y="0"/>
                          <a:pt x="0" y="6019"/>
                          <a:pt x="0" y="13443"/>
                        </a:cubicBezTo>
                        <a:cubicBezTo>
                          <a:pt x="0" y="20868"/>
                          <a:pt x="6019" y="26887"/>
                          <a:pt x="13443" y="26887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53" name="Freeform: Shape 152">
                    <a:extLst>
                      <a:ext uri="{FF2B5EF4-FFF2-40B4-BE49-F238E27FC236}">
                        <a16:creationId xmlns:a16="http://schemas.microsoft.com/office/drawing/2014/main" id="{EF0F81DE-9EEB-3661-19E8-262285D69DC4}"/>
                      </a:ext>
                    </a:extLst>
                  </p:cNvPr>
                  <p:cNvSpPr/>
                  <p:nvPr/>
                </p:nvSpPr>
                <p:spPr>
                  <a:xfrm>
                    <a:off x="1145111" y="3071489"/>
                    <a:ext cx="380120" cy="108780"/>
                  </a:xfrm>
                  <a:custGeom>
                    <a:avLst/>
                    <a:gdLst>
                      <a:gd name="connsiteX0" fmla="*/ 0 w 380120"/>
                      <a:gd name="connsiteY0" fmla="*/ 108781 h 108780"/>
                      <a:gd name="connsiteX1" fmla="*/ 380121 w 380120"/>
                      <a:gd name="connsiteY1" fmla="*/ 108781 h 108780"/>
                      <a:gd name="connsiteX2" fmla="*/ 380121 w 380120"/>
                      <a:gd name="connsiteY2" fmla="*/ 0 h 108780"/>
                      <a:gd name="connsiteX3" fmla="*/ 0 w 380120"/>
                      <a:gd name="connsiteY3" fmla="*/ 0 h 108780"/>
                      <a:gd name="connsiteX4" fmla="*/ 0 w 380120"/>
                      <a:gd name="connsiteY4" fmla="*/ 108781 h 108780"/>
                      <a:gd name="connsiteX5" fmla="*/ 18333 w 380120"/>
                      <a:gd name="connsiteY5" fmla="*/ 18334 h 108780"/>
                      <a:gd name="connsiteX6" fmla="*/ 361788 w 380120"/>
                      <a:gd name="connsiteY6" fmla="*/ 18334 h 108780"/>
                      <a:gd name="connsiteX7" fmla="*/ 361788 w 380120"/>
                      <a:gd name="connsiteY7" fmla="*/ 90447 h 108780"/>
                      <a:gd name="connsiteX8" fmla="*/ 18333 w 380120"/>
                      <a:gd name="connsiteY8" fmla="*/ 90447 h 108780"/>
                      <a:gd name="connsiteX9" fmla="*/ 18333 w 380120"/>
                      <a:gd name="connsiteY9" fmla="*/ 18334 h 1087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380120" h="108780">
                        <a:moveTo>
                          <a:pt x="0" y="108781"/>
                        </a:moveTo>
                        <a:lnTo>
                          <a:pt x="380121" y="108781"/>
                        </a:lnTo>
                        <a:lnTo>
                          <a:pt x="380121" y="0"/>
                        </a:lnTo>
                        <a:lnTo>
                          <a:pt x="0" y="0"/>
                        </a:lnTo>
                        <a:lnTo>
                          <a:pt x="0" y="108781"/>
                        </a:lnTo>
                        <a:close/>
                        <a:moveTo>
                          <a:pt x="18333" y="18334"/>
                        </a:moveTo>
                        <a:lnTo>
                          <a:pt x="361788" y="18334"/>
                        </a:lnTo>
                        <a:lnTo>
                          <a:pt x="361788" y="90447"/>
                        </a:lnTo>
                        <a:lnTo>
                          <a:pt x="18333" y="90447"/>
                        </a:lnTo>
                        <a:lnTo>
                          <a:pt x="18333" y="18334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54" name="Freeform: Shape 153">
                    <a:extLst>
                      <a:ext uri="{FF2B5EF4-FFF2-40B4-BE49-F238E27FC236}">
                        <a16:creationId xmlns:a16="http://schemas.microsoft.com/office/drawing/2014/main" id="{7BEFC707-E56C-BEDB-DD98-F9638BF99C20}"/>
                      </a:ext>
                    </a:extLst>
                  </p:cNvPr>
                  <p:cNvSpPr/>
                  <p:nvPr/>
                </p:nvSpPr>
                <p:spPr>
                  <a:xfrm>
                    <a:off x="1453119" y="3113048"/>
                    <a:ext cx="26886" cy="26889"/>
                  </a:xfrm>
                  <a:custGeom>
                    <a:avLst/>
                    <a:gdLst>
                      <a:gd name="connsiteX0" fmla="*/ 13443 w 26886"/>
                      <a:gd name="connsiteY0" fmla="*/ 26890 h 26889"/>
                      <a:gd name="connsiteX1" fmla="*/ 26887 w 26886"/>
                      <a:gd name="connsiteY1" fmla="*/ 13445 h 26889"/>
                      <a:gd name="connsiteX2" fmla="*/ 13443 w 26886"/>
                      <a:gd name="connsiteY2" fmla="*/ 0 h 26889"/>
                      <a:gd name="connsiteX3" fmla="*/ 0 w 26886"/>
                      <a:gd name="connsiteY3" fmla="*/ 13445 h 26889"/>
                      <a:gd name="connsiteX4" fmla="*/ 13443 w 26886"/>
                      <a:gd name="connsiteY4" fmla="*/ 26890 h 268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6886" h="26889">
                        <a:moveTo>
                          <a:pt x="13443" y="26890"/>
                        </a:moveTo>
                        <a:cubicBezTo>
                          <a:pt x="20868" y="26890"/>
                          <a:pt x="26887" y="20870"/>
                          <a:pt x="26887" y="13445"/>
                        </a:cubicBezTo>
                        <a:cubicBezTo>
                          <a:pt x="26887" y="6020"/>
                          <a:pt x="20868" y="0"/>
                          <a:pt x="13443" y="0"/>
                        </a:cubicBezTo>
                        <a:cubicBezTo>
                          <a:pt x="6019" y="0"/>
                          <a:pt x="0" y="6020"/>
                          <a:pt x="0" y="13445"/>
                        </a:cubicBezTo>
                        <a:cubicBezTo>
                          <a:pt x="0" y="20870"/>
                          <a:pt x="6019" y="26890"/>
                          <a:pt x="13443" y="26890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55" name="Freeform: Shape 154">
                    <a:extLst>
                      <a:ext uri="{FF2B5EF4-FFF2-40B4-BE49-F238E27FC236}">
                        <a16:creationId xmlns:a16="http://schemas.microsoft.com/office/drawing/2014/main" id="{5634F040-19A0-686C-188F-0431F1B66FFA}"/>
                      </a:ext>
                    </a:extLst>
                  </p:cNvPr>
                  <p:cNvSpPr/>
                  <p:nvPr/>
                </p:nvSpPr>
                <p:spPr>
                  <a:xfrm>
                    <a:off x="1145111" y="3207161"/>
                    <a:ext cx="380120" cy="108780"/>
                  </a:xfrm>
                  <a:custGeom>
                    <a:avLst/>
                    <a:gdLst>
                      <a:gd name="connsiteX0" fmla="*/ 0 w 380120"/>
                      <a:gd name="connsiteY0" fmla="*/ 108781 h 108780"/>
                      <a:gd name="connsiteX1" fmla="*/ 380121 w 380120"/>
                      <a:gd name="connsiteY1" fmla="*/ 108781 h 108780"/>
                      <a:gd name="connsiteX2" fmla="*/ 380121 w 380120"/>
                      <a:gd name="connsiteY2" fmla="*/ 0 h 108780"/>
                      <a:gd name="connsiteX3" fmla="*/ 0 w 380120"/>
                      <a:gd name="connsiteY3" fmla="*/ 0 h 108780"/>
                      <a:gd name="connsiteX4" fmla="*/ 0 w 380120"/>
                      <a:gd name="connsiteY4" fmla="*/ 108781 h 108780"/>
                      <a:gd name="connsiteX5" fmla="*/ 18333 w 380120"/>
                      <a:gd name="connsiteY5" fmla="*/ 18334 h 108780"/>
                      <a:gd name="connsiteX6" fmla="*/ 361788 w 380120"/>
                      <a:gd name="connsiteY6" fmla="*/ 18334 h 108780"/>
                      <a:gd name="connsiteX7" fmla="*/ 361788 w 380120"/>
                      <a:gd name="connsiteY7" fmla="*/ 91669 h 108780"/>
                      <a:gd name="connsiteX8" fmla="*/ 18333 w 380120"/>
                      <a:gd name="connsiteY8" fmla="*/ 91669 h 108780"/>
                      <a:gd name="connsiteX9" fmla="*/ 18333 w 380120"/>
                      <a:gd name="connsiteY9" fmla="*/ 18334 h 1087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380120" h="108780">
                        <a:moveTo>
                          <a:pt x="0" y="108781"/>
                        </a:moveTo>
                        <a:lnTo>
                          <a:pt x="380121" y="108781"/>
                        </a:lnTo>
                        <a:lnTo>
                          <a:pt x="380121" y="0"/>
                        </a:lnTo>
                        <a:lnTo>
                          <a:pt x="0" y="0"/>
                        </a:lnTo>
                        <a:lnTo>
                          <a:pt x="0" y="108781"/>
                        </a:lnTo>
                        <a:close/>
                        <a:moveTo>
                          <a:pt x="18333" y="18334"/>
                        </a:moveTo>
                        <a:lnTo>
                          <a:pt x="361788" y="18334"/>
                        </a:lnTo>
                        <a:lnTo>
                          <a:pt x="361788" y="91669"/>
                        </a:lnTo>
                        <a:lnTo>
                          <a:pt x="18333" y="91669"/>
                        </a:lnTo>
                        <a:lnTo>
                          <a:pt x="18333" y="18334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56" name="Freeform: Shape 155">
                    <a:extLst>
                      <a:ext uri="{FF2B5EF4-FFF2-40B4-BE49-F238E27FC236}">
                        <a16:creationId xmlns:a16="http://schemas.microsoft.com/office/drawing/2014/main" id="{438C0BD7-FEC1-10C3-845F-715B17E6D5C5}"/>
                      </a:ext>
                    </a:extLst>
                  </p:cNvPr>
                  <p:cNvSpPr/>
                  <p:nvPr/>
                </p:nvSpPr>
                <p:spPr>
                  <a:xfrm>
                    <a:off x="1453119" y="3248717"/>
                    <a:ext cx="26886" cy="26889"/>
                  </a:xfrm>
                  <a:custGeom>
                    <a:avLst/>
                    <a:gdLst>
                      <a:gd name="connsiteX0" fmla="*/ 13443 w 26886"/>
                      <a:gd name="connsiteY0" fmla="*/ 26890 h 26889"/>
                      <a:gd name="connsiteX1" fmla="*/ 26887 w 26886"/>
                      <a:gd name="connsiteY1" fmla="*/ 13445 h 26889"/>
                      <a:gd name="connsiteX2" fmla="*/ 13443 w 26886"/>
                      <a:gd name="connsiteY2" fmla="*/ 0 h 26889"/>
                      <a:gd name="connsiteX3" fmla="*/ 0 w 26886"/>
                      <a:gd name="connsiteY3" fmla="*/ 13445 h 26889"/>
                      <a:gd name="connsiteX4" fmla="*/ 13443 w 26886"/>
                      <a:gd name="connsiteY4" fmla="*/ 26890 h 268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6886" h="26889">
                        <a:moveTo>
                          <a:pt x="13443" y="26890"/>
                        </a:moveTo>
                        <a:cubicBezTo>
                          <a:pt x="20868" y="26890"/>
                          <a:pt x="26887" y="20870"/>
                          <a:pt x="26887" y="13445"/>
                        </a:cubicBezTo>
                        <a:cubicBezTo>
                          <a:pt x="26887" y="6020"/>
                          <a:pt x="20868" y="0"/>
                          <a:pt x="13443" y="0"/>
                        </a:cubicBezTo>
                        <a:cubicBezTo>
                          <a:pt x="6019" y="0"/>
                          <a:pt x="0" y="6020"/>
                          <a:pt x="0" y="13445"/>
                        </a:cubicBezTo>
                        <a:cubicBezTo>
                          <a:pt x="0" y="20870"/>
                          <a:pt x="6019" y="26890"/>
                          <a:pt x="13443" y="26890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</p:grpSp>
          <p:grpSp>
            <p:nvGrpSpPr>
              <p:cNvPr id="145" name="Graphic 2">
                <a:extLst>
                  <a:ext uri="{FF2B5EF4-FFF2-40B4-BE49-F238E27FC236}">
                    <a16:creationId xmlns:a16="http://schemas.microsoft.com/office/drawing/2014/main" id="{19C26FDD-4D3D-15F2-10A3-2374CC444962}"/>
                  </a:ext>
                </a:extLst>
              </p:cNvPr>
              <p:cNvGrpSpPr/>
              <p:nvPr/>
            </p:nvGrpSpPr>
            <p:grpSpPr>
              <a:xfrm>
                <a:off x="933453" y="3510232"/>
                <a:ext cx="815095" cy="461665"/>
                <a:chOff x="933453" y="3510232"/>
                <a:chExt cx="815095" cy="461665"/>
              </a:xfrm>
              <a:solidFill>
                <a:srgbClr val="000000"/>
              </a:solidFill>
            </p:grpSpPr>
            <p:sp>
              <p:nvSpPr>
                <p:cNvPr id="146" name="TextBox 145">
                  <a:extLst>
                    <a:ext uri="{FF2B5EF4-FFF2-40B4-BE49-F238E27FC236}">
                      <a16:creationId xmlns:a16="http://schemas.microsoft.com/office/drawing/2014/main" id="{4A8F71F9-7923-CD8F-C691-627ED6FA8C57}"/>
                    </a:ext>
                  </a:extLst>
                </p:cNvPr>
                <p:cNvSpPr txBox="1"/>
                <p:nvPr/>
              </p:nvSpPr>
              <p:spPr>
                <a:xfrm>
                  <a:off x="933453" y="3510232"/>
                  <a:ext cx="815095" cy="46166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en-US" sz="1200" spc="0" baseline="0" dirty="0">
                      <a:solidFill>
                        <a:srgbClr val="000000"/>
                      </a:solidFill>
                      <a:latin typeface="Oracle Sans"/>
                      <a:cs typeface="Oracle Sans"/>
                      <a:sym typeface="Oracle Sans"/>
                      <a:rtl val="0"/>
                    </a:rPr>
                    <a:t>Dedicated</a:t>
                  </a:r>
                </a:p>
                <a:p>
                  <a:pPr algn="ctr"/>
                  <a:r>
                    <a:rPr lang="en-US" sz="1200" dirty="0">
                      <a:solidFill>
                        <a:srgbClr val="000000"/>
                      </a:solidFill>
                      <a:latin typeface="Oracle Sans"/>
                      <a:cs typeface="Oracle Sans"/>
                      <a:sym typeface="Oracle Sans"/>
                      <a:rtl val="0"/>
                    </a:rPr>
                    <a:t>Host</a:t>
                  </a:r>
                  <a:endPara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endParaRPr>
                </a:p>
              </p:txBody>
            </p:sp>
            <p:sp>
              <p:nvSpPr>
                <p:cNvPr id="147" name="TextBox 146">
                  <a:extLst>
                    <a:ext uri="{FF2B5EF4-FFF2-40B4-BE49-F238E27FC236}">
                      <a16:creationId xmlns:a16="http://schemas.microsoft.com/office/drawing/2014/main" id="{C3DB0AC8-44C0-5247-DD34-D8CCDA0861F3}"/>
                    </a:ext>
                  </a:extLst>
                </p:cNvPr>
                <p:cNvSpPr txBox="1"/>
                <p:nvPr/>
              </p:nvSpPr>
              <p:spPr>
                <a:xfrm>
                  <a:off x="1031032" y="3581020"/>
                  <a:ext cx="184731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l"/>
                  <a:endPara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endParaRPr>
                </a:p>
              </p:txBody>
            </p:sp>
          </p:grpSp>
        </p:grpSp>
        <p:grpSp>
          <p:nvGrpSpPr>
            <p:cNvPr id="159" name="Graphic 3">
              <a:extLst>
                <a:ext uri="{FF2B5EF4-FFF2-40B4-BE49-F238E27FC236}">
                  <a16:creationId xmlns:a16="http://schemas.microsoft.com/office/drawing/2014/main" id="{38F1691A-6087-6BDE-CB13-36AB52A293D1}"/>
                </a:ext>
              </a:extLst>
            </p:cNvPr>
            <p:cNvGrpSpPr/>
            <p:nvPr/>
          </p:nvGrpSpPr>
          <p:grpSpPr>
            <a:xfrm>
              <a:off x="7270253" y="3341558"/>
              <a:ext cx="649409" cy="749862"/>
              <a:chOff x="7141624" y="3005488"/>
              <a:chExt cx="649409" cy="749862"/>
            </a:xfrm>
          </p:grpSpPr>
          <p:grpSp>
            <p:nvGrpSpPr>
              <p:cNvPr id="160" name="Graphic 3">
                <a:extLst>
                  <a:ext uri="{FF2B5EF4-FFF2-40B4-BE49-F238E27FC236}">
                    <a16:creationId xmlns:a16="http://schemas.microsoft.com/office/drawing/2014/main" id="{491EF21D-B904-991B-DB8F-E16464FE353A}"/>
                  </a:ext>
                </a:extLst>
              </p:cNvPr>
              <p:cNvGrpSpPr/>
              <p:nvPr/>
            </p:nvGrpSpPr>
            <p:grpSpPr>
              <a:xfrm>
                <a:off x="7244293" y="3005488"/>
                <a:ext cx="329377" cy="513347"/>
                <a:chOff x="7244293" y="3005488"/>
                <a:chExt cx="329377" cy="513347"/>
              </a:xfrm>
            </p:grpSpPr>
            <p:grpSp>
              <p:nvGrpSpPr>
                <p:cNvPr id="162" name="Graphic 3">
                  <a:extLst>
                    <a:ext uri="{FF2B5EF4-FFF2-40B4-BE49-F238E27FC236}">
                      <a16:creationId xmlns:a16="http://schemas.microsoft.com/office/drawing/2014/main" id="{D6A6D010-7AA4-125C-7FD9-8E5C639FB6BF}"/>
                    </a:ext>
                  </a:extLst>
                </p:cNvPr>
                <p:cNvGrpSpPr/>
                <p:nvPr/>
              </p:nvGrpSpPr>
              <p:grpSpPr>
                <a:xfrm>
                  <a:off x="7244293" y="3005488"/>
                  <a:ext cx="329377" cy="513347"/>
                  <a:chOff x="7244293" y="3005488"/>
                  <a:chExt cx="329377" cy="513347"/>
                </a:xfrm>
              </p:grpSpPr>
              <p:grpSp>
                <p:nvGrpSpPr>
                  <p:cNvPr id="169" name="Graphic 3">
                    <a:extLst>
                      <a:ext uri="{FF2B5EF4-FFF2-40B4-BE49-F238E27FC236}">
                        <a16:creationId xmlns:a16="http://schemas.microsoft.com/office/drawing/2014/main" id="{979E42AD-6F1A-2304-A5F7-32AC921A46DA}"/>
                      </a:ext>
                    </a:extLst>
                  </p:cNvPr>
                  <p:cNvGrpSpPr/>
                  <p:nvPr/>
                </p:nvGrpSpPr>
                <p:grpSpPr>
                  <a:xfrm>
                    <a:off x="7244293" y="3005488"/>
                    <a:ext cx="329377" cy="513347"/>
                    <a:chOff x="7244293" y="3005488"/>
                    <a:chExt cx="329377" cy="513347"/>
                  </a:xfrm>
                  <a:solidFill>
                    <a:srgbClr val="FFFFFF"/>
                  </a:solidFill>
                </p:grpSpPr>
                <p:sp>
                  <p:nvSpPr>
                    <p:cNvPr id="176" name="Freeform: Shape 175">
                      <a:extLst>
                        <a:ext uri="{FF2B5EF4-FFF2-40B4-BE49-F238E27FC236}">
                          <a16:creationId xmlns:a16="http://schemas.microsoft.com/office/drawing/2014/main" id="{49A7706A-FB3F-ECF5-6D19-90A7533259B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50390" y="3011603"/>
                      <a:ext cx="317155" cy="501123"/>
                    </a:xfrm>
                    <a:custGeom>
                      <a:avLst/>
                      <a:gdLst>
                        <a:gd name="connsiteX0" fmla="*/ 244930 w 317155"/>
                        <a:gd name="connsiteY0" fmla="*/ 501123 h 501123"/>
                        <a:gd name="connsiteX1" fmla="*/ 199564 w 317155"/>
                        <a:gd name="connsiteY1" fmla="*/ 485235 h 501123"/>
                        <a:gd name="connsiteX2" fmla="*/ 0 w 317155"/>
                        <a:gd name="connsiteY2" fmla="*/ 485235 h 501123"/>
                        <a:gd name="connsiteX3" fmla="*/ 0 w 317155"/>
                        <a:gd name="connsiteY3" fmla="*/ 403343 h 501123"/>
                        <a:gd name="connsiteX4" fmla="*/ 22009 w 317155"/>
                        <a:gd name="connsiteY4" fmla="*/ 403343 h 501123"/>
                        <a:gd name="connsiteX5" fmla="*/ 29389 w 317155"/>
                        <a:gd name="connsiteY5" fmla="*/ 238334 h 501123"/>
                        <a:gd name="connsiteX6" fmla="*/ 7315 w 317155"/>
                        <a:gd name="connsiteY6" fmla="*/ 211448 h 501123"/>
                        <a:gd name="connsiteX7" fmla="*/ 7315 w 317155"/>
                        <a:gd name="connsiteY7" fmla="*/ 107559 h 501123"/>
                        <a:gd name="connsiteX8" fmla="*/ 84509 w 317155"/>
                        <a:gd name="connsiteY8" fmla="*/ 107559 h 501123"/>
                        <a:gd name="connsiteX9" fmla="*/ 84509 w 317155"/>
                        <a:gd name="connsiteY9" fmla="*/ 144225 h 501123"/>
                        <a:gd name="connsiteX10" fmla="*/ 97985 w 317155"/>
                        <a:gd name="connsiteY10" fmla="*/ 144225 h 501123"/>
                        <a:gd name="connsiteX11" fmla="*/ 97985 w 317155"/>
                        <a:gd name="connsiteY11" fmla="*/ 107559 h 501123"/>
                        <a:gd name="connsiteX12" fmla="*/ 121214 w 317155"/>
                        <a:gd name="connsiteY12" fmla="*/ 107559 h 501123"/>
                        <a:gd name="connsiteX13" fmla="*/ 121214 w 317155"/>
                        <a:gd name="connsiteY13" fmla="*/ 0 h 501123"/>
                        <a:gd name="connsiteX14" fmla="*/ 195906 w 317155"/>
                        <a:gd name="connsiteY14" fmla="*/ 0 h 501123"/>
                        <a:gd name="connsiteX15" fmla="*/ 221637 w 317155"/>
                        <a:gd name="connsiteY15" fmla="*/ 20778 h 501123"/>
                        <a:gd name="connsiteX16" fmla="*/ 299987 w 317155"/>
                        <a:gd name="connsiteY16" fmla="*/ 20778 h 501123"/>
                        <a:gd name="connsiteX17" fmla="*/ 275539 w 317155"/>
                        <a:gd name="connsiteY17" fmla="*/ 62333 h 501123"/>
                        <a:gd name="connsiteX18" fmla="*/ 299987 w 317155"/>
                        <a:gd name="connsiteY18" fmla="*/ 102669 h 501123"/>
                        <a:gd name="connsiteX19" fmla="*/ 217980 w 317155"/>
                        <a:gd name="connsiteY19" fmla="*/ 102669 h 501123"/>
                        <a:gd name="connsiteX20" fmla="*/ 192248 w 317155"/>
                        <a:gd name="connsiteY20" fmla="*/ 83111 h 501123"/>
                        <a:gd name="connsiteX21" fmla="*/ 191030 w 317155"/>
                        <a:gd name="connsiteY21" fmla="*/ 83111 h 501123"/>
                        <a:gd name="connsiteX22" fmla="*/ 191030 w 317155"/>
                        <a:gd name="connsiteY22" fmla="*/ 81892 h 501123"/>
                        <a:gd name="connsiteX23" fmla="*/ 151823 w 317155"/>
                        <a:gd name="connsiteY23" fmla="*/ 81892 h 501123"/>
                        <a:gd name="connsiteX24" fmla="*/ 151823 w 317155"/>
                        <a:gd name="connsiteY24" fmla="*/ 106333 h 501123"/>
                        <a:gd name="connsiteX25" fmla="*/ 175115 w 317155"/>
                        <a:gd name="connsiteY25" fmla="*/ 106333 h 501123"/>
                        <a:gd name="connsiteX26" fmla="*/ 175115 w 317155"/>
                        <a:gd name="connsiteY26" fmla="*/ 142999 h 501123"/>
                        <a:gd name="connsiteX27" fmla="*/ 188591 w 317155"/>
                        <a:gd name="connsiteY27" fmla="*/ 142999 h 501123"/>
                        <a:gd name="connsiteX28" fmla="*/ 188591 w 317155"/>
                        <a:gd name="connsiteY28" fmla="*/ 106333 h 501123"/>
                        <a:gd name="connsiteX29" fmla="*/ 265722 w 317155"/>
                        <a:gd name="connsiteY29" fmla="*/ 106333 h 501123"/>
                        <a:gd name="connsiteX30" fmla="*/ 265722 w 317155"/>
                        <a:gd name="connsiteY30" fmla="*/ 210229 h 501123"/>
                        <a:gd name="connsiteX31" fmla="*/ 243647 w 317155"/>
                        <a:gd name="connsiteY31" fmla="*/ 237115 h 501123"/>
                        <a:gd name="connsiteX32" fmla="*/ 248588 w 317155"/>
                        <a:gd name="connsiteY32" fmla="*/ 355673 h 501123"/>
                        <a:gd name="connsiteX33" fmla="*/ 317120 w 317155"/>
                        <a:gd name="connsiteY33" fmla="*/ 427785 h 501123"/>
                        <a:gd name="connsiteX34" fmla="*/ 244930 w 317155"/>
                        <a:gd name="connsiteY34" fmla="*/ 501123 h 50112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</a:cxnLst>
                      <a:rect l="l" t="t" r="r" b="b"/>
                      <a:pathLst>
                        <a:path w="317155" h="501123">
                          <a:moveTo>
                            <a:pt x="244930" y="501123"/>
                          </a:moveTo>
                          <a:cubicBezTo>
                            <a:pt x="227734" y="501123"/>
                            <a:pt x="211820" y="495008"/>
                            <a:pt x="199564" y="485235"/>
                          </a:cubicBezTo>
                          <a:lnTo>
                            <a:pt x="0" y="485235"/>
                          </a:lnTo>
                          <a:lnTo>
                            <a:pt x="0" y="403343"/>
                          </a:lnTo>
                          <a:lnTo>
                            <a:pt x="22009" y="403343"/>
                          </a:lnTo>
                          <a:lnTo>
                            <a:pt x="29389" y="238334"/>
                          </a:lnTo>
                          <a:cubicBezTo>
                            <a:pt x="17132" y="235896"/>
                            <a:pt x="7315" y="224891"/>
                            <a:pt x="7315" y="211448"/>
                          </a:cubicBezTo>
                          <a:lnTo>
                            <a:pt x="7315" y="107559"/>
                          </a:lnTo>
                          <a:lnTo>
                            <a:pt x="84509" y="107559"/>
                          </a:lnTo>
                          <a:lnTo>
                            <a:pt x="84509" y="144225"/>
                          </a:lnTo>
                          <a:lnTo>
                            <a:pt x="97985" y="144225"/>
                          </a:lnTo>
                          <a:lnTo>
                            <a:pt x="97985" y="107559"/>
                          </a:lnTo>
                          <a:lnTo>
                            <a:pt x="121214" y="107559"/>
                          </a:lnTo>
                          <a:lnTo>
                            <a:pt x="121214" y="0"/>
                          </a:lnTo>
                          <a:lnTo>
                            <a:pt x="195906" y="0"/>
                          </a:lnTo>
                          <a:cubicBezTo>
                            <a:pt x="208162" y="0"/>
                            <a:pt x="219200" y="8554"/>
                            <a:pt x="221637" y="20778"/>
                          </a:cubicBezTo>
                          <a:lnTo>
                            <a:pt x="299987" y="20778"/>
                          </a:lnTo>
                          <a:lnTo>
                            <a:pt x="275539" y="62333"/>
                          </a:lnTo>
                          <a:lnTo>
                            <a:pt x="299987" y="102669"/>
                          </a:lnTo>
                          <a:lnTo>
                            <a:pt x="217980" y="102669"/>
                          </a:lnTo>
                          <a:cubicBezTo>
                            <a:pt x="205724" y="102669"/>
                            <a:pt x="195906" y="94109"/>
                            <a:pt x="192248" y="83111"/>
                          </a:cubicBezTo>
                          <a:lnTo>
                            <a:pt x="191030" y="83111"/>
                          </a:lnTo>
                          <a:lnTo>
                            <a:pt x="191030" y="81892"/>
                          </a:lnTo>
                          <a:lnTo>
                            <a:pt x="151823" y="81892"/>
                          </a:lnTo>
                          <a:lnTo>
                            <a:pt x="151823" y="106333"/>
                          </a:lnTo>
                          <a:lnTo>
                            <a:pt x="175115" y="106333"/>
                          </a:lnTo>
                          <a:lnTo>
                            <a:pt x="175115" y="142999"/>
                          </a:lnTo>
                          <a:lnTo>
                            <a:pt x="188591" y="142999"/>
                          </a:lnTo>
                          <a:lnTo>
                            <a:pt x="188591" y="106333"/>
                          </a:lnTo>
                          <a:lnTo>
                            <a:pt x="265722" y="106333"/>
                          </a:lnTo>
                          <a:lnTo>
                            <a:pt x="265722" y="210229"/>
                          </a:lnTo>
                          <a:cubicBezTo>
                            <a:pt x="265722" y="223672"/>
                            <a:pt x="255904" y="234670"/>
                            <a:pt x="243647" y="237115"/>
                          </a:cubicBezTo>
                          <a:lnTo>
                            <a:pt x="248588" y="355673"/>
                          </a:lnTo>
                          <a:cubicBezTo>
                            <a:pt x="286512" y="358117"/>
                            <a:pt x="317120" y="389900"/>
                            <a:pt x="317120" y="427785"/>
                          </a:cubicBezTo>
                          <a:cubicBezTo>
                            <a:pt x="318404" y="468121"/>
                            <a:pt x="285293" y="501123"/>
                            <a:pt x="244930" y="50112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  <p:sp>
                  <p:nvSpPr>
                    <p:cNvPr id="177" name="Freeform: Shape 176">
                      <a:extLst>
                        <a:ext uri="{FF2B5EF4-FFF2-40B4-BE49-F238E27FC236}">
                          <a16:creationId xmlns:a16="http://schemas.microsoft.com/office/drawing/2014/main" id="{A5156FCB-6D6E-D2A3-D802-CC75C5129E2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44293" y="3005488"/>
                      <a:ext cx="329377" cy="513347"/>
                    </a:xfrm>
                    <a:custGeom>
                      <a:avLst/>
                      <a:gdLst>
                        <a:gd name="connsiteX0" fmla="*/ 202003 w 329377"/>
                        <a:gd name="connsiteY0" fmla="*/ 12224 h 513347"/>
                        <a:gd name="connsiteX1" fmla="*/ 222858 w 329377"/>
                        <a:gd name="connsiteY1" fmla="*/ 33002 h 513347"/>
                        <a:gd name="connsiteX2" fmla="*/ 295111 w 329377"/>
                        <a:gd name="connsiteY2" fmla="*/ 33002 h 513347"/>
                        <a:gd name="connsiteX3" fmla="*/ 274256 w 329377"/>
                        <a:gd name="connsiteY3" fmla="*/ 68448 h 513347"/>
                        <a:gd name="connsiteX4" fmla="*/ 295111 w 329377"/>
                        <a:gd name="connsiteY4" fmla="*/ 102669 h 513347"/>
                        <a:gd name="connsiteX5" fmla="*/ 224076 w 329377"/>
                        <a:gd name="connsiteY5" fmla="*/ 102669 h 513347"/>
                        <a:gd name="connsiteX6" fmla="*/ 203222 w 329377"/>
                        <a:gd name="connsiteY6" fmla="*/ 83111 h 513347"/>
                        <a:gd name="connsiteX7" fmla="*/ 202003 w 329377"/>
                        <a:gd name="connsiteY7" fmla="*/ 81892 h 513347"/>
                        <a:gd name="connsiteX8" fmla="*/ 151823 w 329377"/>
                        <a:gd name="connsiteY8" fmla="*/ 81892 h 513347"/>
                        <a:gd name="connsiteX9" fmla="*/ 151823 w 329377"/>
                        <a:gd name="connsiteY9" fmla="*/ 118558 h 513347"/>
                        <a:gd name="connsiteX10" fmla="*/ 175052 w 329377"/>
                        <a:gd name="connsiteY10" fmla="*/ 118558 h 513347"/>
                        <a:gd name="connsiteX11" fmla="*/ 175052 w 329377"/>
                        <a:gd name="connsiteY11" fmla="*/ 155223 h 513347"/>
                        <a:gd name="connsiteX12" fmla="*/ 200783 w 329377"/>
                        <a:gd name="connsiteY12" fmla="*/ 155223 h 513347"/>
                        <a:gd name="connsiteX13" fmla="*/ 200783 w 329377"/>
                        <a:gd name="connsiteY13" fmla="*/ 118558 h 513347"/>
                        <a:gd name="connsiteX14" fmla="*/ 265722 w 329377"/>
                        <a:gd name="connsiteY14" fmla="*/ 118558 h 513347"/>
                        <a:gd name="connsiteX15" fmla="*/ 265722 w 329377"/>
                        <a:gd name="connsiteY15" fmla="*/ 216337 h 513347"/>
                        <a:gd name="connsiteX16" fmla="*/ 244867 w 329377"/>
                        <a:gd name="connsiteY16" fmla="*/ 237115 h 513347"/>
                        <a:gd name="connsiteX17" fmla="*/ 242428 w 329377"/>
                        <a:gd name="connsiteY17" fmla="*/ 237115 h 513347"/>
                        <a:gd name="connsiteX18" fmla="*/ 247305 w 329377"/>
                        <a:gd name="connsiteY18" fmla="*/ 367897 h 513347"/>
                        <a:gd name="connsiteX19" fmla="*/ 249744 w 329377"/>
                        <a:gd name="connsiteY19" fmla="*/ 367897 h 513347"/>
                        <a:gd name="connsiteX20" fmla="*/ 315902 w 329377"/>
                        <a:gd name="connsiteY20" fmla="*/ 433900 h 513347"/>
                        <a:gd name="connsiteX21" fmla="*/ 251027 w 329377"/>
                        <a:gd name="connsiteY21" fmla="*/ 501123 h 513347"/>
                        <a:gd name="connsiteX22" fmla="*/ 206943 w 329377"/>
                        <a:gd name="connsiteY22" fmla="*/ 485235 h 513347"/>
                        <a:gd name="connsiteX23" fmla="*/ 12192 w 329377"/>
                        <a:gd name="connsiteY23" fmla="*/ 485235 h 513347"/>
                        <a:gd name="connsiteX24" fmla="*/ 12192 w 329377"/>
                        <a:gd name="connsiteY24" fmla="*/ 415567 h 513347"/>
                        <a:gd name="connsiteX25" fmla="*/ 34267 w 329377"/>
                        <a:gd name="connsiteY25" fmla="*/ 415567 h 513347"/>
                        <a:gd name="connsiteX26" fmla="*/ 42801 w 329377"/>
                        <a:gd name="connsiteY26" fmla="*/ 238341 h 513347"/>
                        <a:gd name="connsiteX27" fmla="*/ 40362 w 329377"/>
                        <a:gd name="connsiteY27" fmla="*/ 238341 h 513347"/>
                        <a:gd name="connsiteX28" fmla="*/ 19572 w 329377"/>
                        <a:gd name="connsiteY28" fmla="*/ 217563 h 513347"/>
                        <a:gd name="connsiteX29" fmla="*/ 19572 w 329377"/>
                        <a:gd name="connsiteY29" fmla="*/ 119783 h 513347"/>
                        <a:gd name="connsiteX30" fmla="*/ 84446 w 329377"/>
                        <a:gd name="connsiteY30" fmla="*/ 119783 h 513347"/>
                        <a:gd name="connsiteX31" fmla="*/ 84446 w 329377"/>
                        <a:gd name="connsiteY31" fmla="*/ 156449 h 513347"/>
                        <a:gd name="connsiteX32" fmla="*/ 110177 w 329377"/>
                        <a:gd name="connsiteY32" fmla="*/ 156449 h 513347"/>
                        <a:gd name="connsiteX33" fmla="*/ 110177 w 329377"/>
                        <a:gd name="connsiteY33" fmla="*/ 119783 h 513347"/>
                        <a:gd name="connsiteX34" fmla="*/ 133471 w 329377"/>
                        <a:gd name="connsiteY34" fmla="*/ 119783 h 513347"/>
                        <a:gd name="connsiteX35" fmla="*/ 133471 w 329377"/>
                        <a:gd name="connsiteY35" fmla="*/ 12224 h 513347"/>
                        <a:gd name="connsiteX36" fmla="*/ 145663 w 329377"/>
                        <a:gd name="connsiteY36" fmla="*/ 12224 h 513347"/>
                        <a:gd name="connsiteX37" fmla="*/ 153042 w 329377"/>
                        <a:gd name="connsiteY37" fmla="*/ 12224 h 513347"/>
                        <a:gd name="connsiteX38" fmla="*/ 202003 w 329377"/>
                        <a:gd name="connsiteY38" fmla="*/ 12224 h 513347"/>
                        <a:gd name="connsiteX39" fmla="*/ 202003 w 329377"/>
                        <a:gd name="connsiteY39" fmla="*/ 0 h 513347"/>
                        <a:gd name="connsiteX40" fmla="*/ 153042 w 329377"/>
                        <a:gd name="connsiteY40" fmla="*/ 0 h 513347"/>
                        <a:gd name="connsiteX41" fmla="*/ 145663 w 329377"/>
                        <a:gd name="connsiteY41" fmla="*/ 0 h 513347"/>
                        <a:gd name="connsiteX42" fmla="*/ 133471 w 329377"/>
                        <a:gd name="connsiteY42" fmla="*/ 0 h 513347"/>
                        <a:gd name="connsiteX43" fmla="*/ 121214 w 329377"/>
                        <a:gd name="connsiteY43" fmla="*/ 0 h 513347"/>
                        <a:gd name="connsiteX44" fmla="*/ 121214 w 329377"/>
                        <a:gd name="connsiteY44" fmla="*/ 12224 h 513347"/>
                        <a:gd name="connsiteX45" fmla="*/ 121214 w 329377"/>
                        <a:gd name="connsiteY45" fmla="*/ 107559 h 513347"/>
                        <a:gd name="connsiteX46" fmla="*/ 110177 w 329377"/>
                        <a:gd name="connsiteY46" fmla="*/ 107559 h 513347"/>
                        <a:gd name="connsiteX47" fmla="*/ 97921 w 329377"/>
                        <a:gd name="connsiteY47" fmla="*/ 107559 h 513347"/>
                        <a:gd name="connsiteX48" fmla="*/ 97921 w 329377"/>
                        <a:gd name="connsiteY48" fmla="*/ 119783 h 513347"/>
                        <a:gd name="connsiteX49" fmla="*/ 97921 w 329377"/>
                        <a:gd name="connsiteY49" fmla="*/ 144225 h 513347"/>
                        <a:gd name="connsiteX50" fmla="*/ 96702 w 329377"/>
                        <a:gd name="connsiteY50" fmla="*/ 144225 h 513347"/>
                        <a:gd name="connsiteX51" fmla="*/ 96702 w 329377"/>
                        <a:gd name="connsiteY51" fmla="*/ 119783 h 513347"/>
                        <a:gd name="connsiteX52" fmla="*/ 96702 w 329377"/>
                        <a:gd name="connsiteY52" fmla="*/ 107559 h 513347"/>
                        <a:gd name="connsiteX53" fmla="*/ 84446 w 329377"/>
                        <a:gd name="connsiteY53" fmla="*/ 107559 h 513347"/>
                        <a:gd name="connsiteX54" fmla="*/ 19572 w 329377"/>
                        <a:gd name="connsiteY54" fmla="*/ 107559 h 513347"/>
                        <a:gd name="connsiteX55" fmla="*/ 7315 w 329377"/>
                        <a:gd name="connsiteY55" fmla="*/ 107559 h 513347"/>
                        <a:gd name="connsiteX56" fmla="*/ 7315 w 329377"/>
                        <a:gd name="connsiteY56" fmla="*/ 119783 h 513347"/>
                        <a:gd name="connsiteX57" fmla="*/ 7315 w 329377"/>
                        <a:gd name="connsiteY57" fmla="*/ 217563 h 513347"/>
                        <a:gd name="connsiteX58" fmla="*/ 29390 w 329377"/>
                        <a:gd name="connsiteY58" fmla="*/ 249339 h 513347"/>
                        <a:gd name="connsiteX59" fmla="*/ 22010 w 329377"/>
                        <a:gd name="connsiteY59" fmla="*/ 403343 h 513347"/>
                        <a:gd name="connsiteX60" fmla="*/ 12192 w 329377"/>
                        <a:gd name="connsiteY60" fmla="*/ 403343 h 513347"/>
                        <a:gd name="connsiteX61" fmla="*/ 0 w 329377"/>
                        <a:gd name="connsiteY61" fmla="*/ 403343 h 513347"/>
                        <a:gd name="connsiteX62" fmla="*/ 0 w 329377"/>
                        <a:gd name="connsiteY62" fmla="*/ 415567 h 513347"/>
                        <a:gd name="connsiteX63" fmla="*/ 0 w 329377"/>
                        <a:gd name="connsiteY63" fmla="*/ 485235 h 513347"/>
                        <a:gd name="connsiteX64" fmla="*/ 0 w 329377"/>
                        <a:gd name="connsiteY64" fmla="*/ 497459 h 513347"/>
                        <a:gd name="connsiteX65" fmla="*/ 12192 w 329377"/>
                        <a:gd name="connsiteY65" fmla="*/ 497459 h 513347"/>
                        <a:gd name="connsiteX66" fmla="*/ 203222 w 329377"/>
                        <a:gd name="connsiteY66" fmla="*/ 497459 h 513347"/>
                        <a:gd name="connsiteX67" fmla="*/ 251027 w 329377"/>
                        <a:gd name="connsiteY67" fmla="*/ 513347 h 513347"/>
                        <a:gd name="connsiteX68" fmla="*/ 329377 w 329377"/>
                        <a:gd name="connsiteY68" fmla="*/ 435126 h 513347"/>
                        <a:gd name="connsiteX69" fmla="*/ 259562 w 329377"/>
                        <a:gd name="connsiteY69" fmla="*/ 356898 h 513347"/>
                        <a:gd name="connsiteX70" fmla="*/ 254685 w 329377"/>
                        <a:gd name="connsiteY70" fmla="*/ 248120 h 513347"/>
                        <a:gd name="connsiteX71" fmla="*/ 276694 w 329377"/>
                        <a:gd name="connsiteY71" fmla="*/ 216337 h 513347"/>
                        <a:gd name="connsiteX72" fmla="*/ 276694 w 329377"/>
                        <a:gd name="connsiteY72" fmla="*/ 118558 h 513347"/>
                        <a:gd name="connsiteX73" fmla="*/ 276694 w 329377"/>
                        <a:gd name="connsiteY73" fmla="*/ 114894 h 513347"/>
                        <a:gd name="connsiteX74" fmla="*/ 293827 w 329377"/>
                        <a:gd name="connsiteY74" fmla="*/ 114894 h 513347"/>
                        <a:gd name="connsiteX75" fmla="*/ 315902 w 329377"/>
                        <a:gd name="connsiteY75" fmla="*/ 114894 h 513347"/>
                        <a:gd name="connsiteX76" fmla="*/ 306084 w 329377"/>
                        <a:gd name="connsiteY76" fmla="*/ 96561 h 513347"/>
                        <a:gd name="connsiteX77" fmla="*/ 288951 w 329377"/>
                        <a:gd name="connsiteY77" fmla="*/ 68448 h 513347"/>
                        <a:gd name="connsiteX78" fmla="*/ 306084 w 329377"/>
                        <a:gd name="connsiteY78" fmla="*/ 39111 h 513347"/>
                        <a:gd name="connsiteX79" fmla="*/ 317121 w 329377"/>
                        <a:gd name="connsiteY79" fmla="*/ 20778 h 513347"/>
                        <a:gd name="connsiteX80" fmla="*/ 296330 w 329377"/>
                        <a:gd name="connsiteY80" fmla="*/ 20778 h 513347"/>
                        <a:gd name="connsiteX81" fmla="*/ 232611 w 329377"/>
                        <a:gd name="connsiteY81" fmla="*/ 20778 h 513347"/>
                        <a:gd name="connsiteX82" fmla="*/ 202003 w 329377"/>
                        <a:gd name="connsiteY82" fmla="*/ 0 h 513347"/>
                        <a:gd name="connsiteX83" fmla="*/ 164079 w 329377"/>
                        <a:gd name="connsiteY83" fmla="*/ 94116 h 513347"/>
                        <a:gd name="connsiteX84" fmla="*/ 190965 w 329377"/>
                        <a:gd name="connsiteY84" fmla="*/ 94116 h 513347"/>
                        <a:gd name="connsiteX85" fmla="*/ 190965 w 329377"/>
                        <a:gd name="connsiteY85" fmla="*/ 95335 h 513347"/>
                        <a:gd name="connsiteX86" fmla="*/ 193468 w 329377"/>
                        <a:gd name="connsiteY86" fmla="*/ 95335 h 513347"/>
                        <a:gd name="connsiteX87" fmla="*/ 202003 w 329377"/>
                        <a:gd name="connsiteY87" fmla="*/ 106334 h 513347"/>
                        <a:gd name="connsiteX88" fmla="*/ 200783 w 329377"/>
                        <a:gd name="connsiteY88" fmla="*/ 106334 h 513347"/>
                        <a:gd name="connsiteX89" fmla="*/ 188527 w 329377"/>
                        <a:gd name="connsiteY89" fmla="*/ 106334 h 513347"/>
                        <a:gd name="connsiteX90" fmla="*/ 188527 w 329377"/>
                        <a:gd name="connsiteY90" fmla="*/ 118558 h 513347"/>
                        <a:gd name="connsiteX91" fmla="*/ 188527 w 329377"/>
                        <a:gd name="connsiteY91" fmla="*/ 143006 h 513347"/>
                        <a:gd name="connsiteX92" fmla="*/ 187308 w 329377"/>
                        <a:gd name="connsiteY92" fmla="*/ 143006 h 513347"/>
                        <a:gd name="connsiteX93" fmla="*/ 187308 w 329377"/>
                        <a:gd name="connsiteY93" fmla="*/ 118558 h 513347"/>
                        <a:gd name="connsiteX94" fmla="*/ 187308 w 329377"/>
                        <a:gd name="connsiteY94" fmla="*/ 106334 h 513347"/>
                        <a:gd name="connsiteX95" fmla="*/ 175052 w 329377"/>
                        <a:gd name="connsiteY95" fmla="*/ 106334 h 513347"/>
                        <a:gd name="connsiteX96" fmla="*/ 164079 w 329377"/>
                        <a:gd name="connsiteY96" fmla="*/ 106334 h 513347"/>
                        <a:gd name="connsiteX97" fmla="*/ 164079 w 329377"/>
                        <a:gd name="connsiteY97" fmla="*/ 94116 h 51334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  <a:cxn ang="0">
                          <a:pos x="connsiteX96" y="connsiteY96"/>
                        </a:cxn>
                        <a:cxn ang="0">
                          <a:pos x="connsiteX97" y="connsiteY97"/>
                        </a:cxn>
                      </a:cxnLst>
                      <a:rect l="l" t="t" r="r" b="b"/>
                      <a:pathLst>
                        <a:path w="329377" h="513347">
                          <a:moveTo>
                            <a:pt x="202003" y="12224"/>
                          </a:moveTo>
                          <a:cubicBezTo>
                            <a:pt x="213040" y="12224"/>
                            <a:pt x="222858" y="22003"/>
                            <a:pt x="222858" y="33002"/>
                          </a:cubicBezTo>
                          <a:lnTo>
                            <a:pt x="295111" y="33002"/>
                          </a:lnTo>
                          <a:lnTo>
                            <a:pt x="274256" y="68448"/>
                          </a:lnTo>
                          <a:lnTo>
                            <a:pt x="295111" y="102669"/>
                          </a:lnTo>
                          <a:lnTo>
                            <a:pt x="224076" y="102669"/>
                          </a:lnTo>
                          <a:cubicBezTo>
                            <a:pt x="213040" y="102669"/>
                            <a:pt x="204441" y="94116"/>
                            <a:pt x="203222" y="83111"/>
                          </a:cubicBezTo>
                          <a:cubicBezTo>
                            <a:pt x="203222" y="81892"/>
                            <a:pt x="202003" y="81892"/>
                            <a:pt x="202003" y="81892"/>
                          </a:cubicBezTo>
                          <a:lnTo>
                            <a:pt x="151823" y="81892"/>
                          </a:lnTo>
                          <a:lnTo>
                            <a:pt x="151823" y="118558"/>
                          </a:lnTo>
                          <a:lnTo>
                            <a:pt x="175052" y="118558"/>
                          </a:lnTo>
                          <a:lnTo>
                            <a:pt x="175052" y="155223"/>
                          </a:lnTo>
                          <a:lnTo>
                            <a:pt x="200783" y="155223"/>
                          </a:lnTo>
                          <a:lnTo>
                            <a:pt x="200783" y="118558"/>
                          </a:lnTo>
                          <a:lnTo>
                            <a:pt x="265722" y="118558"/>
                          </a:lnTo>
                          <a:lnTo>
                            <a:pt x="265722" y="216337"/>
                          </a:lnTo>
                          <a:cubicBezTo>
                            <a:pt x="265722" y="227342"/>
                            <a:pt x="255904" y="237115"/>
                            <a:pt x="244867" y="237115"/>
                          </a:cubicBezTo>
                          <a:lnTo>
                            <a:pt x="242428" y="237115"/>
                          </a:lnTo>
                          <a:lnTo>
                            <a:pt x="247305" y="367897"/>
                          </a:lnTo>
                          <a:cubicBezTo>
                            <a:pt x="248525" y="367897"/>
                            <a:pt x="248525" y="367897"/>
                            <a:pt x="249744" y="367897"/>
                          </a:cubicBezTo>
                          <a:cubicBezTo>
                            <a:pt x="286512" y="367897"/>
                            <a:pt x="315902" y="397235"/>
                            <a:pt x="315902" y="433900"/>
                          </a:cubicBezTo>
                          <a:cubicBezTo>
                            <a:pt x="315902" y="470566"/>
                            <a:pt x="287732" y="501123"/>
                            <a:pt x="251027" y="501123"/>
                          </a:cubicBezTo>
                          <a:cubicBezTo>
                            <a:pt x="233830" y="501123"/>
                            <a:pt x="219135" y="495014"/>
                            <a:pt x="206943" y="485235"/>
                          </a:cubicBezTo>
                          <a:lnTo>
                            <a:pt x="12192" y="485235"/>
                          </a:lnTo>
                          <a:lnTo>
                            <a:pt x="12192" y="415567"/>
                          </a:lnTo>
                          <a:lnTo>
                            <a:pt x="34267" y="415567"/>
                          </a:lnTo>
                          <a:lnTo>
                            <a:pt x="42801" y="238341"/>
                          </a:lnTo>
                          <a:lnTo>
                            <a:pt x="40362" y="238341"/>
                          </a:lnTo>
                          <a:cubicBezTo>
                            <a:pt x="29390" y="238341"/>
                            <a:pt x="19572" y="228561"/>
                            <a:pt x="19572" y="217563"/>
                          </a:cubicBezTo>
                          <a:lnTo>
                            <a:pt x="19572" y="119783"/>
                          </a:lnTo>
                          <a:lnTo>
                            <a:pt x="84446" y="119783"/>
                          </a:lnTo>
                          <a:lnTo>
                            <a:pt x="84446" y="156449"/>
                          </a:lnTo>
                          <a:lnTo>
                            <a:pt x="110177" y="156449"/>
                          </a:lnTo>
                          <a:lnTo>
                            <a:pt x="110177" y="119783"/>
                          </a:lnTo>
                          <a:lnTo>
                            <a:pt x="133471" y="119783"/>
                          </a:lnTo>
                          <a:lnTo>
                            <a:pt x="133471" y="12224"/>
                          </a:lnTo>
                          <a:lnTo>
                            <a:pt x="145663" y="12224"/>
                          </a:lnTo>
                          <a:lnTo>
                            <a:pt x="153042" y="12224"/>
                          </a:lnTo>
                          <a:lnTo>
                            <a:pt x="202003" y="12224"/>
                          </a:lnTo>
                          <a:close/>
                          <a:moveTo>
                            <a:pt x="202003" y="0"/>
                          </a:moveTo>
                          <a:lnTo>
                            <a:pt x="153042" y="0"/>
                          </a:lnTo>
                          <a:lnTo>
                            <a:pt x="145663" y="0"/>
                          </a:lnTo>
                          <a:lnTo>
                            <a:pt x="133471" y="0"/>
                          </a:lnTo>
                          <a:lnTo>
                            <a:pt x="121214" y="0"/>
                          </a:lnTo>
                          <a:lnTo>
                            <a:pt x="121214" y="12224"/>
                          </a:lnTo>
                          <a:lnTo>
                            <a:pt x="121214" y="107559"/>
                          </a:lnTo>
                          <a:lnTo>
                            <a:pt x="110177" y="107559"/>
                          </a:lnTo>
                          <a:lnTo>
                            <a:pt x="97921" y="107559"/>
                          </a:lnTo>
                          <a:lnTo>
                            <a:pt x="97921" y="119783"/>
                          </a:lnTo>
                          <a:lnTo>
                            <a:pt x="97921" y="144225"/>
                          </a:lnTo>
                          <a:lnTo>
                            <a:pt x="96702" y="144225"/>
                          </a:lnTo>
                          <a:lnTo>
                            <a:pt x="96702" y="119783"/>
                          </a:lnTo>
                          <a:lnTo>
                            <a:pt x="96702" y="107559"/>
                          </a:lnTo>
                          <a:lnTo>
                            <a:pt x="84446" y="107559"/>
                          </a:lnTo>
                          <a:lnTo>
                            <a:pt x="19572" y="107559"/>
                          </a:lnTo>
                          <a:lnTo>
                            <a:pt x="7315" y="107559"/>
                          </a:lnTo>
                          <a:lnTo>
                            <a:pt x="7315" y="119783"/>
                          </a:lnTo>
                          <a:lnTo>
                            <a:pt x="7315" y="217563"/>
                          </a:lnTo>
                          <a:cubicBezTo>
                            <a:pt x="7315" y="232226"/>
                            <a:pt x="17133" y="244450"/>
                            <a:pt x="29390" y="249339"/>
                          </a:cubicBezTo>
                          <a:lnTo>
                            <a:pt x="22010" y="403343"/>
                          </a:lnTo>
                          <a:lnTo>
                            <a:pt x="12192" y="403343"/>
                          </a:lnTo>
                          <a:lnTo>
                            <a:pt x="0" y="403343"/>
                          </a:lnTo>
                          <a:lnTo>
                            <a:pt x="0" y="415567"/>
                          </a:lnTo>
                          <a:lnTo>
                            <a:pt x="0" y="485235"/>
                          </a:lnTo>
                          <a:lnTo>
                            <a:pt x="0" y="497459"/>
                          </a:lnTo>
                          <a:lnTo>
                            <a:pt x="12192" y="497459"/>
                          </a:lnTo>
                          <a:lnTo>
                            <a:pt x="203222" y="497459"/>
                          </a:lnTo>
                          <a:cubicBezTo>
                            <a:pt x="216697" y="508458"/>
                            <a:pt x="233830" y="513347"/>
                            <a:pt x="251027" y="513347"/>
                          </a:cubicBezTo>
                          <a:cubicBezTo>
                            <a:pt x="293827" y="513347"/>
                            <a:pt x="329377" y="477901"/>
                            <a:pt x="329377" y="435126"/>
                          </a:cubicBezTo>
                          <a:cubicBezTo>
                            <a:pt x="329377" y="394790"/>
                            <a:pt x="298769" y="361788"/>
                            <a:pt x="259562" y="356898"/>
                          </a:cubicBezTo>
                          <a:lnTo>
                            <a:pt x="254685" y="248120"/>
                          </a:lnTo>
                          <a:cubicBezTo>
                            <a:pt x="268160" y="243230"/>
                            <a:pt x="276694" y="231006"/>
                            <a:pt x="276694" y="216337"/>
                          </a:cubicBezTo>
                          <a:lnTo>
                            <a:pt x="276694" y="118558"/>
                          </a:lnTo>
                          <a:lnTo>
                            <a:pt x="276694" y="114894"/>
                          </a:lnTo>
                          <a:lnTo>
                            <a:pt x="293827" y="114894"/>
                          </a:lnTo>
                          <a:lnTo>
                            <a:pt x="315902" y="114894"/>
                          </a:lnTo>
                          <a:lnTo>
                            <a:pt x="306084" y="96561"/>
                          </a:lnTo>
                          <a:lnTo>
                            <a:pt x="288951" y="68448"/>
                          </a:lnTo>
                          <a:lnTo>
                            <a:pt x="306084" y="39111"/>
                          </a:lnTo>
                          <a:lnTo>
                            <a:pt x="317121" y="20778"/>
                          </a:lnTo>
                          <a:lnTo>
                            <a:pt x="296330" y="20778"/>
                          </a:lnTo>
                          <a:lnTo>
                            <a:pt x="232611" y="20778"/>
                          </a:lnTo>
                          <a:cubicBezTo>
                            <a:pt x="227734" y="8554"/>
                            <a:pt x="215478" y="0"/>
                            <a:pt x="202003" y="0"/>
                          </a:cubicBezTo>
                          <a:close/>
                          <a:moveTo>
                            <a:pt x="164079" y="94116"/>
                          </a:moveTo>
                          <a:lnTo>
                            <a:pt x="190965" y="94116"/>
                          </a:lnTo>
                          <a:lnTo>
                            <a:pt x="190965" y="95335"/>
                          </a:lnTo>
                          <a:lnTo>
                            <a:pt x="193468" y="95335"/>
                          </a:lnTo>
                          <a:cubicBezTo>
                            <a:pt x="195906" y="100225"/>
                            <a:pt x="198345" y="103889"/>
                            <a:pt x="202003" y="106334"/>
                          </a:cubicBezTo>
                          <a:lnTo>
                            <a:pt x="200783" y="106334"/>
                          </a:lnTo>
                          <a:lnTo>
                            <a:pt x="188527" y="106334"/>
                          </a:lnTo>
                          <a:lnTo>
                            <a:pt x="188527" y="118558"/>
                          </a:lnTo>
                          <a:lnTo>
                            <a:pt x="188527" y="143006"/>
                          </a:lnTo>
                          <a:lnTo>
                            <a:pt x="187308" y="143006"/>
                          </a:lnTo>
                          <a:lnTo>
                            <a:pt x="187308" y="118558"/>
                          </a:lnTo>
                          <a:lnTo>
                            <a:pt x="187308" y="106334"/>
                          </a:lnTo>
                          <a:lnTo>
                            <a:pt x="175052" y="106334"/>
                          </a:lnTo>
                          <a:lnTo>
                            <a:pt x="164079" y="106334"/>
                          </a:lnTo>
                          <a:lnTo>
                            <a:pt x="164079" y="94116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</p:grpSp>
              <p:grpSp>
                <p:nvGrpSpPr>
                  <p:cNvPr id="170" name="Graphic 3">
                    <a:extLst>
                      <a:ext uri="{FF2B5EF4-FFF2-40B4-BE49-F238E27FC236}">
                        <a16:creationId xmlns:a16="http://schemas.microsoft.com/office/drawing/2014/main" id="{9FCB26AE-5850-3DCD-D3BF-1A90D9C4C600}"/>
                      </a:ext>
                    </a:extLst>
                  </p:cNvPr>
                  <p:cNvGrpSpPr/>
                  <p:nvPr/>
                </p:nvGrpSpPr>
                <p:grpSpPr>
                  <a:xfrm>
                    <a:off x="7256485" y="3020157"/>
                    <a:ext cx="304963" cy="485235"/>
                    <a:chOff x="7256485" y="3020157"/>
                    <a:chExt cx="304963" cy="485235"/>
                  </a:xfrm>
                  <a:solidFill>
                    <a:srgbClr val="2C5967"/>
                  </a:solidFill>
                </p:grpSpPr>
                <p:sp>
                  <p:nvSpPr>
                    <p:cNvPr id="171" name="Freeform: Shape 170">
                      <a:extLst>
                        <a:ext uri="{FF2B5EF4-FFF2-40B4-BE49-F238E27FC236}">
                          <a16:creationId xmlns:a16="http://schemas.microsoft.com/office/drawing/2014/main" id="{0B3606D3-9C74-886E-2BB7-265361B3535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56485" y="3020157"/>
                      <a:ext cx="282918" cy="470566"/>
                    </a:xfrm>
                    <a:custGeom>
                      <a:avLst/>
                      <a:gdLst>
                        <a:gd name="connsiteX0" fmla="*/ 18416 w 282918"/>
                        <a:gd name="connsiteY0" fmla="*/ 451014 h 470566"/>
                        <a:gd name="connsiteX1" fmla="*/ 18416 w 282918"/>
                        <a:gd name="connsiteY1" fmla="*/ 418012 h 470566"/>
                        <a:gd name="connsiteX2" fmla="*/ 20855 w 282918"/>
                        <a:gd name="connsiteY2" fmla="*/ 418012 h 470566"/>
                        <a:gd name="connsiteX3" fmla="*/ 159202 w 282918"/>
                        <a:gd name="connsiteY3" fmla="*/ 418012 h 470566"/>
                        <a:gd name="connsiteX4" fmla="*/ 161641 w 282918"/>
                        <a:gd name="connsiteY4" fmla="*/ 399679 h 470566"/>
                        <a:gd name="connsiteX5" fmla="*/ 40426 w 282918"/>
                        <a:gd name="connsiteY5" fmla="*/ 399679 h 470566"/>
                        <a:gd name="connsiteX6" fmla="*/ 49025 w 282918"/>
                        <a:gd name="connsiteY6" fmla="*/ 223672 h 470566"/>
                        <a:gd name="connsiteX7" fmla="*/ 213104 w 282918"/>
                        <a:gd name="connsiteY7" fmla="*/ 223672 h 470566"/>
                        <a:gd name="connsiteX8" fmla="*/ 217980 w 282918"/>
                        <a:gd name="connsiteY8" fmla="*/ 343455 h 470566"/>
                        <a:gd name="connsiteX9" fmla="*/ 236333 w 282918"/>
                        <a:gd name="connsiteY9" fmla="*/ 341010 h 470566"/>
                        <a:gd name="connsiteX10" fmla="*/ 231456 w 282918"/>
                        <a:gd name="connsiteY10" fmla="*/ 224898 h 470566"/>
                        <a:gd name="connsiteX11" fmla="*/ 232675 w 282918"/>
                        <a:gd name="connsiteY11" fmla="*/ 224898 h 470566"/>
                        <a:gd name="connsiteX12" fmla="*/ 253530 w 282918"/>
                        <a:gd name="connsiteY12" fmla="*/ 204120 h 470566"/>
                        <a:gd name="connsiteX13" fmla="*/ 253530 w 282918"/>
                        <a:gd name="connsiteY13" fmla="*/ 106340 h 470566"/>
                        <a:gd name="connsiteX14" fmla="*/ 188591 w 282918"/>
                        <a:gd name="connsiteY14" fmla="*/ 106340 h 470566"/>
                        <a:gd name="connsiteX15" fmla="*/ 188591 w 282918"/>
                        <a:gd name="connsiteY15" fmla="*/ 143006 h 470566"/>
                        <a:gd name="connsiteX16" fmla="*/ 162859 w 282918"/>
                        <a:gd name="connsiteY16" fmla="*/ 143006 h 470566"/>
                        <a:gd name="connsiteX17" fmla="*/ 162859 w 282918"/>
                        <a:gd name="connsiteY17" fmla="*/ 106340 h 470566"/>
                        <a:gd name="connsiteX18" fmla="*/ 139631 w 282918"/>
                        <a:gd name="connsiteY18" fmla="*/ 106340 h 470566"/>
                        <a:gd name="connsiteX19" fmla="*/ 139631 w 282918"/>
                        <a:gd name="connsiteY19" fmla="*/ 69668 h 470566"/>
                        <a:gd name="connsiteX20" fmla="*/ 189811 w 282918"/>
                        <a:gd name="connsiteY20" fmla="*/ 69668 h 470566"/>
                        <a:gd name="connsiteX21" fmla="*/ 191030 w 282918"/>
                        <a:gd name="connsiteY21" fmla="*/ 70893 h 470566"/>
                        <a:gd name="connsiteX22" fmla="*/ 211884 w 282918"/>
                        <a:gd name="connsiteY22" fmla="*/ 90445 h 470566"/>
                        <a:gd name="connsiteX23" fmla="*/ 282918 w 282918"/>
                        <a:gd name="connsiteY23" fmla="*/ 90445 h 470566"/>
                        <a:gd name="connsiteX24" fmla="*/ 262064 w 282918"/>
                        <a:gd name="connsiteY24" fmla="*/ 56224 h 470566"/>
                        <a:gd name="connsiteX25" fmla="*/ 282918 w 282918"/>
                        <a:gd name="connsiteY25" fmla="*/ 20778 h 470566"/>
                        <a:gd name="connsiteX26" fmla="*/ 210665 w 282918"/>
                        <a:gd name="connsiteY26" fmla="*/ 20778 h 470566"/>
                        <a:gd name="connsiteX27" fmla="*/ 189811 w 282918"/>
                        <a:gd name="connsiteY27" fmla="*/ 0 h 470566"/>
                        <a:gd name="connsiteX28" fmla="*/ 140850 w 282918"/>
                        <a:gd name="connsiteY28" fmla="*/ 0 h 470566"/>
                        <a:gd name="connsiteX29" fmla="*/ 133471 w 282918"/>
                        <a:gd name="connsiteY29" fmla="*/ 0 h 470566"/>
                        <a:gd name="connsiteX30" fmla="*/ 121278 w 282918"/>
                        <a:gd name="connsiteY30" fmla="*/ 0 h 470566"/>
                        <a:gd name="connsiteX31" fmla="*/ 121278 w 282918"/>
                        <a:gd name="connsiteY31" fmla="*/ 107559 h 470566"/>
                        <a:gd name="connsiteX32" fmla="*/ 97985 w 282918"/>
                        <a:gd name="connsiteY32" fmla="*/ 107559 h 470566"/>
                        <a:gd name="connsiteX33" fmla="*/ 97985 w 282918"/>
                        <a:gd name="connsiteY33" fmla="*/ 144225 h 470566"/>
                        <a:gd name="connsiteX34" fmla="*/ 72254 w 282918"/>
                        <a:gd name="connsiteY34" fmla="*/ 144225 h 470566"/>
                        <a:gd name="connsiteX35" fmla="*/ 72254 w 282918"/>
                        <a:gd name="connsiteY35" fmla="*/ 107559 h 470566"/>
                        <a:gd name="connsiteX36" fmla="*/ 7380 w 282918"/>
                        <a:gd name="connsiteY36" fmla="*/ 107559 h 470566"/>
                        <a:gd name="connsiteX37" fmla="*/ 7380 w 282918"/>
                        <a:gd name="connsiteY37" fmla="*/ 205339 h 470566"/>
                        <a:gd name="connsiteX38" fmla="*/ 28170 w 282918"/>
                        <a:gd name="connsiteY38" fmla="*/ 226117 h 470566"/>
                        <a:gd name="connsiteX39" fmla="*/ 30608 w 282918"/>
                        <a:gd name="connsiteY39" fmla="*/ 226117 h 470566"/>
                        <a:gd name="connsiteX40" fmla="*/ 22074 w 282918"/>
                        <a:gd name="connsiteY40" fmla="*/ 400899 h 470566"/>
                        <a:gd name="connsiteX41" fmla="*/ 0 w 282918"/>
                        <a:gd name="connsiteY41" fmla="*/ 400899 h 470566"/>
                        <a:gd name="connsiteX42" fmla="*/ 0 w 282918"/>
                        <a:gd name="connsiteY42" fmla="*/ 470566 h 470566"/>
                        <a:gd name="connsiteX43" fmla="*/ 176335 w 282918"/>
                        <a:gd name="connsiteY43" fmla="*/ 470566 h 470566"/>
                        <a:gd name="connsiteX44" fmla="*/ 165362 w 282918"/>
                        <a:gd name="connsiteY44" fmla="*/ 452233 h 470566"/>
                        <a:gd name="connsiteX45" fmla="*/ 18416 w 282918"/>
                        <a:gd name="connsiteY45" fmla="*/ 452233 h 470566"/>
                        <a:gd name="connsiteX46" fmla="*/ 18416 w 282918"/>
                        <a:gd name="connsiteY46" fmla="*/ 451014 h 470566"/>
                        <a:gd name="connsiteX47" fmla="*/ 249808 w 282918"/>
                        <a:gd name="connsiteY47" fmla="*/ 36666 h 470566"/>
                        <a:gd name="connsiteX48" fmla="*/ 240054 w 282918"/>
                        <a:gd name="connsiteY48" fmla="*/ 53780 h 470566"/>
                        <a:gd name="connsiteX49" fmla="*/ 249808 w 282918"/>
                        <a:gd name="connsiteY49" fmla="*/ 69668 h 470566"/>
                        <a:gd name="connsiteX50" fmla="*/ 211884 w 282918"/>
                        <a:gd name="connsiteY50" fmla="*/ 69668 h 470566"/>
                        <a:gd name="connsiteX51" fmla="*/ 210665 w 282918"/>
                        <a:gd name="connsiteY51" fmla="*/ 68449 h 470566"/>
                        <a:gd name="connsiteX52" fmla="*/ 210665 w 282918"/>
                        <a:gd name="connsiteY52" fmla="*/ 36666 h 470566"/>
                        <a:gd name="connsiteX53" fmla="*/ 249808 w 282918"/>
                        <a:gd name="connsiteY53" fmla="*/ 36666 h 470566"/>
                        <a:gd name="connsiteX54" fmla="*/ 189811 w 282918"/>
                        <a:gd name="connsiteY54" fmla="*/ 15888 h 470566"/>
                        <a:gd name="connsiteX55" fmla="*/ 192249 w 282918"/>
                        <a:gd name="connsiteY55" fmla="*/ 18333 h 470566"/>
                        <a:gd name="connsiteX56" fmla="*/ 192249 w 282918"/>
                        <a:gd name="connsiteY56" fmla="*/ 48890 h 470566"/>
                        <a:gd name="connsiteX57" fmla="*/ 191030 w 282918"/>
                        <a:gd name="connsiteY57" fmla="*/ 48890 h 470566"/>
                        <a:gd name="connsiteX58" fmla="*/ 140850 w 282918"/>
                        <a:gd name="connsiteY58" fmla="*/ 48890 h 470566"/>
                        <a:gd name="connsiteX59" fmla="*/ 140850 w 282918"/>
                        <a:gd name="connsiteY59" fmla="*/ 15888 h 470566"/>
                        <a:gd name="connsiteX60" fmla="*/ 189811 w 282918"/>
                        <a:gd name="connsiteY60" fmla="*/ 15888 h 470566"/>
                        <a:gd name="connsiteX61" fmla="*/ 28170 w 282918"/>
                        <a:gd name="connsiteY61" fmla="*/ 205339 h 470566"/>
                        <a:gd name="connsiteX62" fmla="*/ 25732 w 282918"/>
                        <a:gd name="connsiteY62" fmla="*/ 202894 h 470566"/>
                        <a:gd name="connsiteX63" fmla="*/ 25732 w 282918"/>
                        <a:gd name="connsiteY63" fmla="*/ 123447 h 470566"/>
                        <a:gd name="connsiteX64" fmla="*/ 53902 w 282918"/>
                        <a:gd name="connsiteY64" fmla="*/ 123447 h 470566"/>
                        <a:gd name="connsiteX65" fmla="*/ 53902 w 282918"/>
                        <a:gd name="connsiteY65" fmla="*/ 160120 h 470566"/>
                        <a:gd name="connsiteX66" fmla="*/ 116337 w 282918"/>
                        <a:gd name="connsiteY66" fmla="*/ 160120 h 470566"/>
                        <a:gd name="connsiteX67" fmla="*/ 116337 w 282918"/>
                        <a:gd name="connsiteY67" fmla="*/ 123447 h 470566"/>
                        <a:gd name="connsiteX68" fmla="*/ 144507 w 282918"/>
                        <a:gd name="connsiteY68" fmla="*/ 123447 h 470566"/>
                        <a:gd name="connsiteX69" fmla="*/ 144507 w 282918"/>
                        <a:gd name="connsiteY69" fmla="*/ 160120 h 470566"/>
                        <a:gd name="connsiteX70" fmla="*/ 208163 w 282918"/>
                        <a:gd name="connsiteY70" fmla="*/ 160120 h 470566"/>
                        <a:gd name="connsiteX71" fmla="*/ 208163 w 282918"/>
                        <a:gd name="connsiteY71" fmla="*/ 123447 h 470566"/>
                        <a:gd name="connsiteX72" fmla="*/ 236333 w 282918"/>
                        <a:gd name="connsiteY72" fmla="*/ 123447 h 470566"/>
                        <a:gd name="connsiteX73" fmla="*/ 236333 w 282918"/>
                        <a:gd name="connsiteY73" fmla="*/ 202894 h 470566"/>
                        <a:gd name="connsiteX74" fmla="*/ 233894 w 282918"/>
                        <a:gd name="connsiteY74" fmla="*/ 205339 h 470566"/>
                        <a:gd name="connsiteX75" fmla="*/ 231456 w 282918"/>
                        <a:gd name="connsiteY75" fmla="*/ 205339 h 470566"/>
                        <a:gd name="connsiteX76" fmla="*/ 30608 w 282918"/>
                        <a:gd name="connsiteY76" fmla="*/ 205339 h 470566"/>
                        <a:gd name="connsiteX77" fmla="*/ 28170 w 282918"/>
                        <a:gd name="connsiteY77" fmla="*/ 205339 h 47056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</a:cxnLst>
                      <a:rect l="l" t="t" r="r" b="b"/>
                      <a:pathLst>
                        <a:path w="282918" h="470566">
                          <a:moveTo>
                            <a:pt x="18416" y="451014"/>
                          </a:moveTo>
                          <a:lnTo>
                            <a:pt x="18416" y="418012"/>
                          </a:lnTo>
                          <a:lnTo>
                            <a:pt x="20855" y="418012"/>
                          </a:lnTo>
                          <a:lnTo>
                            <a:pt x="159202" y="418012"/>
                          </a:lnTo>
                          <a:cubicBezTo>
                            <a:pt x="159202" y="411903"/>
                            <a:pt x="160421" y="405788"/>
                            <a:pt x="161641" y="399679"/>
                          </a:cubicBezTo>
                          <a:lnTo>
                            <a:pt x="40426" y="399679"/>
                          </a:lnTo>
                          <a:lnTo>
                            <a:pt x="49025" y="223672"/>
                          </a:lnTo>
                          <a:lnTo>
                            <a:pt x="213104" y="223672"/>
                          </a:lnTo>
                          <a:lnTo>
                            <a:pt x="217980" y="343455"/>
                          </a:lnTo>
                          <a:cubicBezTo>
                            <a:pt x="224141" y="342229"/>
                            <a:pt x="230236" y="341010"/>
                            <a:pt x="236333" y="341010"/>
                          </a:cubicBezTo>
                          <a:lnTo>
                            <a:pt x="231456" y="224898"/>
                          </a:lnTo>
                          <a:lnTo>
                            <a:pt x="232675" y="224898"/>
                          </a:lnTo>
                          <a:cubicBezTo>
                            <a:pt x="243712" y="224898"/>
                            <a:pt x="253530" y="215118"/>
                            <a:pt x="253530" y="204120"/>
                          </a:cubicBezTo>
                          <a:lnTo>
                            <a:pt x="253530" y="106340"/>
                          </a:lnTo>
                          <a:lnTo>
                            <a:pt x="188591" y="106340"/>
                          </a:lnTo>
                          <a:lnTo>
                            <a:pt x="188591" y="143006"/>
                          </a:lnTo>
                          <a:lnTo>
                            <a:pt x="162859" y="143006"/>
                          </a:lnTo>
                          <a:lnTo>
                            <a:pt x="162859" y="106340"/>
                          </a:lnTo>
                          <a:lnTo>
                            <a:pt x="139631" y="106340"/>
                          </a:lnTo>
                          <a:lnTo>
                            <a:pt x="139631" y="69668"/>
                          </a:lnTo>
                          <a:lnTo>
                            <a:pt x="189811" y="69668"/>
                          </a:lnTo>
                          <a:cubicBezTo>
                            <a:pt x="191030" y="69668"/>
                            <a:pt x="191030" y="70893"/>
                            <a:pt x="191030" y="70893"/>
                          </a:cubicBezTo>
                          <a:cubicBezTo>
                            <a:pt x="191030" y="81892"/>
                            <a:pt x="200847" y="90445"/>
                            <a:pt x="211884" y="90445"/>
                          </a:cubicBezTo>
                          <a:lnTo>
                            <a:pt x="282918" y="90445"/>
                          </a:lnTo>
                          <a:lnTo>
                            <a:pt x="262064" y="56224"/>
                          </a:lnTo>
                          <a:lnTo>
                            <a:pt x="282918" y="20778"/>
                          </a:lnTo>
                          <a:lnTo>
                            <a:pt x="210665" y="20778"/>
                          </a:lnTo>
                          <a:cubicBezTo>
                            <a:pt x="210665" y="9779"/>
                            <a:pt x="200847" y="0"/>
                            <a:pt x="189811" y="0"/>
                          </a:cubicBezTo>
                          <a:lnTo>
                            <a:pt x="140850" y="0"/>
                          </a:lnTo>
                          <a:lnTo>
                            <a:pt x="133471" y="0"/>
                          </a:lnTo>
                          <a:lnTo>
                            <a:pt x="121278" y="0"/>
                          </a:lnTo>
                          <a:lnTo>
                            <a:pt x="121278" y="107559"/>
                          </a:lnTo>
                          <a:lnTo>
                            <a:pt x="97985" y="107559"/>
                          </a:lnTo>
                          <a:lnTo>
                            <a:pt x="97985" y="144225"/>
                          </a:lnTo>
                          <a:lnTo>
                            <a:pt x="72254" y="144225"/>
                          </a:lnTo>
                          <a:lnTo>
                            <a:pt x="72254" y="107559"/>
                          </a:lnTo>
                          <a:lnTo>
                            <a:pt x="7380" y="107559"/>
                          </a:lnTo>
                          <a:lnTo>
                            <a:pt x="7380" y="205339"/>
                          </a:lnTo>
                          <a:cubicBezTo>
                            <a:pt x="7380" y="216337"/>
                            <a:pt x="17197" y="226117"/>
                            <a:pt x="28170" y="226117"/>
                          </a:cubicBezTo>
                          <a:lnTo>
                            <a:pt x="30608" y="226117"/>
                          </a:lnTo>
                          <a:lnTo>
                            <a:pt x="22074" y="400899"/>
                          </a:lnTo>
                          <a:lnTo>
                            <a:pt x="0" y="400899"/>
                          </a:lnTo>
                          <a:lnTo>
                            <a:pt x="0" y="470566"/>
                          </a:lnTo>
                          <a:lnTo>
                            <a:pt x="176335" y="470566"/>
                          </a:lnTo>
                          <a:cubicBezTo>
                            <a:pt x="171458" y="464457"/>
                            <a:pt x="167801" y="458349"/>
                            <a:pt x="165362" y="452233"/>
                          </a:cubicBezTo>
                          <a:lnTo>
                            <a:pt x="18416" y="452233"/>
                          </a:lnTo>
                          <a:lnTo>
                            <a:pt x="18416" y="451014"/>
                          </a:lnTo>
                          <a:close/>
                          <a:moveTo>
                            <a:pt x="249808" y="36666"/>
                          </a:moveTo>
                          <a:lnTo>
                            <a:pt x="240054" y="53780"/>
                          </a:lnTo>
                          <a:lnTo>
                            <a:pt x="249808" y="69668"/>
                          </a:lnTo>
                          <a:lnTo>
                            <a:pt x="211884" y="69668"/>
                          </a:lnTo>
                          <a:cubicBezTo>
                            <a:pt x="210665" y="69668"/>
                            <a:pt x="210665" y="68449"/>
                            <a:pt x="210665" y="68449"/>
                          </a:cubicBezTo>
                          <a:lnTo>
                            <a:pt x="210665" y="36666"/>
                          </a:lnTo>
                          <a:lnTo>
                            <a:pt x="249808" y="36666"/>
                          </a:lnTo>
                          <a:close/>
                          <a:moveTo>
                            <a:pt x="189811" y="15888"/>
                          </a:moveTo>
                          <a:cubicBezTo>
                            <a:pt x="191030" y="15888"/>
                            <a:pt x="192249" y="17114"/>
                            <a:pt x="192249" y="18333"/>
                          </a:cubicBezTo>
                          <a:lnTo>
                            <a:pt x="192249" y="48890"/>
                          </a:lnTo>
                          <a:lnTo>
                            <a:pt x="191030" y="48890"/>
                          </a:lnTo>
                          <a:lnTo>
                            <a:pt x="140850" y="48890"/>
                          </a:lnTo>
                          <a:lnTo>
                            <a:pt x="140850" y="15888"/>
                          </a:lnTo>
                          <a:lnTo>
                            <a:pt x="189811" y="15888"/>
                          </a:lnTo>
                          <a:close/>
                          <a:moveTo>
                            <a:pt x="28170" y="205339"/>
                          </a:moveTo>
                          <a:cubicBezTo>
                            <a:pt x="26951" y="205339"/>
                            <a:pt x="25732" y="204120"/>
                            <a:pt x="25732" y="202894"/>
                          </a:cubicBezTo>
                          <a:lnTo>
                            <a:pt x="25732" y="123447"/>
                          </a:lnTo>
                          <a:lnTo>
                            <a:pt x="53902" y="123447"/>
                          </a:lnTo>
                          <a:lnTo>
                            <a:pt x="53902" y="160120"/>
                          </a:lnTo>
                          <a:lnTo>
                            <a:pt x="116337" y="160120"/>
                          </a:lnTo>
                          <a:lnTo>
                            <a:pt x="116337" y="123447"/>
                          </a:lnTo>
                          <a:lnTo>
                            <a:pt x="144507" y="123447"/>
                          </a:lnTo>
                          <a:lnTo>
                            <a:pt x="144507" y="160120"/>
                          </a:lnTo>
                          <a:lnTo>
                            <a:pt x="208163" y="160120"/>
                          </a:lnTo>
                          <a:lnTo>
                            <a:pt x="208163" y="123447"/>
                          </a:lnTo>
                          <a:lnTo>
                            <a:pt x="236333" y="123447"/>
                          </a:lnTo>
                          <a:lnTo>
                            <a:pt x="236333" y="202894"/>
                          </a:lnTo>
                          <a:cubicBezTo>
                            <a:pt x="236333" y="204120"/>
                            <a:pt x="235113" y="205339"/>
                            <a:pt x="233894" y="205339"/>
                          </a:cubicBezTo>
                          <a:lnTo>
                            <a:pt x="231456" y="205339"/>
                          </a:lnTo>
                          <a:lnTo>
                            <a:pt x="30608" y="205339"/>
                          </a:lnTo>
                          <a:lnTo>
                            <a:pt x="28170" y="205339"/>
                          </a:lnTo>
                          <a:close/>
                        </a:path>
                      </a:pathLst>
                    </a:custGeom>
                    <a:solidFill>
                      <a:srgbClr val="2C5967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  <p:sp>
                  <p:nvSpPr>
                    <p:cNvPr id="172" name="Freeform: Shape 171">
                      <a:extLst>
                        <a:ext uri="{FF2B5EF4-FFF2-40B4-BE49-F238E27FC236}">
                          <a16:creationId xmlns:a16="http://schemas.microsoft.com/office/drawing/2014/main" id="{71092288-9902-C899-8B46-F57BFB0086C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429163" y="3373391"/>
                      <a:ext cx="132286" cy="132000"/>
                    </a:xfrm>
                    <a:custGeom>
                      <a:avLst/>
                      <a:gdLst>
                        <a:gd name="connsiteX0" fmla="*/ 66157 w 132286"/>
                        <a:gd name="connsiteY0" fmla="*/ 0 h 132000"/>
                        <a:gd name="connsiteX1" fmla="*/ 0 w 132286"/>
                        <a:gd name="connsiteY1" fmla="*/ 66004 h 132000"/>
                        <a:gd name="connsiteX2" fmla="*/ 66157 w 132286"/>
                        <a:gd name="connsiteY2" fmla="*/ 132001 h 132000"/>
                        <a:gd name="connsiteX3" fmla="*/ 132251 w 132286"/>
                        <a:gd name="connsiteY3" fmla="*/ 66004 h 132000"/>
                        <a:gd name="connsiteX4" fmla="*/ 66157 w 132286"/>
                        <a:gd name="connsiteY4" fmla="*/ 0 h 132000"/>
                        <a:gd name="connsiteX5" fmla="*/ 66157 w 132286"/>
                        <a:gd name="connsiteY5" fmla="*/ 114894 h 132000"/>
                        <a:gd name="connsiteX6" fmla="*/ 18352 w 132286"/>
                        <a:gd name="connsiteY6" fmla="*/ 67223 h 132000"/>
                        <a:gd name="connsiteX7" fmla="*/ 66157 w 132286"/>
                        <a:gd name="connsiteY7" fmla="*/ 19558 h 132000"/>
                        <a:gd name="connsiteX8" fmla="*/ 113899 w 132286"/>
                        <a:gd name="connsiteY8" fmla="*/ 67223 h 132000"/>
                        <a:gd name="connsiteX9" fmla="*/ 66157 w 132286"/>
                        <a:gd name="connsiteY9" fmla="*/ 114894 h 1320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132286" h="132000">
                          <a:moveTo>
                            <a:pt x="66157" y="0"/>
                          </a:moveTo>
                          <a:cubicBezTo>
                            <a:pt x="29389" y="0"/>
                            <a:pt x="0" y="29331"/>
                            <a:pt x="0" y="66004"/>
                          </a:cubicBezTo>
                          <a:cubicBezTo>
                            <a:pt x="0" y="102669"/>
                            <a:pt x="29389" y="132001"/>
                            <a:pt x="66157" y="132001"/>
                          </a:cubicBezTo>
                          <a:cubicBezTo>
                            <a:pt x="102862" y="132001"/>
                            <a:pt x="132251" y="102669"/>
                            <a:pt x="132251" y="66004"/>
                          </a:cubicBezTo>
                          <a:cubicBezTo>
                            <a:pt x="133471" y="30557"/>
                            <a:pt x="102862" y="0"/>
                            <a:pt x="66157" y="0"/>
                          </a:cubicBezTo>
                          <a:close/>
                          <a:moveTo>
                            <a:pt x="66157" y="114894"/>
                          </a:moveTo>
                          <a:cubicBezTo>
                            <a:pt x="39207" y="114894"/>
                            <a:pt x="18352" y="92890"/>
                            <a:pt x="18352" y="67223"/>
                          </a:cubicBezTo>
                          <a:cubicBezTo>
                            <a:pt x="18352" y="41555"/>
                            <a:pt x="40426" y="19558"/>
                            <a:pt x="66157" y="19558"/>
                          </a:cubicBezTo>
                          <a:cubicBezTo>
                            <a:pt x="91825" y="19558"/>
                            <a:pt x="113899" y="41555"/>
                            <a:pt x="113899" y="67223"/>
                          </a:cubicBezTo>
                          <a:cubicBezTo>
                            <a:pt x="113899" y="92890"/>
                            <a:pt x="93044" y="114894"/>
                            <a:pt x="66157" y="114894"/>
                          </a:cubicBezTo>
                          <a:close/>
                        </a:path>
                      </a:pathLst>
                    </a:custGeom>
                    <a:solidFill>
                      <a:srgbClr val="2C5967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  <p:sp>
                  <p:nvSpPr>
                    <p:cNvPr id="173" name="Freeform: Shape 172">
                      <a:extLst>
                        <a:ext uri="{FF2B5EF4-FFF2-40B4-BE49-F238E27FC236}">
                          <a16:creationId xmlns:a16="http://schemas.microsoft.com/office/drawing/2014/main" id="{F1899DA2-A710-E806-89A5-B3EA24EB570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464648" y="3417385"/>
                      <a:ext cx="61280" cy="52560"/>
                    </a:xfrm>
                    <a:custGeom>
                      <a:avLst/>
                      <a:gdLst>
                        <a:gd name="connsiteX0" fmla="*/ 47805 w 61280"/>
                        <a:gd name="connsiteY0" fmla="*/ 0 h 52560"/>
                        <a:gd name="connsiteX1" fmla="*/ 22074 w 61280"/>
                        <a:gd name="connsiteY1" fmla="*/ 25667 h 52560"/>
                        <a:gd name="connsiteX2" fmla="*/ 13475 w 61280"/>
                        <a:gd name="connsiteY2" fmla="*/ 18339 h 52560"/>
                        <a:gd name="connsiteX3" fmla="*/ 0 w 61280"/>
                        <a:gd name="connsiteY3" fmla="*/ 31783 h 52560"/>
                        <a:gd name="connsiteX4" fmla="*/ 22074 w 61280"/>
                        <a:gd name="connsiteY4" fmla="*/ 52560 h 52560"/>
                        <a:gd name="connsiteX5" fmla="*/ 61280 w 61280"/>
                        <a:gd name="connsiteY5" fmla="*/ 13450 h 52560"/>
                        <a:gd name="connsiteX6" fmla="*/ 47805 w 61280"/>
                        <a:gd name="connsiteY6" fmla="*/ 0 h 5256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61280" h="52560">
                          <a:moveTo>
                            <a:pt x="47805" y="0"/>
                          </a:moveTo>
                          <a:lnTo>
                            <a:pt x="22074" y="25667"/>
                          </a:lnTo>
                          <a:lnTo>
                            <a:pt x="13475" y="18339"/>
                          </a:lnTo>
                          <a:lnTo>
                            <a:pt x="0" y="31783"/>
                          </a:lnTo>
                          <a:lnTo>
                            <a:pt x="22074" y="52560"/>
                          </a:lnTo>
                          <a:lnTo>
                            <a:pt x="61280" y="13450"/>
                          </a:lnTo>
                          <a:lnTo>
                            <a:pt x="47805" y="0"/>
                          </a:lnTo>
                          <a:close/>
                        </a:path>
                      </a:pathLst>
                    </a:custGeom>
                    <a:solidFill>
                      <a:srgbClr val="2C5967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  <p:sp>
                  <p:nvSpPr>
                    <p:cNvPr id="174" name="Freeform: Shape 173">
                      <a:extLst>
                        <a:ext uri="{FF2B5EF4-FFF2-40B4-BE49-F238E27FC236}">
                          <a16:creationId xmlns:a16="http://schemas.microsoft.com/office/drawing/2014/main" id="{3A601D25-F420-6F4C-898E-6039512CD85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367946" y="3267058"/>
                      <a:ext cx="85728" cy="68441"/>
                    </a:xfrm>
                    <a:custGeom>
                      <a:avLst/>
                      <a:gdLst>
                        <a:gd name="connsiteX0" fmla="*/ 37924 w 85728"/>
                        <a:gd name="connsiteY0" fmla="*/ 13443 h 68441"/>
                        <a:gd name="connsiteX1" fmla="*/ 50180 w 85728"/>
                        <a:gd name="connsiteY1" fmla="*/ 25667 h 68441"/>
                        <a:gd name="connsiteX2" fmla="*/ 0 w 85728"/>
                        <a:gd name="connsiteY2" fmla="*/ 25667 h 68441"/>
                        <a:gd name="connsiteX3" fmla="*/ 0 w 85728"/>
                        <a:gd name="connsiteY3" fmla="*/ 44000 h 68441"/>
                        <a:gd name="connsiteX4" fmla="*/ 50180 w 85728"/>
                        <a:gd name="connsiteY4" fmla="*/ 44000 h 68441"/>
                        <a:gd name="connsiteX5" fmla="*/ 37924 w 85728"/>
                        <a:gd name="connsiteY5" fmla="*/ 56224 h 68441"/>
                        <a:gd name="connsiteX6" fmla="*/ 51399 w 85728"/>
                        <a:gd name="connsiteY6" fmla="*/ 68442 h 68441"/>
                        <a:gd name="connsiteX7" fmla="*/ 85729 w 85728"/>
                        <a:gd name="connsiteY7" fmla="*/ 34221 h 68441"/>
                        <a:gd name="connsiteX8" fmla="*/ 51399 w 85728"/>
                        <a:gd name="connsiteY8" fmla="*/ 0 h 68441"/>
                        <a:gd name="connsiteX9" fmla="*/ 37924 w 85728"/>
                        <a:gd name="connsiteY9" fmla="*/ 13443 h 6844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85728" h="68441">
                          <a:moveTo>
                            <a:pt x="37924" y="13443"/>
                          </a:moveTo>
                          <a:lnTo>
                            <a:pt x="50180" y="25667"/>
                          </a:lnTo>
                          <a:lnTo>
                            <a:pt x="0" y="25667"/>
                          </a:lnTo>
                          <a:lnTo>
                            <a:pt x="0" y="44000"/>
                          </a:lnTo>
                          <a:lnTo>
                            <a:pt x="50180" y="44000"/>
                          </a:lnTo>
                          <a:lnTo>
                            <a:pt x="37924" y="56224"/>
                          </a:lnTo>
                          <a:lnTo>
                            <a:pt x="51399" y="68442"/>
                          </a:lnTo>
                          <a:lnTo>
                            <a:pt x="85729" y="34221"/>
                          </a:lnTo>
                          <a:lnTo>
                            <a:pt x="51399" y="0"/>
                          </a:lnTo>
                          <a:lnTo>
                            <a:pt x="37924" y="13443"/>
                          </a:lnTo>
                          <a:close/>
                        </a:path>
                      </a:pathLst>
                    </a:custGeom>
                    <a:solidFill>
                      <a:srgbClr val="2C5967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  <p:sp>
                  <p:nvSpPr>
                    <p:cNvPr id="175" name="Freeform: Shape 174">
                      <a:extLst>
                        <a:ext uri="{FF2B5EF4-FFF2-40B4-BE49-F238E27FC236}">
                          <a16:creationId xmlns:a16="http://schemas.microsoft.com/office/drawing/2014/main" id="{B2C2E733-FF9B-AC8D-AA97-00D34B1D893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321424" y="3317167"/>
                      <a:ext cx="84445" cy="68448"/>
                    </a:xfrm>
                    <a:custGeom>
                      <a:avLst/>
                      <a:gdLst>
                        <a:gd name="connsiteX0" fmla="*/ 47742 w 84445"/>
                        <a:gd name="connsiteY0" fmla="*/ 13443 h 68448"/>
                        <a:gd name="connsiteX1" fmla="*/ 34267 w 84445"/>
                        <a:gd name="connsiteY1" fmla="*/ 0 h 68448"/>
                        <a:gd name="connsiteX2" fmla="*/ 0 w 84445"/>
                        <a:gd name="connsiteY2" fmla="*/ 34221 h 68448"/>
                        <a:gd name="connsiteX3" fmla="*/ 34267 w 84445"/>
                        <a:gd name="connsiteY3" fmla="*/ 68449 h 68448"/>
                        <a:gd name="connsiteX4" fmla="*/ 47742 w 84445"/>
                        <a:gd name="connsiteY4" fmla="*/ 54999 h 68448"/>
                        <a:gd name="connsiteX5" fmla="*/ 36704 w 84445"/>
                        <a:gd name="connsiteY5" fmla="*/ 45226 h 68448"/>
                        <a:gd name="connsiteX6" fmla="*/ 84446 w 84445"/>
                        <a:gd name="connsiteY6" fmla="*/ 45226 h 68448"/>
                        <a:gd name="connsiteX7" fmla="*/ 84446 w 84445"/>
                        <a:gd name="connsiteY7" fmla="*/ 26887 h 68448"/>
                        <a:gd name="connsiteX8" fmla="*/ 34267 w 84445"/>
                        <a:gd name="connsiteY8" fmla="*/ 26887 h 68448"/>
                        <a:gd name="connsiteX9" fmla="*/ 47742 w 84445"/>
                        <a:gd name="connsiteY9" fmla="*/ 13443 h 6844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84445" h="68448">
                          <a:moveTo>
                            <a:pt x="47742" y="13443"/>
                          </a:moveTo>
                          <a:lnTo>
                            <a:pt x="34267" y="0"/>
                          </a:lnTo>
                          <a:lnTo>
                            <a:pt x="0" y="34221"/>
                          </a:lnTo>
                          <a:lnTo>
                            <a:pt x="34267" y="68449"/>
                          </a:lnTo>
                          <a:lnTo>
                            <a:pt x="47742" y="54999"/>
                          </a:lnTo>
                          <a:lnTo>
                            <a:pt x="36704" y="45226"/>
                          </a:lnTo>
                          <a:lnTo>
                            <a:pt x="84446" y="45226"/>
                          </a:lnTo>
                          <a:lnTo>
                            <a:pt x="84446" y="26887"/>
                          </a:lnTo>
                          <a:lnTo>
                            <a:pt x="34267" y="26887"/>
                          </a:lnTo>
                          <a:lnTo>
                            <a:pt x="47742" y="13443"/>
                          </a:lnTo>
                          <a:close/>
                        </a:path>
                      </a:pathLst>
                    </a:custGeom>
                    <a:solidFill>
                      <a:srgbClr val="2C5967"/>
                    </a:solidFill>
                    <a:ln w="641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sz="1200"/>
                    </a:p>
                  </p:txBody>
                </p:sp>
              </p:grpSp>
            </p:grpSp>
            <p:grpSp>
              <p:nvGrpSpPr>
                <p:cNvPr id="163" name="Graphic 3">
                  <a:extLst>
                    <a:ext uri="{FF2B5EF4-FFF2-40B4-BE49-F238E27FC236}">
                      <a16:creationId xmlns:a16="http://schemas.microsoft.com/office/drawing/2014/main" id="{E398ABE9-8332-E632-DBDD-E6B77BDDB0B0}"/>
                    </a:ext>
                  </a:extLst>
                </p:cNvPr>
                <p:cNvGrpSpPr/>
                <p:nvPr/>
              </p:nvGrpSpPr>
              <p:grpSpPr>
                <a:xfrm>
                  <a:off x="7256485" y="3020157"/>
                  <a:ext cx="304963" cy="485235"/>
                  <a:chOff x="7256485" y="3020157"/>
                  <a:chExt cx="304963" cy="485235"/>
                </a:xfrm>
                <a:solidFill>
                  <a:srgbClr val="2C5967"/>
                </a:solidFill>
              </p:grpSpPr>
              <p:sp>
                <p:nvSpPr>
                  <p:cNvPr id="164" name="Freeform: Shape 163">
                    <a:extLst>
                      <a:ext uri="{FF2B5EF4-FFF2-40B4-BE49-F238E27FC236}">
                        <a16:creationId xmlns:a16="http://schemas.microsoft.com/office/drawing/2014/main" id="{4D332D2C-ABAE-BCD8-9D5B-34D08F51D6EA}"/>
                      </a:ext>
                    </a:extLst>
                  </p:cNvPr>
                  <p:cNvSpPr/>
                  <p:nvPr/>
                </p:nvSpPr>
                <p:spPr>
                  <a:xfrm>
                    <a:off x="7256485" y="3020157"/>
                    <a:ext cx="282854" cy="470566"/>
                  </a:xfrm>
                  <a:custGeom>
                    <a:avLst/>
                    <a:gdLst>
                      <a:gd name="connsiteX0" fmla="*/ 18416 w 282854"/>
                      <a:gd name="connsiteY0" fmla="*/ 451014 h 470566"/>
                      <a:gd name="connsiteX1" fmla="*/ 18416 w 282854"/>
                      <a:gd name="connsiteY1" fmla="*/ 418012 h 470566"/>
                      <a:gd name="connsiteX2" fmla="*/ 20855 w 282854"/>
                      <a:gd name="connsiteY2" fmla="*/ 418012 h 470566"/>
                      <a:gd name="connsiteX3" fmla="*/ 159202 w 282854"/>
                      <a:gd name="connsiteY3" fmla="*/ 418012 h 470566"/>
                      <a:gd name="connsiteX4" fmla="*/ 161641 w 282854"/>
                      <a:gd name="connsiteY4" fmla="*/ 399679 h 470566"/>
                      <a:gd name="connsiteX5" fmla="*/ 40426 w 282854"/>
                      <a:gd name="connsiteY5" fmla="*/ 399679 h 470566"/>
                      <a:gd name="connsiteX6" fmla="*/ 49025 w 282854"/>
                      <a:gd name="connsiteY6" fmla="*/ 223672 h 470566"/>
                      <a:gd name="connsiteX7" fmla="*/ 213104 w 282854"/>
                      <a:gd name="connsiteY7" fmla="*/ 223672 h 470566"/>
                      <a:gd name="connsiteX8" fmla="*/ 217980 w 282854"/>
                      <a:gd name="connsiteY8" fmla="*/ 343455 h 470566"/>
                      <a:gd name="connsiteX9" fmla="*/ 236333 w 282854"/>
                      <a:gd name="connsiteY9" fmla="*/ 341010 h 470566"/>
                      <a:gd name="connsiteX10" fmla="*/ 231456 w 282854"/>
                      <a:gd name="connsiteY10" fmla="*/ 224898 h 470566"/>
                      <a:gd name="connsiteX11" fmla="*/ 232675 w 282854"/>
                      <a:gd name="connsiteY11" fmla="*/ 224898 h 470566"/>
                      <a:gd name="connsiteX12" fmla="*/ 253530 w 282854"/>
                      <a:gd name="connsiteY12" fmla="*/ 204120 h 470566"/>
                      <a:gd name="connsiteX13" fmla="*/ 253530 w 282854"/>
                      <a:gd name="connsiteY13" fmla="*/ 106340 h 470566"/>
                      <a:gd name="connsiteX14" fmla="*/ 188591 w 282854"/>
                      <a:gd name="connsiteY14" fmla="*/ 106340 h 470566"/>
                      <a:gd name="connsiteX15" fmla="*/ 188591 w 282854"/>
                      <a:gd name="connsiteY15" fmla="*/ 143006 h 470566"/>
                      <a:gd name="connsiteX16" fmla="*/ 162859 w 282854"/>
                      <a:gd name="connsiteY16" fmla="*/ 143006 h 470566"/>
                      <a:gd name="connsiteX17" fmla="*/ 162859 w 282854"/>
                      <a:gd name="connsiteY17" fmla="*/ 106340 h 470566"/>
                      <a:gd name="connsiteX18" fmla="*/ 139631 w 282854"/>
                      <a:gd name="connsiteY18" fmla="*/ 106340 h 470566"/>
                      <a:gd name="connsiteX19" fmla="*/ 139631 w 282854"/>
                      <a:gd name="connsiteY19" fmla="*/ 69668 h 470566"/>
                      <a:gd name="connsiteX20" fmla="*/ 189811 w 282854"/>
                      <a:gd name="connsiteY20" fmla="*/ 69668 h 470566"/>
                      <a:gd name="connsiteX21" fmla="*/ 191030 w 282854"/>
                      <a:gd name="connsiteY21" fmla="*/ 70893 h 470566"/>
                      <a:gd name="connsiteX22" fmla="*/ 211884 w 282854"/>
                      <a:gd name="connsiteY22" fmla="*/ 90445 h 470566"/>
                      <a:gd name="connsiteX23" fmla="*/ 282855 w 282854"/>
                      <a:gd name="connsiteY23" fmla="*/ 90445 h 470566"/>
                      <a:gd name="connsiteX24" fmla="*/ 262064 w 282854"/>
                      <a:gd name="connsiteY24" fmla="*/ 56224 h 470566"/>
                      <a:gd name="connsiteX25" fmla="*/ 282855 w 282854"/>
                      <a:gd name="connsiteY25" fmla="*/ 20778 h 470566"/>
                      <a:gd name="connsiteX26" fmla="*/ 210665 w 282854"/>
                      <a:gd name="connsiteY26" fmla="*/ 20778 h 470566"/>
                      <a:gd name="connsiteX27" fmla="*/ 189811 w 282854"/>
                      <a:gd name="connsiteY27" fmla="*/ 0 h 470566"/>
                      <a:gd name="connsiteX28" fmla="*/ 140850 w 282854"/>
                      <a:gd name="connsiteY28" fmla="*/ 0 h 470566"/>
                      <a:gd name="connsiteX29" fmla="*/ 133471 w 282854"/>
                      <a:gd name="connsiteY29" fmla="*/ 0 h 470566"/>
                      <a:gd name="connsiteX30" fmla="*/ 121278 w 282854"/>
                      <a:gd name="connsiteY30" fmla="*/ 0 h 470566"/>
                      <a:gd name="connsiteX31" fmla="*/ 121278 w 282854"/>
                      <a:gd name="connsiteY31" fmla="*/ 107559 h 470566"/>
                      <a:gd name="connsiteX32" fmla="*/ 97985 w 282854"/>
                      <a:gd name="connsiteY32" fmla="*/ 107559 h 470566"/>
                      <a:gd name="connsiteX33" fmla="*/ 97985 w 282854"/>
                      <a:gd name="connsiteY33" fmla="*/ 144225 h 470566"/>
                      <a:gd name="connsiteX34" fmla="*/ 72254 w 282854"/>
                      <a:gd name="connsiteY34" fmla="*/ 144225 h 470566"/>
                      <a:gd name="connsiteX35" fmla="*/ 72254 w 282854"/>
                      <a:gd name="connsiteY35" fmla="*/ 107559 h 470566"/>
                      <a:gd name="connsiteX36" fmla="*/ 7380 w 282854"/>
                      <a:gd name="connsiteY36" fmla="*/ 107559 h 470566"/>
                      <a:gd name="connsiteX37" fmla="*/ 7380 w 282854"/>
                      <a:gd name="connsiteY37" fmla="*/ 205339 h 470566"/>
                      <a:gd name="connsiteX38" fmla="*/ 28170 w 282854"/>
                      <a:gd name="connsiteY38" fmla="*/ 226117 h 470566"/>
                      <a:gd name="connsiteX39" fmla="*/ 30608 w 282854"/>
                      <a:gd name="connsiteY39" fmla="*/ 226117 h 470566"/>
                      <a:gd name="connsiteX40" fmla="*/ 22074 w 282854"/>
                      <a:gd name="connsiteY40" fmla="*/ 400899 h 470566"/>
                      <a:gd name="connsiteX41" fmla="*/ 0 w 282854"/>
                      <a:gd name="connsiteY41" fmla="*/ 400899 h 470566"/>
                      <a:gd name="connsiteX42" fmla="*/ 0 w 282854"/>
                      <a:gd name="connsiteY42" fmla="*/ 470566 h 470566"/>
                      <a:gd name="connsiteX43" fmla="*/ 176335 w 282854"/>
                      <a:gd name="connsiteY43" fmla="*/ 470566 h 470566"/>
                      <a:gd name="connsiteX44" fmla="*/ 165362 w 282854"/>
                      <a:gd name="connsiteY44" fmla="*/ 452233 h 470566"/>
                      <a:gd name="connsiteX45" fmla="*/ 18416 w 282854"/>
                      <a:gd name="connsiteY45" fmla="*/ 452233 h 470566"/>
                      <a:gd name="connsiteX46" fmla="*/ 18416 w 282854"/>
                      <a:gd name="connsiteY46" fmla="*/ 451014 h 470566"/>
                      <a:gd name="connsiteX47" fmla="*/ 249808 w 282854"/>
                      <a:gd name="connsiteY47" fmla="*/ 36666 h 470566"/>
                      <a:gd name="connsiteX48" fmla="*/ 240054 w 282854"/>
                      <a:gd name="connsiteY48" fmla="*/ 53780 h 470566"/>
                      <a:gd name="connsiteX49" fmla="*/ 249808 w 282854"/>
                      <a:gd name="connsiteY49" fmla="*/ 69668 h 470566"/>
                      <a:gd name="connsiteX50" fmla="*/ 211884 w 282854"/>
                      <a:gd name="connsiteY50" fmla="*/ 69668 h 470566"/>
                      <a:gd name="connsiteX51" fmla="*/ 210665 w 282854"/>
                      <a:gd name="connsiteY51" fmla="*/ 68449 h 470566"/>
                      <a:gd name="connsiteX52" fmla="*/ 210665 w 282854"/>
                      <a:gd name="connsiteY52" fmla="*/ 36666 h 470566"/>
                      <a:gd name="connsiteX53" fmla="*/ 249808 w 282854"/>
                      <a:gd name="connsiteY53" fmla="*/ 36666 h 470566"/>
                      <a:gd name="connsiteX54" fmla="*/ 189811 w 282854"/>
                      <a:gd name="connsiteY54" fmla="*/ 15888 h 470566"/>
                      <a:gd name="connsiteX55" fmla="*/ 192249 w 282854"/>
                      <a:gd name="connsiteY55" fmla="*/ 18333 h 470566"/>
                      <a:gd name="connsiteX56" fmla="*/ 192249 w 282854"/>
                      <a:gd name="connsiteY56" fmla="*/ 48890 h 470566"/>
                      <a:gd name="connsiteX57" fmla="*/ 191030 w 282854"/>
                      <a:gd name="connsiteY57" fmla="*/ 48890 h 470566"/>
                      <a:gd name="connsiteX58" fmla="*/ 140850 w 282854"/>
                      <a:gd name="connsiteY58" fmla="*/ 48890 h 470566"/>
                      <a:gd name="connsiteX59" fmla="*/ 140850 w 282854"/>
                      <a:gd name="connsiteY59" fmla="*/ 15888 h 470566"/>
                      <a:gd name="connsiteX60" fmla="*/ 189811 w 282854"/>
                      <a:gd name="connsiteY60" fmla="*/ 15888 h 470566"/>
                      <a:gd name="connsiteX61" fmla="*/ 28170 w 282854"/>
                      <a:gd name="connsiteY61" fmla="*/ 205339 h 470566"/>
                      <a:gd name="connsiteX62" fmla="*/ 25732 w 282854"/>
                      <a:gd name="connsiteY62" fmla="*/ 202894 h 470566"/>
                      <a:gd name="connsiteX63" fmla="*/ 25732 w 282854"/>
                      <a:gd name="connsiteY63" fmla="*/ 123447 h 470566"/>
                      <a:gd name="connsiteX64" fmla="*/ 53902 w 282854"/>
                      <a:gd name="connsiteY64" fmla="*/ 123447 h 470566"/>
                      <a:gd name="connsiteX65" fmla="*/ 53902 w 282854"/>
                      <a:gd name="connsiteY65" fmla="*/ 160120 h 470566"/>
                      <a:gd name="connsiteX66" fmla="*/ 116337 w 282854"/>
                      <a:gd name="connsiteY66" fmla="*/ 160120 h 470566"/>
                      <a:gd name="connsiteX67" fmla="*/ 116337 w 282854"/>
                      <a:gd name="connsiteY67" fmla="*/ 123447 h 470566"/>
                      <a:gd name="connsiteX68" fmla="*/ 144507 w 282854"/>
                      <a:gd name="connsiteY68" fmla="*/ 123447 h 470566"/>
                      <a:gd name="connsiteX69" fmla="*/ 144507 w 282854"/>
                      <a:gd name="connsiteY69" fmla="*/ 160120 h 470566"/>
                      <a:gd name="connsiteX70" fmla="*/ 208163 w 282854"/>
                      <a:gd name="connsiteY70" fmla="*/ 160120 h 470566"/>
                      <a:gd name="connsiteX71" fmla="*/ 208163 w 282854"/>
                      <a:gd name="connsiteY71" fmla="*/ 123447 h 470566"/>
                      <a:gd name="connsiteX72" fmla="*/ 236333 w 282854"/>
                      <a:gd name="connsiteY72" fmla="*/ 123447 h 470566"/>
                      <a:gd name="connsiteX73" fmla="*/ 236333 w 282854"/>
                      <a:gd name="connsiteY73" fmla="*/ 202894 h 470566"/>
                      <a:gd name="connsiteX74" fmla="*/ 233894 w 282854"/>
                      <a:gd name="connsiteY74" fmla="*/ 205339 h 470566"/>
                      <a:gd name="connsiteX75" fmla="*/ 231456 w 282854"/>
                      <a:gd name="connsiteY75" fmla="*/ 205339 h 470566"/>
                      <a:gd name="connsiteX76" fmla="*/ 30608 w 282854"/>
                      <a:gd name="connsiteY76" fmla="*/ 205339 h 470566"/>
                      <a:gd name="connsiteX77" fmla="*/ 28170 w 282854"/>
                      <a:gd name="connsiteY77" fmla="*/ 205339 h 4705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</a:cxnLst>
                    <a:rect l="l" t="t" r="r" b="b"/>
                    <a:pathLst>
                      <a:path w="282854" h="470566">
                        <a:moveTo>
                          <a:pt x="18416" y="451014"/>
                        </a:moveTo>
                        <a:lnTo>
                          <a:pt x="18416" y="418012"/>
                        </a:lnTo>
                        <a:lnTo>
                          <a:pt x="20855" y="418012"/>
                        </a:lnTo>
                        <a:lnTo>
                          <a:pt x="159202" y="418012"/>
                        </a:lnTo>
                        <a:cubicBezTo>
                          <a:pt x="159202" y="411903"/>
                          <a:pt x="160421" y="405788"/>
                          <a:pt x="161641" y="399679"/>
                        </a:cubicBezTo>
                        <a:lnTo>
                          <a:pt x="40426" y="399679"/>
                        </a:lnTo>
                        <a:lnTo>
                          <a:pt x="49025" y="223672"/>
                        </a:lnTo>
                        <a:lnTo>
                          <a:pt x="213104" y="223672"/>
                        </a:lnTo>
                        <a:lnTo>
                          <a:pt x="217980" y="343455"/>
                        </a:lnTo>
                        <a:cubicBezTo>
                          <a:pt x="224141" y="342229"/>
                          <a:pt x="230236" y="341010"/>
                          <a:pt x="236333" y="341010"/>
                        </a:cubicBezTo>
                        <a:lnTo>
                          <a:pt x="231456" y="224898"/>
                        </a:lnTo>
                        <a:lnTo>
                          <a:pt x="232675" y="224898"/>
                        </a:lnTo>
                        <a:cubicBezTo>
                          <a:pt x="243712" y="224898"/>
                          <a:pt x="253530" y="215118"/>
                          <a:pt x="253530" y="204120"/>
                        </a:cubicBezTo>
                        <a:lnTo>
                          <a:pt x="253530" y="106340"/>
                        </a:lnTo>
                        <a:lnTo>
                          <a:pt x="188591" y="106340"/>
                        </a:lnTo>
                        <a:lnTo>
                          <a:pt x="188591" y="143006"/>
                        </a:lnTo>
                        <a:lnTo>
                          <a:pt x="162859" y="143006"/>
                        </a:lnTo>
                        <a:lnTo>
                          <a:pt x="162859" y="106340"/>
                        </a:lnTo>
                        <a:lnTo>
                          <a:pt x="139631" y="106340"/>
                        </a:lnTo>
                        <a:lnTo>
                          <a:pt x="139631" y="69668"/>
                        </a:lnTo>
                        <a:lnTo>
                          <a:pt x="189811" y="69668"/>
                        </a:lnTo>
                        <a:cubicBezTo>
                          <a:pt x="191030" y="69668"/>
                          <a:pt x="191030" y="70893"/>
                          <a:pt x="191030" y="70893"/>
                        </a:cubicBezTo>
                        <a:cubicBezTo>
                          <a:pt x="191030" y="81892"/>
                          <a:pt x="200847" y="90445"/>
                          <a:pt x="211884" y="90445"/>
                        </a:cubicBezTo>
                        <a:lnTo>
                          <a:pt x="282855" y="90445"/>
                        </a:lnTo>
                        <a:lnTo>
                          <a:pt x="262064" y="56224"/>
                        </a:lnTo>
                        <a:lnTo>
                          <a:pt x="282855" y="20778"/>
                        </a:lnTo>
                        <a:lnTo>
                          <a:pt x="210665" y="20778"/>
                        </a:lnTo>
                        <a:cubicBezTo>
                          <a:pt x="210665" y="9779"/>
                          <a:pt x="200847" y="0"/>
                          <a:pt x="189811" y="0"/>
                        </a:cubicBezTo>
                        <a:lnTo>
                          <a:pt x="140850" y="0"/>
                        </a:lnTo>
                        <a:lnTo>
                          <a:pt x="133471" y="0"/>
                        </a:lnTo>
                        <a:lnTo>
                          <a:pt x="121278" y="0"/>
                        </a:lnTo>
                        <a:lnTo>
                          <a:pt x="121278" y="107559"/>
                        </a:lnTo>
                        <a:lnTo>
                          <a:pt x="97985" y="107559"/>
                        </a:lnTo>
                        <a:lnTo>
                          <a:pt x="97985" y="144225"/>
                        </a:lnTo>
                        <a:lnTo>
                          <a:pt x="72254" y="144225"/>
                        </a:lnTo>
                        <a:lnTo>
                          <a:pt x="72254" y="107559"/>
                        </a:lnTo>
                        <a:lnTo>
                          <a:pt x="7380" y="107559"/>
                        </a:lnTo>
                        <a:lnTo>
                          <a:pt x="7380" y="205339"/>
                        </a:lnTo>
                        <a:cubicBezTo>
                          <a:pt x="7380" y="216337"/>
                          <a:pt x="17133" y="226117"/>
                          <a:pt x="28170" y="226117"/>
                        </a:cubicBezTo>
                        <a:lnTo>
                          <a:pt x="30608" y="226117"/>
                        </a:lnTo>
                        <a:lnTo>
                          <a:pt x="22074" y="400899"/>
                        </a:lnTo>
                        <a:lnTo>
                          <a:pt x="0" y="400899"/>
                        </a:lnTo>
                        <a:lnTo>
                          <a:pt x="0" y="470566"/>
                        </a:lnTo>
                        <a:lnTo>
                          <a:pt x="176335" y="470566"/>
                        </a:lnTo>
                        <a:cubicBezTo>
                          <a:pt x="171458" y="464457"/>
                          <a:pt x="167801" y="458349"/>
                          <a:pt x="165362" y="452233"/>
                        </a:cubicBezTo>
                        <a:lnTo>
                          <a:pt x="18416" y="452233"/>
                        </a:lnTo>
                        <a:lnTo>
                          <a:pt x="18416" y="451014"/>
                        </a:lnTo>
                        <a:close/>
                        <a:moveTo>
                          <a:pt x="249808" y="36666"/>
                        </a:moveTo>
                        <a:lnTo>
                          <a:pt x="240054" y="53780"/>
                        </a:lnTo>
                        <a:lnTo>
                          <a:pt x="249808" y="69668"/>
                        </a:lnTo>
                        <a:lnTo>
                          <a:pt x="211884" y="69668"/>
                        </a:lnTo>
                        <a:cubicBezTo>
                          <a:pt x="210665" y="69668"/>
                          <a:pt x="210665" y="68449"/>
                          <a:pt x="210665" y="68449"/>
                        </a:cubicBezTo>
                        <a:lnTo>
                          <a:pt x="210665" y="36666"/>
                        </a:lnTo>
                        <a:lnTo>
                          <a:pt x="249808" y="36666"/>
                        </a:lnTo>
                        <a:close/>
                        <a:moveTo>
                          <a:pt x="189811" y="15888"/>
                        </a:moveTo>
                        <a:cubicBezTo>
                          <a:pt x="191030" y="15888"/>
                          <a:pt x="192249" y="17114"/>
                          <a:pt x="192249" y="18333"/>
                        </a:cubicBezTo>
                        <a:lnTo>
                          <a:pt x="192249" y="48890"/>
                        </a:lnTo>
                        <a:lnTo>
                          <a:pt x="191030" y="48890"/>
                        </a:lnTo>
                        <a:lnTo>
                          <a:pt x="140850" y="48890"/>
                        </a:lnTo>
                        <a:lnTo>
                          <a:pt x="140850" y="15888"/>
                        </a:lnTo>
                        <a:lnTo>
                          <a:pt x="189811" y="15888"/>
                        </a:lnTo>
                        <a:close/>
                        <a:moveTo>
                          <a:pt x="28170" y="205339"/>
                        </a:moveTo>
                        <a:cubicBezTo>
                          <a:pt x="26951" y="205339"/>
                          <a:pt x="25732" y="204120"/>
                          <a:pt x="25732" y="202894"/>
                        </a:cubicBezTo>
                        <a:lnTo>
                          <a:pt x="25732" y="123447"/>
                        </a:lnTo>
                        <a:lnTo>
                          <a:pt x="53902" y="123447"/>
                        </a:lnTo>
                        <a:lnTo>
                          <a:pt x="53902" y="160120"/>
                        </a:lnTo>
                        <a:lnTo>
                          <a:pt x="116337" y="160120"/>
                        </a:lnTo>
                        <a:lnTo>
                          <a:pt x="116337" y="123447"/>
                        </a:lnTo>
                        <a:lnTo>
                          <a:pt x="144507" y="123447"/>
                        </a:lnTo>
                        <a:lnTo>
                          <a:pt x="144507" y="160120"/>
                        </a:lnTo>
                        <a:lnTo>
                          <a:pt x="208163" y="160120"/>
                        </a:lnTo>
                        <a:lnTo>
                          <a:pt x="208163" y="123447"/>
                        </a:lnTo>
                        <a:lnTo>
                          <a:pt x="236333" y="123447"/>
                        </a:lnTo>
                        <a:lnTo>
                          <a:pt x="236333" y="202894"/>
                        </a:lnTo>
                        <a:cubicBezTo>
                          <a:pt x="236333" y="204120"/>
                          <a:pt x="235113" y="205339"/>
                          <a:pt x="233894" y="205339"/>
                        </a:cubicBezTo>
                        <a:lnTo>
                          <a:pt x="231456" y="205339"/>
                        </a:lnTo>
                        <a:lnTo>
                          <a:pt x="30608" y="205339"/>
                        </a:lnTo>
                        <a:lnTo>
                          <a:pt x="28170" y="205339"/>
                        </a:ln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65" name="Freeform: Shape 164">
                    <a:extLst>
                      <a:ext uri="{FF2B5EF4-FFF2-40B4-BE49-F238E27FC236}">
                        <a16:creationId xmlns:a16="http://schemas.microsoft.com/office/drawing/2014/main" id="{A8B8BCF5-7288-36DD-A030-B91C6BA68BE8}"/>
                      </a:ext>
                    </a:extLst>
                  </p:cNvPr>
                  <p:cNvSpPr/>
                  <p:nvPr/>
                </p:nvSpPr>
                <p:spPr>
                  <a:xfrm>
                    <a:off x="7429163" y="3373391"/>
                    <a:ext cx="132286" cy="132000"/>
                  </a:xfrm>
                  <a:custGeom>
                    <a:avLst/>
                    <a:gdLst>
                      <a:gd name="connsiteX0" fmla="*/ 66094 w 132286"/>
                      <a:gd name="connsiteY0" fmla="*/ 0 h 132000"/>
                      <a:gd name="connsiteX1" fmla="*/ 0 w 132286"/>
                      <a:gd name="connsiteY1" fmla="*/ 66004 h 132000"/>
                      <a:gd name="connsiteX2" fmla="*/ 66094 w 132286"/>
                      <a:gd name="connsiteY2" fmla="*/ 132001 h 132000"/>
                      <a:gd name="connsiteX3" fmla="*/ 132251 w 132286"/>
                      <a:gd name="connsiteY3" fmla="*/ 66004 h 132000"/>
                      <a:gd name="connsiteX4" fmla="*/ 66094 w 132286"/>
                      <a:gd name="connsiteY4" fmla="*/ 0 h 132000"/>
                      <a:gd name="connsiteX5" fmla="*/ 66094 w 132286"/>
                      <a:gd name="connsiteY5" fmla="*/ 114894 h 132000"/>
                      <a:gd name="connsiteX6" fmla="*/ 18352 w 132286"/>
                      <a:gd name="connsiteY6" fmla="*/ 67223 h 132000"/>
                      <a:gd name="connsiteX7" fmla="*/ 66094 w 132286"/>
                      <a:gd name="connsiteY7" fmla="*/ 19558 h 132000"/>
                      <a:gd name="connsiteX8" fmla="*/ 113899 w 132286"/>
                      <a:gd name="connsiteY8" fmla="*/ 67223 h 132000"/>
                      <a:gd name="connsiteX9" fmla="*/ 66094 w 132286"/>
                      <a:gd name="connsiteY9" fmla="*/ 114894 h 132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32286" h="132000">
                        <a:moveTo>
                          <a:pt x="66094" y="0"/>
                        </a:moveTo>
                        <a:cubicBezTo>
                          <a:pt x="29389" y="0"/>
                          <a:pt x="0" y="29331"/>
                          <a:pt x="0" y="66004"/>
                        </a:cubicBezTo>
                        <a:cubicBezTo>
                          <a:pt x="0" y="102669"/>
                          <a:pt x="29389" y="132001"/>
                          <a:pt x="66094" y="132001"/>
                        </a:cubicBezTo>
                        <a:cubicBezTo>
                          <a:pt x="102862" y="132001"/>
                          <a:pt x="132251" y="102669"/>
                          <a:pt x="132251" y="66004"/>
                        </a:cubicBezTo>
                        <a:cubicBezTo>
                          <a:pt x="133471" y="30557"/>
                          <a:pt x="102862" y="0"/>
                          <a:pt x="66094" y="0"/>
                        </a:cubicBezTo>
                        <a:close/>
                        <a:moveTo>
                          <a:pt x="66094" y="114894"/>
                        </a:moveTo>
                        <a:cubicBezTo>
                          <a:pt x="39207" y="114894"/>
                          <a:pt x="18352" y="92890"/>
                          <a:pt x="18352" y="67223"/>
                        </a:cubicBezTo>
                        <a:cubicBezTo>
                          <a:pt x="18352" y="41555"/>
                          <a:pt x="40426" y="19558"/>
                          <a:pt x="66094" y="19558"/>
                        </a:cubicBezTo>
                        <a:cubicBezTo>
                          <a:pt x="91825" y="19558"/>
                          <a:pt x="113899" y="41555"/>
                          <a:pt x="113899" y="67223"/>
                        </a:cubicBezTo>
                        <a:cubicBezTo>
                          <a:pt x="113899" y="92890"/>
                          <a:pt x="93044" y="114894"/>
                          <a:pt x="66094" y="114894"/>
                        </a:cubicBez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66" name="Freeform: Shape 165">
                    <a:extLst>
                      <a:ext uri="{FF2B5EF4-FFF2-40B4-BE49-F238E27FC236}">
                        <a16:creationId xmlns:a16="http://schemas.microsoft.com/office/drawing/2014/main" id="{DE92A678-489D-8DC1-A0F1-DCEF993E79F5}"/>
                      </a:ext>
                    </a:extLst>
                  </p:cNvPr>
                  <p:cNvSpPr/>
                  <p:nvPr/>
                </p:nvSpPr>
                <p:spPr>
                  <a:xfrm>
                    <a:off x="7464648" y="3417385"/>
                    <a:ext cx="61280" cy="52560"/>
                  </a:xfrm>
                  <a:custGeom>
                    <a:avLst/>
                    <a:gdLst>
                      <a:gd name="connsiteX0" fmla="*/ 47805 w 61280"/>
                      <a:gd name="connsiteY0" fmla="*/ 0 h 52560"/>
                      <a:gd name="connsiteX1" fmla="*/ 22074 w 61280"/>
                      <a:gd name="connsiteY1" fmla="*/ 25667 h 52560"/>
                      <a:gd name="connsiteX2" fmla="*/ 13475 w 61280"/>
                      <a:gd name="connsiteY2" fmla="*/ 18339 h 52560"/>
                      <a:gd name="connsiteX3" fmla="*/ 0 w 61280"/>
                      <a:gd name="connsiteY3" fmla="*/ 31783 h 52560"/>
                      <a:gd name="connsiteX4" fmla="*/ 22074 w 61280"/>
                      <a:gd name="connsiteY4" fmla="*/ 52560 h 52560"/>
                      <a:gd name="connsiteX5" fmla="*/ 61280 w 61280"/>
                      <a:gd name="connsiteY5" fmla="*/ 13450 h 52560"/>
                      <a:gd name="connsiteX6" fmla="*/ 47805 w 61280"/>
                      <a:gd name="connsiteY6" fmla="*/ 0 h 525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1280" h="52560">
                        <a:moveTo>
                          <a:pt x="47805" y="0"/>
                        </a:moveTo>
                        <a:lnTo>
                          <a:pt x="22074" y="25667"/>
                        </a:lnTo>
                        <a:lnTo>
                          <a:pt x="13475" y="18339"/>
                        </a:lnTo>
                        <a:lnTo>
                          <a:pt x="0" y="31783"/>
                        </a:lnTo>
                        <a:lnTo>
                          <a:pt x="22074" y="52560"/>
                        </a:lnTo>
                        <a:lnTo>
                          <a:pt x="61280" y="13450"/>
                        </a:lnTo>
                        <a:lnTo>
                          <a:pt x="47805" y="0"/>
                        </a:ln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67" name="Freeform: Shape 166">
                    <a:extLst>
                      <a:ext uri="{FF2B5EF4-FFF2-40B4-BE49-F238E27FC236}">
                        <a16:creationId xmlns:a16="http://schemas.microsoft.com/office/drawing/2014/main" id="{6AB65BA9-E861-41FA-3508-83A42E3317C2}"/>
                      </a:ext>
                    </a:extLst>
                  </p:cNvPr>
                  <p:cNvSpPr/>
                  <p:nvPr/>
                </p:nvSpPr>
                <p:spPr>
                  <a:xfrm>
                    <a:off x="7367946" y="3267058"/>
                    <a:ext cx="85728" cy="68441"/>
                  </a:xfrm>
                  <a:custGeom>
                    <a:avLst/>
                    <a:gdLst>
                      <a:gd name="connsiteX0" fmla="*/ 37924 w 85728"/>
                      <a:gd name="connsiteY0" fmla="*/ 13443 h 68441"/>
                      <a:gd name="connsiteX1" fmla="*/ 50180 w 85728"/>
                      <a:gd name="connsiteY1" fmla="*/ 25667 h 68441"/>
                      <a:gd name="connsiteX2" fmla="*/ 0 w 85728"/>
                      <a:gd name="connsiteY2" fmla="*/ 25667 h 68441"/>
                      <a:gd name="connsiteX3" fmla="*/ 0 w 85728"/>
                      <a:gd name="connsiteY3" fmla="*/ 44000 h 68441"/>
                      <a:gd name="connsiteX4" fmla="*/ 50180 w 85728"/>
                      <a:gd name="connsiteY4" fmla="*/ 44000 h 68441"/>
                      <a:gd name="connsiteX5" fmla="*/ 37924 w 85728"/>
                      <a:gd name="connsiteY5" fmla="*/ 56224 h 68441"/>
                      <a:gd name="connsiteX6" fmla="*/ 51399 w 85728"/>
                      <a:gd name="connsiteY6" fmla="*/ 68442 h 68441"/>
                      <a:gd name="connsiteX7" fmla="*/ 85729 w 85728"/>
                      <a:gd name="connsiteY7" fmla="*/ 34221 h 68441"/>
                      <a:gd name="connsiteX8" fmla="*/ 51399 w 85728"/>
                      <a:gd name="connsiteY8" fmla="*/ 0 h 68441"/>
                      <a:gd name="connsiteX9" fmla="*/ 37924 w 85728"/>
                      <a:gd name="connsiteY9" fmla="*/ 13443 h 684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85728" h="68441">
                        <a:moveTo>
                          <a:pt x="37924" y="13443"/>
                        </a:moveTo>
                        <a:lnTo>
                          <a:pt x="50180" y="25667"/>
                        </a:lnTo>
                        <a:lnTo>
                          <a:pt x="0" y="25667"/>
                        </a:lnTo>
                        <a:lnTo>
                          <a:pt x="0" y="44000"/>
                        </a:lnTo>
                        <a:lnTo>
                          <a:pt x="50180" y="44000"/>
                        </a:lnTo>
                        <a:lnTo>
                          <a:pt x="37924" y="56224"/>
                        </a:lnTo>
                        <a:lnTo>
                          <a:pt x="51399" y="68442"/>
                        </a:lnTo>
                        <a:lnTo>
                          <a:pt x="85729" y="34221"/>
                        </a:lnTo>
                        <a:lnTo>
                          <a:pt x="51399" y="0"/>
                        </a:lnTo>
                        <a:lnTo>
                          <a:pt x="37924" y="13443"/>
                        </a:ln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168" name="Freeform: Shape 167">
                    <a:extLst>
                      <a:ext uri="{FF2B5EF4-FFF2-40B4-BE49-F238E27FC236}">
                        <a16:creationId xmlns:a16="http://schemas.microsoft.com/office/drawing/2014/main" id="{E70895AD-644C-C9CF-11F2-355DB991BCDB}"/>
                      </a:ext>
                    </a:extLst>
                  </p:cNvPr>
                  <p:cNvSpPr/>
                  <p:nvPr/>
                </p:nvSpPr>
                <p:spPr>
                  <a:xfrm>
                    <a:off x="7321424" y="3317167"/>
                    <a:ext cx="84445" cy="68448"/>
                  </a:xfrm>
                  <a:custGeom>
                    <a:avLst/>
                    <a:gdLst>
                      <a:gd name="connsiteX0" fmla="*/ 47742 w 84445"/>
                      <a:gd name="connsiteY0" fmla="*/ 13443 h 68448"/>
                      <a:gd name="connsiteX1" fmla="*/ 34267 w 84445"/>
                      <a:gd name="connsiteY1" fmla="*/ 0 h 68448"/>
                      <a:gd name="connsiteX2" fmla="*/ 0 w 84445"/>
                      <a:gd name="connsiteY2" fmla="*/ 34221 h 68448"/>
                      <a:gd name="connsiteX3" fmla="*/ 34267 w 84445"/>
                      <a:gd name="connsiteY3" fmla="*/ 68449 h 68448"/>
                      <a:gd name="connsiteX4" fmla="*/ 47742 w 84445"/>
                      <a:gd name="connsiteY4" fmla="*/ 54999 h 68448"/>
                      <a:gd name="connsiteX5" fmla="*/ 36704 w 84445"/>
                      <a:gd name="connsiteY5" fmla="*/ 45226 h 68448"/>
                      <a:gd name="connsiteX6" fmla="*/ 84446 w 84445"/>
                      <a:gd name="connsiteY6" fmla="*/ 45226 h 68448"/>
                      <a:gd name="connsiteX7" fmla="*/ 84446 w 84445"/>
                      <a:gd name="connsiteY7" fmla="*/ 26887 h 68448"/>
                      <a:gd name="connsiteX8" fmla="*/ 34267 w 84445"/>
                      <a:gd name="connsiteY8" fmla="*/ 26887 h 68448"/>
                      <a:gd name="connsiteX9" fmla="*/ 47742 w 84445"/>
                      <a:gd name="connsiteY9" fmla="*/ 13443 h 684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84445" h="68448">
                        <a:moveTo>
                          <a:pt x="47742" y="13443"/>
                        </a:moveTo>
                        <a:lnTo>
                          <a:pt x="34267" y="0"/>
                        </a:lnTo>
                        <a:lnTo>
                          <a:pt x="0" y="34221"/>
                        </a:lnTo>
                        <a:lnTo>
                          <a:pt x="34267" y="68449"/>
                        </a:lnTo>
                        <a:lnTo>
                          <a:pt x="47742" y="54999"/>
                        </a:lnTo>
                        <a:lnTo>
                          <a:pt x="36704" y="45226"/>
                        </a:lnTo>
                        <a:lnTo>
                          <a:pt x="84446" y="45226"/>
                        </a:lnTo>
                        <a:lnTo>
                          <a:pt x="84446" y="26887"/>
                        </a:lnTo>
                        <a:lnTo>
                          <a:pt x="34267" y="26887"/>
                        </a:lnTo>
                        <a:lnTo>
                          <a:pt x="47742" y="13443"/>
                        </a:lnTo>
                        <a:close/>
                      </a:path>
                    </a:pathLst>
                  </a:custGeom>
                  <a:solidFill>
                    <a:srgbClr val="2C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</p:grpSp>
          <p:sp>
            <p:nvSpPr>
              <p:cNvPr id="161" name="TextBox 160">
                <a:extLst>
                  <a:ext uri="{FF2B5EF4-FFF2-40B4-BE49-F238E27FC236}">
                    <a16:creationId xmlns:a16="http://schemas.microsoft.com/office/drawing/2014/main" id="{F1A5B768-D3C1-E8F8-795F-C898335FCC51}"/>
                  </a:ext>
                </a:extLst>
              </p:cNvPr>
              <p:cNvSpPr txBox="1"/>
              <p:nvPr/>
            </p:nvSpPr>
            <p:spPr>
              <a:xfrm>
                <a:off x="7141624" y="3478351"/>
                <a:ext cx="649409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Bastion</a:t>
                </a:r>
              </a:p>
            </p:txBody>
          </p:sp>
        </p:grpSp>
        <p:grpSp>
          <p:nvGrpSpPr>
            <p:cNvPr id="310" name="Graphic 2">
              <a:extLst>
                <a:ext uri="{FF2B5EF4-FFF2-40B4-BE49-F238E27FC236}">
                  <a16:creationId xmlns:a16="http://schemas.microsoft.com/office/drawing/2014/main" id="{A09A1410-BB2C-2F9D-39BF-A303DDA097D8}"/>
                </a:ext>
              </a:extLst>
            </p:cNvPr>
            <p:cNvGrpSpPr/>
            <p:nvPr/>
          </p:nvGrpSpPr>
          <p:grpSpPr>
            <a:xfrm>
              <a:off x="8316603" y="3312524"/>
              <a:ext cx="1021946" cy="934890"/>
              <a:chOff x="5928488" y="2363804"/>
              <a:chExt cx="1021946" cy="934890"/>
            </a:xfrm>
          </p:grpSpPr>
          <p:grpSp>
            <p:nvGrpSpPr>
              <p:cNvPr id="311" name="Graphic 2">
                <a:extLst>
                  <a:ext uri="{FF2B5EF4-FFF2-40B4-BE49-F238E27FC236}">
                    <a16:creationId xmlns:a16="http://schemas.microsoft.com/office/drawing/2014/main" id="{16E29999-3FE9-07EA-5256-46A6BD61FDFB}"/>
                  </a:ext>
                </a:extLst>
              </p:cNvPr>
              <p:cNvGrpSpPr/>
              <p:nvPr/>
            </p:nvGrpSpPr>
            <p:grpSpPr>
              <a:xfrm>
                <a:off x="6248194" y="2363804"/>
                <a:ext cx="383804" cy="513347"/>
                <a:chOff x="6248194" y="2363804"/>
                <a:chExt cx="383804" cy="513347"/>
              </a:xfrm>
            </p:grpSpPr>
            <p:grpSp>
              <p:nvGrpSpPr>
                <p:cNvPr id="315" name="Graphic 2">
                  <a:extLst>
                    <a:ext uri="{FF2B5EF4-FFF2-40B4-BE49-F238E27FC236}">
                      <a16:creationId xmlns:a16="http://schemas.microsoft.com/office/drawing/2014/main" id="{67775226-5ED8-0549-C3C7-7C2F592E530B}"/>
                    </a:ext>
                  </a:extLst>
                </p:cNvPr>
                <p:cNvGrpSpPr/>
                <p:nvPr/>
              </p:nvGrpSpPr>
              <p:grpSpPr>
                <a:xfrm>
                  <a:off x="6248194" y="2363804"/>
                  <a:ext cx="383804" cy="513347"/>
                  <a:chOff x="6248194" y="2363804"/>
                  <a:chExt cx="383804" cy="513347"/>
                </a:xfrm>
                <a:solidFill>
                  <a:srgbClr val="FFFFFF"/>
                </a:solidFill>
              </p:grpSpPr>
              <p:sp>
                <p:nvSpPr>
                  <p:cNvPr id="323" name="Freeform: Shape 322">
                    <a:extLst>
                      <a:ext uri="{FF2B5EF4-FFF2-40B4-BE49-F238E27FC236}">
                        <a16:creationId xmlns:a16="http://schemas.microsoft.com/office/drawing/2014/main" id="{7DEBFA4F-86E8-540A-B41D-741683883F0D}"/>
                      </a:ext>
                    </a:extLst>
                  </p:cNvPr>
                  <p:cNvSpPr/>
                  <p:nvPr/>
                </p:nvSpPr>
                <p:spPr>
                  <a:xfrm>
                    <a:off x="6254303" y="2369915"/>
                    <a:ext cx="370316" cy="501127"/>
                  </a:xfrm>
                  <a:custGeom>
                    <a:avLst/>
                    <a:gdLst>
                      <a:gd name="connsiteX0" fmla="*/ 25667 w 370316"/>
                      <a:gd name="connsiteY0" fmla="*/ 501127 h 501127"/>
                      <a:gd name="connsiteX1" fmla="*/ 0 w 370316"/>
                      <a:gd name="connsiteY1" fmla="*/ 475460 h 501127"/>
                      <a:gd name="connsiteX2" fmla="*/ 0 w 370316"/>
                      <a:gd name="connsiteY2" fmla="*/ 74557 h 501127"/>
                      <a:gd name="connsiteX3" fmla="*/ 25667 w 370316"/>
                      <a:gd name="connsiteY3" fmla="*/ 48890 h 501127"/>
                      <a:gd name="connsiteX4" fmla="*/ 89226 w 370316"/>
                      <a:gd name="connsiteY4" fmla="*/ 48890 h 501127"/>
                      <a:gd name="connsiteX5" fmla="*/ 113675 w 370316"/>
                      <a:gd name="connsiteY5" fmla="*/ 31779 h 501127"/>
                      <a:gd name="connsiteX6" fmla="*/ 140561 w 370316"/>
                      <a:gd name="connsiteY6" fmla="*/ 31779 h 501127"/>
                      <a:gd name="connsiteX7" fmla="*/ 184548 w 370316"/>
                      <a:gd name="connsiteY7" fmla="*/ 0 h 501127"/>
                      <a:gd name="connsiteX8" fmla="*/ 228568 w 370316"/>
                      <a:gd name="connsiteY8" fmla="*/ 31779 h 501127"/>
                      <a:gd name="connsiteX9" fmla="*/ 256674 w 370316"/>
                      <a:gd name="connsiteY9" fmla="*/ 31779 h 501127"/>
                      <a:gd name="connsiteX10" fmla="*/ 281122 w 370316"/>
                      <a:gd name="connsiteY10" fmla="*/ 48890 h 501127"/>
                      <a:gd name="connsiteX11" fmla="*/ 344649 w 370316"/>
                      <a:gd name="connsiteY11" fmla="*/ 48890 h 501127"/>
                      <a:gd name="connsiteX12" fmla="*/ 370316 w 370316"/>
                      <a:gd name="connsiteY12" fmla="*/ 74557 h 501127"/>
                      <a:gd name="connsiteX13" fmla="*/ 370316 w 370316"/>
                      <a:gd name="connsiteY13" fmla="*/ 475460 h 501127"/>
                      <a:gd name="connsiteX14" fmla="*/ 344649 w 370316"/>
                      <a:gd name="connsiteY14" fmla="*/ 501127 h 501127"/>
                      <a:gd name="connsiteX15" fmla="*/ 25667 w 370316"/>
                      <a:gd name="connsiteY15" fmla="*/ 501127 h 5011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370316" h="501127">
                        <a:moveTo>
                          <a:pt x="25667" y="501127"/>
                        </a:moveTo>
                        <a:cubicBezTo>
                          <a:pt x="12224" y="501127"/>
                          <a:pt x="0" y="490122"/>
                          <a:pt x="0" y="475460"/>
                        </a:cubicBezTo>
                        <a:lnTo>
                          <a:pt x="0" y="74557"/>
                        </a:lnTo>
                        <a:cubicBezTo>
                          <a:pt x="0" y="61113"/>
                          <a:pt x="11005" y="48890"/>
                          <a:pt x="25667" y="48890"/>
                        </a:cubicBezTo>
                        <a:lnTo>
                          <a:pt x="89226" y="48890"/>
                        </a:lnTo>
                        <a:cubicBezTo>
                          <a:pt x="92890" y="39112"/>
                          <a:pt x="102669" y="31779"/>
                          <a:pt x="113675" y="31779"/>
                        </a:cubicBezTo>
                        <a:lnTo>
                          <a:pt x="140561" y="31779"/>
                        </a:lnTo>
                        <a:cubicBezTo>
                          <a:pt x="146670" y="13445"/>
                          <a:pt x="164977" y="0"/>
                          <a:pt x="184548" y="0"/>
                        </a:cubicBezTo>
                        <a:cubicBezTo>
                          <a:pt x="204120" y="0"/>
                          <a:pt x="222472" y="13445"/>
                          <a:pt x="228568" y="31779"/>
                        </a:cubicBezTo>
                        <a:lnTo>
                          <a:pt x="256674" y="31779"/>
                        </a:lnTo>
                        <a:cubicBezTo>
                          <a:pt x="267647" y="31779"/>
                          <a:pt x="277464" y="39112"/>
                          <a:pt x="281122" y="48890"/>
                        </a:cubicBezTo>
                        <a:lnTo>
                          <a:pt x="344649" y="48890"/>
                        </a:lnTo>
                        <a:cubicBezTo>
                          <a:pt x="358124" y="48890"/>
                          <a:pt x="370316" y="59890"/>
                          <a:pt x="370316" y="74557"/>
                        </a:cubicBezTo>
                        <a:lnTo>
                          <a:pt x="370316" y="475460"/>
                        </a:lnTo>
                        <a:cubicBezTo>
                          <a:pt x="370316" y="488903"/>
                          <a:pt x="359344" y="501127"/>
                          <a:pt x="344649" y="501127"/>
                        </a:cubicBezTo>
                        <a:lnTo>
                          <a:pt x="25667" y="50112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24" name="Freeform: Shape 323">
                    <a:extLst>
                      <a:ext uri="{FF2B5EF4-FFF2-40B4-BE49-F238E27FC236}">
                        <a16:creationId xmlns:a16="http://schemas.microsoft.com/office/drawing/2014/main" id="{587628B6-E158-55C6-D4B0-536E07B08657}"/>
                      </a:ext>
                    </a:extLst>
                  </p:cNvPr>
                  <p:cNvSpPr/>
                  <p:nvPr/>
                </p:nvSpPr>
                <p:spPr>
                  <a:xfrm>
                    <a:off x="6248194" y="2363804"/>
                    <a:ext cx="383804" cy="513347"/>
                  </a:xfrm>
                  <a:custGeom>
                    <a:avLst/>
                    <a:gdLst>
                      <a:gd name="connsiteX0" fmla="*/ 191876 w 383804"/>
                      <a:gd name="connsiteY0" fmla="*/ 12223 h 513347"/>
                      <a:gd name="connsiteX1" fmla="*/ 231019 w 383804"/>
                      <a:gd name="connsiteY1" fmla="*/ 44001 h 513347"/>
                      <a:gd name="connsiteX2" fmla="*/ 264002 w 383804"/>
                      <a:gd name="connsiteY2" fmla="*/ 44001 h 513347"/>
                      <a:gd name="connsiteX3" fmla="*/ 283573 w 383804"/>
                      <a:gd name="connsiteY3" fmla="*/ 61113 h 513347"/>
                      <a:gd name="connsiteX4" fmla="*/ 352040 w 383804"/>
                      <a:gd name="connsiteY4" fmla="*/ 61113 h 513347"/>
                      <a:gd name="connsiteX5" fmla="*/ 371548 w 383804"/>
                      <a:gd name="connsiteY5" fmla="*/ 80669 h 513347"/>
                      <a:gd name="connsiteX6" fmla="*/ 371548 w 383804"/>
                      <a:gd name="connsiteY6" fmla="*/ 481571 h 513347"/>
                      <a:gd name="connsiteX7" fmla="*/ 352040 w 383804"/>
                      <a:gd name="connsiteY7" fmla="*/ 501123 h 513347"/>
                      <a:gd name="connsiteX8" fmla="*/ 31776 w 383804"/>
                      <a:gd name="connsiteY8" fmla="*/ 501123 h 513347"/>
                      <a:gd name="connsiteX9" fmla="*/ 12224 w 383804"/>
                      <a:gd name="connsiteY9" fmla="*/ 481571 h 513347"/>
                      <a:gd name="connsiteX10" fmla="*/ 12224 w 383804"/>
                      <a:gd name="connsiteY10" fmla="*/ 80669 h 513347"/>
                      <a:gd name="connsiteX11" fmla="*/ 31776 w 383804"/>
                      <a:gd name="connsiteY11" fmla="*/ 61113 h 513347"/>
                      <a:gd name="connsiteX12" fmla="*/ 100224 w 383804"/>
                      <a:gd name="connsiteY12" fmla="*/ 61113 h 513347"/>
                      <a:gd name="connsiteX13" fmla="*/ 119783 w 383804"/>
                      <a:gd name="connsiteY13" fmla="*/ 44001 h 513347"/>
                      <a:gd name="connsiteX14" fmla="*/ 152778 w 383804"/>
                      <a:gd name="connsiteY14" fmla="*/ 44001 h 513347"/>
                      <a:gd name="connsiteX15" fmla="*/ 191876 w 383804"/>
                      <a:gd name="connsiteY15" fmla="*/ 12223 h 513347"/>
                      <a:gd name="connsiteX16" fmla="*/ 191876 w 383804"/>
                      <a:gd name="connsiteY16" fmla="*/ 0 h 513347"/>
                      <a:gd name="connsiteX17" fmla="*/ 143006 w 383804"/>
                      <a:gd name="connsiteY17" fmla="*/ 31779 h 513347"/>
                      <a:gd name="connsiteX18" fmla="*/ 118557 w 383804"/>
                      <a:gd name="connsiteY18" fmla="*/ 31779 h 513347"/>
                      <a:gd name="connsiteX19" fmla="*/ 90445 w 383804"/>
                      <a:gd name="connsiteY19" fmla="*/ 48890 h 513347"/>
                      <a:gd name="connsiteX20" fmla="*/ 31776 w 383804"/>
                      <a:gd name="connsiteY20" fmla="*/ 48890 h 513347"/>
                      <a:gd name="connsiteX21" fmla="*/ 0 w 383804"/>
                      <a:gd name="connsiteY21" fmla="*/ 80669 h 513347"/>
                      <a:gd name="connsiteX22" fmla="*/ 0 w 383804"/>
                      <a:gd name="connsiteY22" fmla="*/ 481571 h 513347"/>
                      <a:gd name="connsiteX23" fmla="*/ 31776 w 383804"/>
                      <a:gd name="connsiteY23" fmla="*/ 513347 h 513347"/>
                      <a:gd name="connsiteX24" fmla="*/ 352040 w 383804"/>
                      <a:gd name="connsiteY24" fmla="*/ 513347 h 513347"/>
                      <a:gd name="connsiteX25" fmla="*/ 383804 w 383804"/>
                      <a:gd name="connsiteY25" fmla="*/ 481571 h 513347"/>
                      <a:gd name="connsiteX26" fmla="*/ 383804 w 383804"/>
                      <a:gd name="connsiteY26" fmla="*/ 80669 h 513347"/>
                      <a:gd name="connsiteX27" fmla="*/ 352040 w 383804"/>
                      <a:gd name="connsiteY27" fmla="*/ 48890 h 513347"/>
                      <a:gd name="connsiteX28" fmla="*/ 292107 w 383804"/>
                      <a:gd name="connsiteY28" fmla="*/ 48890 h 513347"/>
                      <a:gd name="connsiteX29" fmla="*/ 264002 w 383804"/>
                      <a:gd name="connsiteY29" fmla="*/ 31779 h 513347"/>
                      <a:gd name="connsiteX30" fmla="*/ 239553 w 383804"/>
                      <a:gd name="connsiteY30" fmla="*/ 31779 h 513347"/>
                      <a:gd name="connsiteX31" fmla="*/ 191876 w 383804"/>
                      <a:gd name="connsiteY31" fmla="*/ 0 h 51334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</a:cxnLst>
                    <a:rect l="l" t="t" r="r" b="b"/>
                    <a:pathLst>
                      <a:path w="383804" h="513347">
                        <a:moveTo>
                          <a:pt x="191876" y="12223"/>
                        </a:moveTo>
                        <a:cubicBezTo>
                          <a:pt x="211448" y="12223"/>
                          <a:pt x="227362" y="25667"/>
                          <a:pt x="231019" y="44001"/>
                        </a:cubicBezTo>
                        <a:lnTo>
                          <a:pt x="264002" y="44001"/>
                        </a:lnTo>
                        <a:cubicBezTo>
                          <a:pt x="273755" y="44001"/>
                          <a:pt x="282354" y="51335"/>
                          <a:pt x="283573" y="61113"/>
                        </a:cubicBezTo>
                        <a:lnTo>
                          <a:pt x="352040" y="61113"/>
                        </a:lnTo>
                        <a:cubicBezTo>
                          <a:pt x="363014" y="61113"/>
                          <a:pt x="371548" y="69668"/>
                          <a:pt x="371548" y="80669"/>
                        </a:cubicBezTo>
                        <a:lnTo>
                          <a:pt x="371548" y="481571"/>
                        </a:lnTo>
                        <a:cubicBezTo>
                          <a:pt x="371548" y="492570"/>
                          <a:pt x="363014" y="501123"/>
                          <a:pt x="352040" y="501123"/>
                        </a:cubicBezTo>
                        <a:lnTo>
                          <a:pt x="31776" y="501123"/>
                        </a:lnTo>
                        <a:cubicBezTo>
                          <a:pt x="20778" y="501123"/>
                          <a:pt x="12224" y="492570"/>
                          <a:pt x="12224" y="481571"/>
                        </a:cubicBezTo>
                        <a:lnTo>
                          <a:pt x="12224" y="80669"/>
                        </a:lnTo>
                        <a:cubicBezTo>
                          <a:pt x="12224" y="69668"/>
                          <a:pt x="20778" y="61113"/>
                          <a:pt x="31776" y="61113"/>
                        </a:cubicBezTo>
                        <a:lnTo>
                          <a:pt x="100224" y="61113"/>
                        </a:lnTo>
                        <a:cubicBezTo>
                          <a:pt x="101444" y="51335"/>
                          <a:pt x="110004" y="44001"/>
                          <a:pt x="119783" y="44001"/>
                        </a:cubicBezTo>
                        <a:lnTo>
                          <a:pt x="152778" y="44001"/>
                        </a:lnTo>
                        <a:cubicBezTo>
                          <a:pt x="156449" y="25667"/>
                          <a:pt x="172369" y="12223"/>
                          <a:pt x="191876" y="12223"/>
                        </a:cubicBezTo>
                        <a:close/>
                        <a:moveTo>
                          <a:pt x="191876" y="0"/>
                        </a:moveTo>
                        <a:cubicBezTo>
                          <a:pt x="171086" y="0"/>
                          <a:pt x="151559" y="13445"/>
                          <a:pt x="143006" y="31779"/>
                        </a:cubicBezTo>
                        <a:lnTo>
                          <a:pt x="118557" y="31779"/>
                        </a:lnTo>
                        <a:cubicBezTo>
                          <a:pt x="106333" y="31779"/>
                          <a:pt x="95335" y="39112"/>
                          <a:pt x="90445" y="48890"/>
                        </a:cubicBezTo>
                        <a:lnTo>
                          <a:pt x="31776" y="48890"/>
                        </a:lnTo>
                        <a:cubicBezTo>
                          <a:pt x="13443" y="48890"/>
                          <a:pt x="0" y="63558"/>
                          <a:pt x="0" y="80669"/>
                        </a:cubicBezTo>
                        <a:lnTo>
                          <a:pt x="0" y="481571"/>
                        </a:lnTo>
                        <a:cubicBezTo>
                          <a:pt x="0" y="498679"/>
                          <a:pt x="13443" y="513347"/>
                          <a:pt x="31776" y="513347"/>
                        </a:cubicBezTo>
                        <a:lnTo>
                          <a:pt x="352040" y="513347"/>
                        </a:lnTo>
                        <a:cubicBezTo>
                          <a:pt x="369109" y="513347"/>
                          <a:pt x="383804" y="498679"/>
                          <a:pt x="383804" y="481571"/>
                        </a:cubicBezTo>
                        <a:lnTo>
                          <a:pt x="383804" y="80669"/>
                        </a:lnTo>
                        <a:cubicBezTo>
                          <a:pt x="383804" y="63558"/>
                          <a:pt x="370329" y="48890"/>
                          <a:pt x="352040" y="48890"/>
                        </a:cubicBezTo>
                        <a:lnTo>
                          <a:pt x="292107" y="48890"/>
                        </a:lnTo>
                        <a:cubicBezTo>
                          <a:pt x="287230" y="39112"/>
                          <a:pt x="276258" y="31779"/>
                          <a:pt x="264002" y="31779"/>
                        </a:cubicBezTo>
                        <a:lnTo>
                          <a:pt x="239553" y="31779"/>
                        </a:lnTo>
                        <a:cubicBezTo>
                          <a:pt x="232238" y="13445"/>
                          <a:pt x="212667" y="0"/>
                          <a:pt x="191876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  <p:grpSp>
              <p:nvGrpSpPr>
                <p:cNvPr id="316" name="Graphic 2">
                  <a:extLst>
                    <a:ext uri="{FF2B5EF4-FFF2-40B4-BE49-F238E27FC236}">
                      <a16:creationId xmlns:a16="http://schemas.microsoft.com/office/drawing/2014/main" id="{A1C0FC7D-5F0F-C655-CB70-4024481A74B1}"/>
                    </a:ext>
                  </a:extLst>
                </p:cNvPr>
                <p:cNvGrpSpPr/>
                <p:nvPr/>
              </p:nvGrpSpPr>
              <p:grpSpPr>
                <a:xfrm>
                  <a:off x="6260418" y="2376026"/>
                  <a:ext cx="359323" cy="488900"/>
                  <a:chOff x="6260418" y="2376026"/>
                  <a:chExt cx="359323" cy="488900"/>
                </a:xfrm>
                <a:solidFill>
                  <a:srgbClr val="2D5967"/>
                </a:solidFill>
              </p:grpSpPr>
              <p:sp>
                <p:nvSpPr>
                  <p:cNvPr id="317" name="Freeform: Shape 316">
                    <a:extLst>
                      <a:ext uri="{FF2B5EF4-FFF2-40B4-BE49-F238E27FC236}">
                        <a16:creationId xmlns:a16="http://schemas.microsoft.com/office/drawing/2014/main" id="{C5C31BF1-9630-9AC2-613C-8C0F20137EAC}"/>
                      </a:ext>
                    </a:extLst>
                  </p:cNvPr>
                  <p:cNvSpPr/>
                  <p:nvPr/>
                </p:nvSpPr>
                <p:spPr>
                  <a:xfrm>
                    <a:off x="6260418" y="2376026"/>
                    <a:ext cx="359323" cy="488900"/>
                  </a:xfrm>
                  <a:custGeom>
                    <a:avLst/>
                    <a:gdLst>
                      <a:gd name="connsiteX0" fmla="*/ 339817 w 359323"/>
                      <a:gd name="connsiteY0" fmla="*/ 48890 h 488900"/>
                      <a:gd name="connsiteX1" fmla="*/ 271349 w 359323"/>
                      <a:gd name="connsiteY1" fmla="*/ 48890 h 488900"/>
                      <a:gd name="connsiteX2" fmla="*/ 251778 w 359323"/>
                      <a:gd name="connsiteY2" fmla="*/ 31779 h 488900"/>
                      <a:gd name="connsiteX3" fmla="*/ 218795 w 359323"/>
                      <a:gd name="connsiteY3" fmla="*/ 31779 h 488900"/>
                      <a:gd name="connsiteX4" fmla="*/ 179652 w 359323"/>
                      <a:gd name="connsiteY4" fmla="*/ 0 h 488900"/>
                      <a:gd name="connsiteX5" fmla="*/ 140554 w 359323"/>
                      <a:gd name="connsiteY5" fmla="*/ 31779 h 488900"/>
                      <a:gd name="connsiteX6" fmla="*/ 106333 w 359323"/>
                      <a:gd name="connsiteY6" fmla="*/ 31779 h 488900"/>
                      <a:gd name="connsiteX7" fmla="*/ 88001 w 359323"/>
                      <a:gd name="connsiteY7" fmla="*/ 48890 h 488900"/>
                      <a:gd name="connsiteX8" fmla="*/ 19552 w 359323"/>
                      <a:gd name="connsiteY8" fmla="*/ 48890 h 488900"/>
                      <a:gd name="connsiteX9" fmla="*/ 0 w 359323"/>
                      <a:gd name="connsiteY9" fmla="*/ 68447 h 488900"/>
                      <a:gd name="connsiteX10" fmla="*/ 0 w 359323"/>
                      <a:gd name="connsiteY10" fmla="*/ 469348 h 488900"/>
                      <a:gd name="connsiteX11" fmla="*/ 19552 w 359323"/>
                      <a:gd name="connsiteY11" fmla="*/ 488901 h 488900"/>
                      <a:gd name="connsiteX12" fmla="*/ 339817 w 359323"/>
                      <a:gd name="connsiteY12" fmla="*/ 488901 h 488900"/>
                      <a:gd name="connsiteX13" fmla="*/ 359324 w 359323"/>
                      <a:gd name="connsiteY13" fmla="*/ 469348 h 488900"/>
                      <a:gd name="connsiteX14" fmla="*/ 359324 w 359323"/>
                      <a:gd name="connsiteY14" fmla="*/ 68447 h 488900"/>
                      <a:gd name="connsiteX15" fmla="*/ 339817 w 359323"/>
                      <a:gd name="connsiteY15" fmla="*/ 48890 h 488900"/>
                      <a:gd name="connsiteX16" fmla="*/ 100225 w 359323"/>
                      <a:gd name="connsiteY16" fmla="*/ 436347 h 488900"/>
                      <a:gd name="connsiteX17" fmla="*/ 52554 w 359323"/>
                      <a:gd name="connsiteY17" fmla="*/ 388676 h 488900"/>
                      <a:gd name="connsiteX18" fmla="*/ 100225 w 359323"/>
                      <a:gd name="connsiteY18" fmla="*/ 388676 h 488900"/>
                      <a:gd name="connsiteX19" fmla="*/ 100225 w 359323"/>
                      <a:gd name="connsiteY19" fmla="*/ 436347 h 488900"/>
                      <a:gd name="connsiteX20" fmla="*/ 46445 w 359323"/>
                      <a:gd name="connsiteY20" fmla="*/ 371569 h 488900"/>
                      <a:gd name="connsiteX21" fmla="*/ 46445 w 359323"/>
                      <a:gd name="connsiteY21" fmla="*/ 96558 h 488900"/>
                      <a:gd name="connsiteX22" fmla="*/ 86775 w 359323"/>
                      <a:gd name="connsiteY22" fmla="*/ 96558 h 488900"/>
                      <a:gd name="connsiteX23" fmla="*/ 86775 w 359323"/>
                      <a:gd name="connsiteY23" fmla="*/ 113670 h 488900"/>
                      <a:gd name="connsiteX24" fmla="*/ 270130 w 359323"/>
                      <a:gd name="connsiteY24" fmla="*/ 113670 h 488900"/>
                      <a:gd name="connsiteX25" fmla="*/ 270130 w 359323"/>
                      <a:gd name="connsiteY25" fmla="*/ 96558 h 488900"/>
                      <a:gd name="connsiteX26" fmla="*/ 310428 w 359323"/>
                      <a:gd name="connsiteY26" fmla="*/ 96558 h 488900"/>
                      <a:gd name="connsiteX27" fmla="*/ 310428 w 359323"/>
                      <a:gd name="connsiteY27" fmla="*/ 442455 h 488900"/>
                      <a:gd name="connsiteX28" fmla="*/ 117332 w 359323"/>
                      <a:gd name="connsiteY28" fmla="*/ 442455 h 488900"/>
                      <a:gd name="connsiteX29" fmla="*/ 117332 w 359323"/>
                      <a:gd name="connsiteY29" fmla="*/ 371569 h 488900"/>
                      <a:gd name="connsiteX30" fmla="*/ 46445 w 359323"/>
                      <a:gd name="connsiteY30" fmla="*/ 371569 h 488900"/>
                      <a:gd name="connsiteX31" fmla="*/ 105115 w 359323"/>
                      <a:gd name="connsiteY31" fmla="*/ 51335 h 488900"/>
                      <a:gd name="connsiteX32" fmla="*/ 106333 w 359323"/>
                      <a:gd name="connsiteY32" fmla="*/ 48890 h 488900"/>
                      <a:gd name="connsiteX33" fmla="*/ 155223 w 359323"/>
                      <a:gd name="connsiteY33" fmla="*/ 48890 h 488900"/>
                      <a:gd name="connsiteX34" fmla="*/ 155223 w 359323"/>
                      <a:gd name="connsiteY34" fmla="*/ 40334 h 488900"/>
                      <a:gd name="connsiteX35" fmla="*/ 178433 w 359323"/>
                      <a:gd name="connsiteY35" fmla="*/ 17112 h 488900"/>
                      <a:gd name="connsiteX36" fmla="*/ 201662 w 359323"/>
                      <a:gd name="connsiteY36" fmla="*/ 40334 h 488900"/>
                      <a:gd name="connsiteX37" fmla="*/ 201662 w 359323"/>
                      <a:gd name="connsiteY37" fmla="*/ 48890 h 488900"/>
                      <a:gd name="connsiteX38" fmla="*/ 250558 w 359323"/>
                      <a:gd name="connsiteY38" fmla="*/ 48890 h 488900"/>
                      <a:gd name="connsiteX39" fmla="*/ 252997 w 359323"/>
                      <a:gd name="connsiteY39" fmla="*/ 51335 h 488900"/>
                      <a:gd name="connsiteX40" fmla="*/ 252997 w 359323"/>
                      <a:gd name="connsiteY40" fmla="*/ 96558 h 488900"/>
                      <a:gd name="connsiteX41" fmla="*/ 105115 w 359323"/>
                      <a:gd name="connsiteY41" fmla="*/ 96558 h 488900"/>
                      <a:gd name="connsiteX42" fmla="*/ 105115 w 359323"/>
                      <a:gd name="connsiteY42" fmla="*/ 51335 h 488900"/>
                      <a:gd name="connsiteX43" fmla="*/ 342255 w 359323"/>
                      <a:gd name="connsiteY43" fmla="*/ 469348 h 488900"/>
                      <a:gd name="connsiteX44" fmla="*/ 339817 w 359323"/>
                      <a:gd name="connsiteY44" fmla="*/ 471793 h 488900"/>
                      <a:gd name="connsiteX45" fmla="*/ 19552 w 359323"/>
                      <a:gd name="connsiteY45" fmla="*/ 471793 h 488900"/>
                      <a:gd name="connsiteX46" fmla="*/ 17107 w 359323"/>
                      <a:gd name="connsiteY46" fmla="*/ 469348 h 488900"/>
                      <a:gd name="connsiteX47" fmla="*/ 17107 w 359323"/>
                      <a:gd name="connsiteY47" fmla="*/ 68447 h 488900"/>
                      <a:gd name="connsiteX48" fmla="*/ 19552 w 359323"/>
                      <a:gd name="connsiteY48" fmla="*/ 66002 h 488900"/>
                      <a:gd name="connsiteX49" fmla="*/ 88001 w 359323"/>
                      <a:gd name="connsiteY49" fmla="*/ 66002 h 488900"/>
                      <a:gd name="connsiteX50" fmla="*/ 88001 w 359323"/>
                      <a:gd name="connsiteY50" fmla="*/ 79446 h 488900"/>
                      <a:gd name="connsiteX51" fmla="*/ 30557 w 359323"/>
                      <a:gd name="connsiteY51" fmla="*/ 79446 h 488900"/>
                      <a:gd name="connsiteX52" fmla="*/ 30557 w 359323"/>
                      <a:gd name="connsiteY52" fmla="*/ 389901 h 488900"/>
                      <a:gd name="connsiteX53" fmla="*/ 100225 w 359323"/>
                      <a:gd name="connsiteY53" fmla="*/ 459569 h 488900"/>
                      <a:gd name="connsiteX54" fmla="*/ 329999 w 359323"/>
                      <a:gd name="connsiteY54" fmla="*/ 459569 h 488900"/>
                      <a:gd name="connsiteX55" fmla="*/ 329999 w 359323"/>
                      <a:gd name="connsiteY55" fmla="*/ 79446 h 488900"/>
                      <a:gd name="connsiteX56" fmla="*/ 272568 w 359323"/>
                      <a:gd name="connsiteY56" fmla="*/ 79446 h 488900"/>
                      <a:gd name="connsiteX57" fmla="*/ 272568 w 359323"/>
                      <a:gd name="connsiteY57" fmla="*/ 66002 h 488900"/>
                      <a:gd name="connsiteX58" fmla="*/ 341036 w 359323"/>
                      <a:gd name="connsiteY58" fmla="*/ 66002 h 488900"/>
                      <a:gd name="connsiteX59" fmla="*/ 343475 w 359323"/>
                      <a:gd name="connsiteY59" fmla="*/ 68447 h 488900"/>
                      <a:gd name="connsiteX60" fmla="*/ 342255 w 359323"/>
                      <a:gd name="connsiteY60" fmla="*/ 469348 h 488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</a:cxnLst>
                    <a:rect l="l" t="t" r="r" b="b"/>
                    <a:pathLst>
                      <a:path w="359323" h="488900">
                        <a:moveTo>
                          <a:pt x="339817" y="48890"/>
                        </a:moveTo>
                        <a:lnTo>
                          <a:pt x="271349" y="48890"/>
                        </a:lnTo>
                        <a:cubicBezTo>
                          <a:pt x="270130" y="39112"/>
                          <a:pt x="261531" y="31779"/>
                          <a:pt x="251778" y="31779"/>
                        </a:cubicBezTo>
                        <a:lnTo>
                          <a:pt x="218795" y="31779"/>
                        </a:lnTo>
                        <a:cubicBezTo>
                          <a:pt x="215138" y="13445"/>
                          <a:pt x="199224" y="0"/>
                          <a:pt x="179652" y="0"/>
                        </a:cubicBezTo>
                        <a:cubicBezTo>
                          <a:pt x="160145" y="0"/>
                          <a:pt x="144225" y="13445"/>
                          <a:pt x="140554" y="31779"/>
                        </a:cubicBezTo>
                        <a:lnTo>
                          <a:pt x="106333" y="31779"/>
                        </a:lnTo>
                        <a:cubicBezTo>
                          <a:pt x="96554" y="31779"/>
                          <a:pt x="89220" y="39112"/>
                          <a:pt x="88001" y="48890"/>
                        </a:cubicBezTo>
                        <a:lnTo>
                          <a:pt x="19552" y="48890"/>
                        </a:lnTo>
                        <a:cubicBezTo>
                          <a:pt x="8554" y="48890"/>
                          <a:pt x="0" y="57446"/>
                          <a:pt x="0" y="68447"/>
                        </a:cubicBezTo>
                        <a:lnTo>
                          <a:pt x="0" y="469348"/>
                        </a:lnTo>
                        <a:cubicBezTo>
                          <a:pt x="0" y="480347"/>
                          <a:pt x="8554" y="488901"/>
                          <a:pt x="19552" y="488901"/>
                        </a:cubicBezTo>
                        <a:lnTo>
                          <a:pt x="339817" y="488901"/>
                        </a:lnTo>
                        <a:cubicBezTo>
                          <a:pt x="350790" y="488901"/>
                          <a:pt x="359324" y="480347"/>
                          <a:pt x="359324" y="469348"/>
                        </a:cubicBezTo>
                        <a:lnTo>
                          <a:pt x="359324" y="68447"/>
                        </a:lnTo>
                        <a:cubicBezTo>
                          <a:pt x="358105" y="57446"/>
                          <a:pt x="349570" y="48890"/>
                          <a:pt x="339817" y="48890"/>
                        </a:cubicBezTo>
                        <a:close/>
                        <a:moveTo>
                          <a:pt x="100225" y="436347"/>
                        </a:moveTo>
                        <a:lnTo>
                          <a:pt x="52554" y="388676"/>
                        </a:lnTo>
                        <a:lnTo>
                          <a:pt x="100225" y="388676"/>
                        </a:lnTo>
                        <a:lnTo>
                          <a:pt x="100225" y="436347"/>
                        </a:lnTo>
                        <a:close/>
                        <a:moveTo>
                          <a:pt x="46445" y="371569"/>
                        </a:moveTo>
                        <a:lnTo>
                          <a:pt x="46445" y="96558"/>
                        </a:lnTo>
                        <a:lnTo>
                          <a:pt x="86775" y="96558"/>
                        </a:lnTo>
                        <a:lnTo>
                          <a:pt x="86775" y="113670"/>
                        </a:lnTo>
                        <a:lnTo>
                          <a:pt x="270130" y="113670"/>
                        </a:lnTo>
                        <a:lnTo>
                          <a:pt x="270130" y="96558"/>
                        </a:lnTo>
                        <a:lnTo>
                          <a:pt x="310428" y="96558"/>
                        </a:lnTo>
                        <a:lnTo>
                          <a:pt x="310428" y="442455"/>
                        </a:lnTo>
                        <a:lnTo>
                          <a:pt x="117332" y="442455"/>
                        </a:lnTo>
                        <a:lnTo>
                          <a:pt x="117332" y="371569"/>
                        </a:lnTo>
                        <a:lnTo>
                          <a:pt x="46445" y="371569"/>
                        </a:lnTo>
                        <a:close/>
                        <a:moveTo>
                          <a:pt x="105115" y="51335"/>
                        </a:moveTo>
                        <a:cubicBezTo>
                          <a:pt x="105115" y="50112"/>
                          <a:pt x="105115" y="48890"/>
                          <a:pt x="106333" y="48890"/>
                        </a:cubicBezTo>
                        <a:lnTo>
                          <a:pt x="155223" y="48890"/>
                        </a:lnTo>
                        <a:lnTo>
                          <a:pt x="155223" y="40334"/>
                        </a:lnTo>
                        <a:cubicBezTo>
                          <a:pt x="155223" y="26890"/>
                          <a:pt x="166241" y="17112"/>
                          <a:pt x="178433" y="17112"/>
                        </a:cubicBezTo>
                        <a:cubicBezTo>
                          <a:pt x="190690" y="17112"/>
                          <a:pt x="201662" y="28112"/>
                          <a:pt x="201662" y="40334"/>
                        </a:cubicBezTo>
                        <a:lnTo>
                          <a:pt x="201662" y="48890"/>
                        </a:lnTo>
                        <a:lnTo>
                          <a:pt x="250558" y="48890"/>
                        </a:lnTo>
                        <a:cubicBezTo>
                          <a:pt x="251778" y="48890"/>
                          <a:pt x="252997" y="50112"/>
                          <a:pt x="252997" y="51335"/>
                        </a:cubicBezTo>
                        <a:lnTo>
                          <a:pt x="252997" y="96558"/>
                        </a:lnTo>
                        <a:lnTo>
                          <a:pt x="105115" y="96558"/>
                        </a:lnTo>
                        <a:lnTo>
                          <a:pt x="105115" y="51335"/>
                        </a:lnTo>
                        <a:close/>
                        <a:moveTo>
                          <a:pt x="342255" y="469348"/>
                        </a:moveTo>
                        <a:cubicBezTo>
                          <a:pt x="342255" y="470568"/>
                          <a:pt x="341036" y="471793"/>
                          <a:pt x="339817" y="471793"/>
                        </a:cubicBezTo>
                        <a:lnTo>
                          <a:pt x="19552" y="471793"/>
                        </a:lnTo>
                        <a:cubicBezTo>
                          <a:pt x="18333" y="471793"/>
                          <a:pt x="17107" y="470568"/>
                          <a:pt x="17107" y="469348"/>
                        </a:cubicBezTo>
                        <a:lnTo>
                          <a:pt x="17107" y="68447"/>
                        </a:lnTo>
                        <a:cubicBezTo>
                          <a:pt x="17107" y="67224"/>
                          <a:pt x="18333" y="66002"/>
                          <a:pt x="19552" y="66002"/>
                        </a:cubicBezTo>
                        <a:lnTo>
                          <a:pt x="88001" y="66002"/>
                        </a:lnTo>
                        <a:lnTo>
                          <a:pt x="88001" y="79446"/>
                        </a:lnTo>
                        <a:lnTo>
                          <a:pt x="30557" y="79446"/>
                        </a:lnTo>
                        <a:lnTo>
                          <a:pt x="30557" y="389901"/>
                        </a:lnTo>
                        <a:lnTo>
                          <a:pt x="100225" y="459569"/>
                        </a:lnTo>
                        <a:lnTo>
                          <a:pt x="329999" y="459569"/>
                        </a:lnTo>
                        <a:lnTo>
                          <a:pt x="329999" y="79446"/>
                        </a:lnTo>
                        <a:lnTo>
                          <a:pt x="272568" y="79446"/>
                        </a:lnTo>
                        <a:lnTo>
                          <a:pt x="272568" y="66002"/>
                        </a:lnTo>
                        <a:lnTo>
                          <a:pt x="341036" y="66002"/>
                        </a:lnTo>
                        <a:cubicBezTo>
                          <a:pt x="342255" y="66002"/>
                          <a:pt x="343475" y="67224"/>
                          <a:pt x="343475" y="68447"/>
                        </a:cubicBezTo>
                        <a:lnTo>
                          <a:pt x="342255" y="469348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18" name="Freeform: Shape 317">
                    <a:extLst>
                      <a:ext uri="{FF2B5EF4-FFF2-40B4-BE49-F238E27FC236}">
                        <a16:creationId xmlns:a16="http://schemas.microsoft.com/office/drawing/2014/main" id="{16588076-F5AA-EB22-E503-677FE3E17A18}"/>
                      </a:ext>
                    </a:extLst>
                  </p:cNvPr>
                  <p:cNvSpPr/>
                  <p:nvPr/>
                </p:nvSpPr>
                <p:spPr>
                  <a:xfrm>
                    <a:off x="6429098" y="2406583"/>
                    <a:ext cx="22010" cy="22000"/>
                  </a:xfrm>
                  <a:custGeom>
                    <a:avLst/>
                    <a:gdLst>
                      <a:gd name="connsiteX0" fmla="*/ 10973 w 22010"/>
                      <a:gd name="connsiteY0" fmla="*/ 0 h 22000"/>
                      <a:gd name="connsiteX1" fmla="*/ 0 w 22010"/>
                      <a:gd name="connsiteY1" fmla="*/ 11000 h 22000"/>
                      <a:gd name="connsiteX2" fmla="*/ 10973 w 22010"/>
                      <a:gd name="connsiteY2" fmla="*/ 22001 h 22000"/>
                      <a:gd name="connsiteX3" fmla="*/ 22010 w 22010"/>
                      <a:gd name="connsiteY3" fmla="*/ 11000 h 22000"/>
                      <a:gd name="connsiteX4" fmla="*/ 10973 w 22010"/>
                      <a:gd name="connsiteY4" fmla="*/ 0 h 22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010" h="22000">
                        <a:moveTo>
                          <a:pt x="10973" y="0"/>
                        </a:moveTo>
                        <a:cubicBezTo>
                          <a:pt x="4877" y="0"/>
                          <a:pt x="0" y="4890"/>
                          <a:pt x="0" y="11000"/>
                        </a:cubicBezTo>
                        <a:cubicBezTo>
                          <a:pt x="0" y="17112"/>
                          <a:pt x="4877" y="22001"/>
                          <a:pt x="10973" y="22001"/>
                        </a:cubicBezTo>
                        <a:cubicBezTo>
                          <a:pt x="17133" y="22001"/>
                          <a:pt x="22010" y="17112"/>
                          <a:pt x="22010" y="11000"/>
                        </a:cubicBezTo>
                        <a:cubicBezTo>
                          <a:pt x="22010" y="4890"/>
                          <a:pt x="15850" y="0"/>
                          <a:pt x="10973" y="0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19" name="Freeform: Shape 318">
                    <a:extLst>
                      <a:ext uri="{FF2B5EF4-FFF2-40B4-BE49-F238E27FC236}">
                        <a16:creationId xmlns:a16="http://schemas.microsoft.com/office/drawing/2014/main" id="{73D79D37-47EC-3875-177C-6B1839F5E395}"/>
                      </a:ext>
                    </a:extLst>
                  </p:cNvPr>
                  <p:cNvSpPr/>
                  <p:nvPr/>
                </p:nvSpPr>
                <p:spPr>
                  <a:xfrm>
                    <a:off x="6323971" y="2679145"/>
                    <a:ext cx="231025" cy="17108"/>
                  </a:xfrm>
                  <a:custGeom>
                    <a:avLst/>
                    <a:gdLst>
                      <a:gd name="connsiteX0" fmla="*/ 231026 w 231025"/>
                      <a:gd name="connsiteY0" fmla="*/ 0 h 17108"/>
                      <a:gd name="connsiteX1" fmla="*/ 0 w 231025"/>
                      <a:gd name="connsiteY1" fmla="*/ 0 h 17108"/>
                      <a:gd name="connsiteX2" fmla="*/ 0 w 231025"/>
                      <a:gd name="connsiteY2" fmla="*/ 17109 h 17108"/>
                      <a:gd name="connsiteX3" fmla="*/ 231026 w 231025"/>
                      <a:gd name="connsiteY3" fmla="*/ 17109 h 17108"/>
                      <a:gd name="connsiteX4" fmla="*/ 231026 w 231025"/>
                      <a:gd name="connsiteY4" fmla="*/ 0 h 171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31025" h="17108">
                        <a:moveTo>
                          <a:pt x="231026" y="0"/>
                        </a:moveTo>
                        <a:lnTo>
                          <a:pt x="0" y="0"/>
                        </a:lnTo>
                        <a:lnTo>
                          <a:pt x="0" y="17109"/>
                        </a:lnTo>
                        <a:lnTo>
                          <a:pt x="231026" y="17109"/>
                        </a:lnTo>
                        <a:lnTo>
                          <a:pt x="231026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20" name="Freeform: Shape 319">
                    <a:extLst>
                      <a:ext uri="{FF2B5EF4-FFF2-40B4-BE49-F238E27FC236}">
                        <a16:creationId xmlns:a16="http://schemas.microsoft.com/office/drawing/2014/main" id="{1F0448FC-FE90-DB1B-05D0-460A68A56FBB}"/>
                      </a:ext>
                    </a:extLst>
                  </p:cNvPr>
                  <p:cNvSpPr/>
                  <p:nvPr/>
                </p:nvSpPr>
                <p:spPr>
                  <a:xfrm>
                    <a:off x="6323971" y="2713368"/>
                    <a:ext cx="162557" cy="17113"/>
                  </a:xfrm>
                  <a:custGeom>
                    <a:avLst/>
                    <a:gdLst>
                      <a:gd name="connsiteX0" fmla="*/ 162558 w 162557"/>
                      <a:gd name="connsiteY0" fmla="*/ 0 h 17113"/>
                      <a:gd name="connsiteX1" fmla="*/ 0 w 162557"/>
                      <a:gd name="connsiteY1" fmla="*/ 0 h 17113"/>
                      <a:gd name="connsiteX2" fmla="*/ 0 w 162557"/>
                      <a:gd name="connsiteY2" fmla="*/ 17114 h 17113"/>
                      <a:gd name="connsiteX3" fmla="*/ 162558 w 162557"/>
                      <a:gd name="connsiteY3" fmla="*/ 17114 h 17113"/>
                      <a:gd name="connsiteX4" fmla="*/ 162558 w 162557"/>
                      <a:gd name="connsiteY4" fmla="*/ 0 h 171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2557" h="17113">
                        <a:moveTo>
                          <a:pt x="162558" y="0"/>
                        </a:moveTo>
                        <a:lnTo>
                          <a:pt x="0" y="0"/>
                        </a:lnTo>
                        <a:lnTo>
                          <a:pt x="0" y="17114"/>
                        </a:lnTo>
                        <a:lnTo>
                          <a:pt x="162558" y="17114"/>
                        </a:lnTo>
                        <a:lnTo>
                          <a:pt x="162558" y="0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21" name="Freeform: Shape 320">
                    <a:extLst>
                      <a:ext uri="{FF2B5EF4-FFF2-40B4-BE49-F238E27FC236}">
                        <a16:creationId xmlns:a16="http://schemas.microsoft.com/office/drawing/2014/main" id="{5E8591E7-CBE7-D0D5-2E20-DA6E6AB658F5}"/>
                      </a:ext>
                    </a:extLst>
                  </p:cNvPr>
                  <p:cNvSpPr/>
                  <p:nvPr/>
                </p:nvSpPr>
                <p:spPr>
                  <a:xfrm>
                    <a:off x="6399753" y="2542253"/>
                    <a:ext cx="80678" cy="81891"/>
                  </a:xfrm>
                  <a:custGeom>
                    <a:avLst/>
                    <a:gdLst>
                      <a:gd name="connsiteX0" fmla="*/ 31783 w 80678"/>
                      <a:gd name="connsiteY0" fmla="*/ 81891 h 81891"/>
                      <a:gd name="connsiteX1" fmla="*/ 48916 w 80678"/>
                      <a:gd name="connsiteY1" fmla="*/ 81891 h 81891"/>
                      <a:gd name="connsiteX2" fmla="*/ 48916 w 80678"/>
                      <a:gd name="connsiteY2" fmla="*/ 48890 h 81891"/>
                      <a:gd name="connsiteX3" fmla="*/ 80679 w 80678"/>
                      <a:gd name="connsiteY3" fmla="*/ 48890 h 81891"/>
                      <a:gd name="connsiteX4" fmla="*/ 80679 w 80678"/>
                      <a:gd name="connsiteY4" fmla="*/ 31779 h 81891"/>
                      <a:gd name="connsiteX5" fmla="*/ 48916 w 80678"/>
                      <a:gd name="connsiteY5" fmla="*/ 31779 h 81891"/>
                      <a:gd name="connsiteX6" fmla="*/ 48916 w 80678"/>
                      <a:gd name="connsiteY6" fmla="*/ 0 h 81891"/>
                      <a:gd name="connsiteX7" fmla="*/ 31783 w 80678"/>
                      <a:gd name="connsiteY7" fmla="*/ 0 h 81891"/>
                      <a:gd name="connsiteX8" fmla="*/ 31783 w 80678"/>
                      <a:gd name="connsiteY8" fmla="*/ 31779 h 81891"/>
                      <a:gd name="connsiteX9" fmla="*/ 0 w 80678"/>
                      <a:gd name="connsiteY9" fmla="*/ 31779 h 81891"/>
                      <a:gd name="connsiteX10" fmla="*/ 0 w 80678"/>
                      <a:gd name="connsiteY10" fmla="*/ 48890 h 81891"/>
                      <a:gd name="connsiteX11" fmla="*/ 31783 w 80678"/>
                      <a:gd name="connsiteY11" fmla="*/ 48890 h 81891"/>
                      <a:gd name="connsiteX12" fmla="*/ 31783 w 80678"/>
                      <a:gd name="connsiteY12" fmla="*/ 81891 h 818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80678" h="81891">
                        <a:moveTo>
                          <a:pt x="31783" y="81891"/>
                        </a:moveTo>
                        <a:lnTo>
                          <a:pt x="48916" y="81891"/>
                        </a:lnTo>
                        <a:lnTo>
                          <a:pt x="48916" y="48890"/>
                        </a:lnTo>
                        <a:lnTo>
                          <a:pt x="80679" y="48890"/>
                        </a:lnTo>
                        <a:lnTo>
                          <a:pt x="80679" y="31779"/>
                        </a:lnTo>
                        <a:lnTo>
                          <a:pt x="48916" y="31779"/>
                        </a:lnTo>
                        <a:lnTo>
                          <a:pt x="48916" y="0"/>
                        </a:lnTo>
                        <a:lnTo>
                          <a:pt x="31783" y="0"/>
                        </a:lnTo>
                        <a:lnTo>
                          <a:pt x="31783" y="31779"/>
                        </a:lnTo>
                        <a:lnTo>
                          <a:pt x="0" y="31779"/>
                        </a:lnTo>
                        <a:lnTo>
                          <a:pt x="0" y="48890"/>
                        </a:lnTo>
                        <a:lnTo>
                          <a:pt x="31783" y="48890"/>
                        </a:lnTo>
                        <a:lnTo>
                          <a:pt x="31783" y="81891"/>
                        </a:ln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322" name="Freeform: Shape 321">
                    <a:extLst>
                      <a:ext uri="{FF2B5EF4-FFF2-40B4-BE49-F238E27FC236}">
                        <a16:creationId xmlns:a16="http://schemas.microsoft.com/office/drawing/2014/main" id="{29D521E9-30B3-E872-78DD-18CB72389199}"/>
                      </a:ext>
                    </a:extLst>
                  </p:cNvPr>
                  <p:cNvSpPr/>
                  <p:nvPr/>
                </p:nvSpPr>
                <p:spPr>
                  <a:xfrm>
                    <a:off x="6367977" y="2510475"/>
                    <a:ext cx="144218" cy="145448"/>
                  </a:xfrm>
                  <a:custGeom>
                    <a:avLst/>
                    <a:gdLst>
                      <a:gd name="connsiteX0" fmla="*/ 72093 w 144218"/>
                      <a:gd name="connsiteY0" fmla="*/ 145448 h 145448"/>
                      <a:gd name="connsiteX1" fmla="*/ 144218 w 144218"/>
                      <a:gd name="connsiteY1" fmla="*/ 73335 h 145448"/>
                      <a:gd name="connsiteX2" fmla="*/ 72093 w 144218"/>
                      <a:gd name="connsiteY2" fmla="*/ 0 h 145448"/>
                      <a:gd name="connsiteX3" fmla="*/ 0 w 144218"/>
                      <a:gd name="connsiteY3" fmla="*/ 72113 h 145448"/>
                      <a:gd name="connsiteX4" fmla="*/ 72093 w 144218"/>
                      <a:gd name="connsiteY4" fmla="*/ 145448 h 145448"/>
                      <a:gd name="connsiteX5" fmla="*/ 72093 w 144218"/>
                      <a:gd name="connsiteY5" fmla="*/ 17111 h 145448"/>
                      <a:gd name="connsiteX6" fmla="*/ 127086 w 144218"/>
                      <a:gd name="connsiteY6" fmla="*/ 72113 h 145448"/>
                      <a:gd name="connsiteX7" fmla="*/ 72093 w 144218"/>
                      <a:gd name="connsiteY7" fmla="*/ 127114 h 145448"/>
                      <a:gd name="connsiteX8" fmla="*/ 17107 w 144218"/>
                      <a:gd name="connsiteY8" fmla="*/ 72113 h 145448"/>
                      <a:gd name="connsiteX9" fmla="*/ 72093 w 144218"/>
                      <a:gd name="connsiteY9" fmla="*/ 17111 h 1454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44218" h="145448">
                        <a:moveTo>
                          <a:pt x="72093" y="145448"/>
                        </a:moveTo>
                        <a:cubicBezTo>
                          <a:pt x="112455" y="145448"/>
                          <a:pt x="144218" y="112447"/>
                          <a:pt x="144218" y="73335"/>
                        </a:cubicBezTo>
                        <a:cubicBezTo>
                          <a:pt x="144218" y="34223"/>
                          <a:pt x="112455" y="0"/>
                          <a:pt x="72093" y="0"/>
                        </a:cubicBezTo>
                        <a:cubicBezTo>
                          <a:pt x="31776" y="0"/>
                          <a:pt x="0" y="33001"/>
                          <a:pt x="0" y="72113"/>
                        </a:cubicBezTo>
                        <a:cubicBezTo>
                          <a:pt x="0" y="111225"/>
                          <a:pt x="31776" y="145448"/>
                          <a:pt x="72093" y="145448"/>
                        </a:cubicBezTo>
                        <a:close/>
                        <a:moveTo>
                          <a:pt x="72093" y="17111"/>
                        </a:moveTo>
                        <a:cubicBezTo>
                          <a:pt x="102637" y="17111"/>
                          <a:pt x="127086" y="41557"/>
                          <a:pt x="127086" y="72113"/>
                        </a:cubicBezTo>
                        <a:cubicBezTo>
                          <a:pt x="127086" y="102669"/>
                          <a:pt x="102637" y="127114"/>
                          <a:pt x="72093" y="127114"/>
                        </a:cubicBezTo>
                        <a:cubicBezTo>
                          <a:pt x="41556" y="127114"/>
                          <a:pt x="17107" y="102669"/>
                          <a:pt x="17107" y="72113"/>
                        </a:cubicBezTo>
                        <a:cubicBezTo>
                          <a:pt x="17107" y="41557"/>
                          <a:pt x="41556" y="17111"/>
                          <a:pt x="72093" y="17111"/>
                        </a:cubicBezTo>
                        <a:close/>
                      </a:path>
                    </a:pathLst>
                  </a:custGeom>
                  <a:solidFill>
                    <a:srgbClr val="2D5967"/>
                  </a:solidFill>
                  <a:ln w="641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1200"/>
                  </a:p>
                </p:txBody>
              </p:sp>
            </p:grpSp>
          </p:grpSp>
          <p:sp>
            <p:nvSpPr>
              <p:cNvPr id="313" name="TextBox 312">
                <a:extLst>
                  <a:ext uri="{FF2B5EF4-FFF2-40B4-BE49-F238E27FC236}">
                    <a16:creationId xmlns:a16="http://schemas.microsoft.com/office/drawing/2014/main" id="{5AEDD4CE-8940-D724-E1C6-6134738E427A}"/>
                  </a:ext>
                </a:extLst>
              </p:cNvPr>
              <p:cNvSpPr txBox="1"/>
              <p:nvPr/>
            </p:nvSpPr>
            <p:spPr>
              <a:xfrm>
                <a:off x="5928488" y="2837029"/>
                <a:ext cx="1021946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OS</a:t>
                </a:r>
              </a:p>
              <a:p>
                <a:pPr algn="ctr"/>
                <a:r>
                  <a:rPr lang="en-US" sz="1200" spc="0" baseline="0" dirty="0">
                    <a:solidFill>
                      <a:srgbClr val="000000"/>
                    </a:solidFill>
                    <a:latin typeface="Oracle Sans"/>
                    <a:cs typeface="Oracle Sans"/>
                    <a:sym typeface="Oracle Sans"/>
                    <a:rtl val="0"/>
                  </a:rPr>
                  <a:t>Management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876377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67E8F1-6D13-D328-42BE-C5DCD1B4A2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Working </a:t>
            </a:r>
            <a:r>
              <a:rPr lang="de-CH" dirty="0" err="1"/>
              <a:t>Together</a:t>
            </a: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831892-C135-3529-0BEE-7C063757F1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F90F471-3972-4120-B8B3-0237DE626C35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1F263B2-D0F7-B7C6-8EDA-CD36CA2A30C4}"/>
              </a:ext>
            </a:extLst>
          </p:cNvPr>
          <p:cNvSpPr txBox="1"/>
          <p:nvPr/>
        </p:nvSpPr>
        <p:spPr>
          <a:xfrm>
            <a:off x="9369911" y="597049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r>
              <a:rPr lang="de-CH" sz="1000" dirty="0">
                <a:solidFill>
                  <a:schemeClr val="bg1">
                    <a:lumMod val="75000"/>
                  </a:schemeClr>
                </a:solidFill>
              </a:rPr>
              <a:t>Source: oracle.com</a:t>
            </a:r>
            <a:endParaRPr lang="de-CH" sz="1000" noProof="0" dirty="0">
              <a:solidFill>
                <a:schemeClr val="bg1">
                  <a:lumMod val="75000"/>
                </a:schemeClr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CA091F5-B509-2987-7F53-A8641C83F3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24571" y="971857"/>
            <a:ext cx="7142857" cy="4914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14415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enture 2020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Acc_PPT_IMP_Tmplt_Graphik_Fixed-Accessibility_20220110" id="{C5903050-33F9-3B47-BADC-1229EE1B2C4D}" vid="{58290BE2-F0E8-CC4F-AE12-B5C3653AD733}"/>
    </a:ext>
  </a:extLst>
</a:theme>
</file>

<file path=ppt/theme/theme2.xml><?xml version="1.0" encoding="utf-8"?>
<a:theme xmlns:a="http://schemas.openxmlformats.org/drawingml/2006/main" name="Office Theme">
  <a:themeElements>
    <a:clrScheme name="Acc_Colors_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_Fonts_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39EF807C2354943A31A31FB9E6B8A38" ma:contentTypeVersion="2" ma:contentTypeDescription="Create a new document." ma:contentTypeScope="" ma:versionID="f03a519f31e72ece704f842ab0e4ba72">
  <xsd:schema xmlns:xsd="http://www.w3.org/2001/XMLSchema" xmlns:xs="http://www.w3.org/2001/XMLSchema" xmlns:p="http://schemas.microsoft.com/office/2006/metadata/properties" xmlns:ns2="5d757215-fbc3-4533-822f-84ec73f97a40" targetNamespace="http://schemas.microsoft.com/office/2006/metadata/properties" ma:root="true" ma:fieldsID="1cb72d0557a9ded9ba0b46b2c3d18190" ns2:_="">
    <xsd:import namespace="5d757215-fbc3-4533-822f-84ec73f97a4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757215-fbc3-4533-822f-84ec73f97a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9831B46-6CD1-40D2-9FB5-3E58559F90A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FB95095-D3DE-4DE5-BB17-E1EF8BB2626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d757215-fbc3-4533-822f-84ec73f97a4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6BFFC05-B2F6-4CED-BE65-F75B1EB7AD7B}">
  <ds:schemaRefs>
    <ds:schemaRef ds:uri="http://purl.org/dc/elements/1.1/"/>
    <ds:schemaRef ds:uri="http://purl.org/dc/terms/"/>
    <ds:schemaRef ds:uri="http://schemas.microsoft.com/office/2006/metadata/properties"/>
    <ds:schemaRef ds:uri="http://schemas.microsoft.com/office/infopath/2007/PartnerControls"/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5d757215-fbc3-4533-822f-84ec73f97a40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Accenture 2020</Template>
  <TotalTime>26</TotalTime>
  <Words>818</Words>
  <Application>Microsoft Macintosh PowerPoint</Application>
  <PresentationFormat>Widescreen</PresentationFormat>
  <Paragraphs>195</Paragraphs>
  <Slides>11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2" baseType="lpstr">
      <vt:lpstr>Arial</vt:lpstr>
      <vt:lpstr>Georgia</vt:lpstr>
      <vt:lpstr>Graphik</vt:lpstr>
      <vt:lpstr>GT Sectra Fine Rg</vt:lpstr>
      <vt:lpstr>Menlo</vt:lpstr>
      <vt:lpstr>Oracle Sans</vt:lpstr>
      <vt:lpstr>Oracle Sans Light</vt:lpstr>
      <vt:lpstr>System Font</vt:lpstr>
      <vt:lpstr>Wingdings</vt:lpstr>
      <vt:lpstr>Accenture 2020</vt:lpstr>
      <vt:lpstr>think-cell Slide</vt:lpstr>
      <vt:lpstr>Oracle Cloud Infrastructure Security</vt:lpstr>
      <vt:lpstr>Martin Berger – Modern Data Platforms</vt:lpstr>
      <vt:lpstr>Stefan Oehrli – Modern Data Platforms</vt:lpstr>
      <vt:lpstr>PowerPoint Presentation</vt:lpstr>
      <vt:lpstr>PowerPoint Presentation</vt:lpstr>
      <vt:lpstr>OCI Security</vt:lpstr>
      <vt:lpstr>Course Schedule</vt:lpstr>
      <vt:lpstr>Security Service Products</vt:lpstr>
      <vt:lpstr>Working Together</vt:lpstr>
      <vt:lpstr>OCI Lab Architecture Overview</vt:lpstr>
      <vt:lpstr>OCI Access Inform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tting started with this template</dc:title>
  <dc:subject>Accenture PowerPoint Template 16x9 Graphik</dc:subject>
  <dc:creator>Oehrli, Stefan</dc:creator>
  <cp:lastModifiedBy>Oehrli, Stefan</cp:lastModifiedBy>
  <cp:revision>37</cp:revision>
  <cp:lastPrinted>2020-11-17T04:05:48Z</cp:lastPrinted>
  <dcterms:created xsi:type="dcterms:W3CDTF">2023-04-03T06:37:13Z</dcterms:created>
  <dcterms:modified xsi:type="dcterms:W3CDTF">2024-11-22T11:44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9EF807C2354943A31A31FB9E6B8A38</vt:lpwstr>
  </property>
</Properties>
</file>